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1.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3.xml" ContentType="application/vnd.openxmlformats-officedocument.drawingml.chartshape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4.xml" ContentType="application/vnd.openxmlformats-officedocument.drawingml.chartshape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2.xml" ContentType="application/vnd.openxmlformats-officedocument.presentationml.notesSlid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5.xml" ContentType="application/vnd.openxmlformats-officedocument.drawingml.chartshape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6.xml" ContentType="application/vnd.openxmlformats-officedocument.drawingml.chartshapes+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7.xml" ContentType="application/vnd.openxmlformats-officedocument.drawingml.chartshape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10.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11.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12.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notesSlides/notesSlide13.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14.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15.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0" r:id="rId4"/>
    <p:sldMasterId id="2147483733" r:id="rId5"/>
  </p:sldMasterIdLst>
  <p:notesMasterIdLst>
    <p:notesMasterId r:id="rId32"/>
  </p:notesMasterIdLst>
  <p:sldIdLst>
    <p:sldId id="256" r:id="rId6"/>
    <p:sldId id="630" r:id="rId7"/>
    <p:sldId id="677" r:id="rId8"/>
    <p:sldId id="678" r:id="rId9"/>
    <p:sldId id="283" r:id="rId10"/>
    <p:sldId id="635" r:id="rId11"/>
    <p:sldId id="305" r:id="rId12"/>
    <p:sldId id="2578" r:id="rId13"/>
    <p:sldId id="2580" r:id="rId14"/>
    <p:sldId id="2582" r:id="rId15"/>
    <p:sldId id="2584" r:id="rId16"/>
    <p:sldId id="2588" r:id="rId17"/>
    <p:sldId id="2589" r:id="rId18"/>
    <p:sldId id="2146848976" r:id="rId19"/>
    <p:sldId id="2146848977" r:id="rId20"/>
    <p:sldId id="2146848978" r:id="rId21"/>
    <p:sldId id="2146848979" r:id="rId22"/>
    <p:sldId id="2146848980" r:id="rId23"/>
    <p:sldId id="2146848970" r:id="rId24"/>
    <p:sldId id="2146848971" r:id="rId25"/>
    <p:sldId id="2146848972" r:id="rId26"/>
    <p:sldId id="2146848974" r:id="rId27"/>
    <p:sldId id="2146848952" r:id="rId28"/>
    <p:sldId id="1858" r:id="rId29"/>
    <p:sldId id="277" r:id="rId30"/>
    <p:sldId id="2599" r:id="rId31"/>
  </p:sldIdLst>
  <p:sldSz cx="9906000" cy="6858000" type="A4"/>
  <p:notesSz cx="6858000" cy="9144000"/>
  <p:custDataLst>
    <p:tags r:id="rId3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2E6C180-A891-EC01-15B5-F00F0C05566C}" name="Scheer, Sibylle" initials="SS" userId="S::sibylle.scheer@curacon-recht.de::6d68370a-18ef-4cde-b513-b6b1945ed9a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92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807F2F-FB81-4070-8A62-1846DA3F6C49}" v="33" dt="2025-12-02T13:00:57.7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63" d="100"/>
          <a:sy n="63" d="100"/>
        </p:scale>
        <p:origin x="1228"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5/10/relationships/revisionInfo" Target="revisionInfo.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gs" Target="tags/tag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ybussek, Kai" userId="edf38cdc-1a87-428a-837e-64bb1193aa6f" providerId="ADAL" clId="{94E8D670-E7FF-48FB-ADA0-E3E6EAA1813F}"/>
    <pc:docChg chg="undo custSel addSld delSld modSld delMainMaster">
      <pc:chgData name="Tybussek, Kai" userId="edf38cdc-1a87-428a-837e-64bb1193aa6f" providerId="ADAL" clId="{94E8D670-E7FF-48FB-ADA0-E3E6EAA1813F}" dt="2025-12-02T13:00:57.713" v="510"/>
      <pc:docMkLst>
        <pc:docMk/>
      </pc:docMkLst>
      <pc:sldChg chg="addSp delSp modSp mod">
        <pc:chgData name="Tybussek, Kai" userId="edf38cdc-1a87-428a-837e-64bb1193aa6f" providerId="ADAL" clId="{94E8D670-E7FF-48FB-ADA0-E3E6EAA1813F}" dt="2025-12-01T13:19:56.270" v="346" actId="1037"/>
        <pc:sldMkLst>
          <pc:docMk/>
          <pc:sldMk cId="1802537961" sldId="256"/>
        </pc:sldMkLst>
        <pc:spChg chg="mod">
          <ac:chgData name="Tybussek, Kai" userId="edf38cdc-1a87-428a-837e-64bb1193aa6f" providerId="ADAL" clId="{94E8D670-E7FF-48FB-ADA0-E3E6EAA1813F}" dt="2025-12-01T13:17:27.760" v="216" actId="20577"/>
          <ac:spMkLst>
            <pc:docMk/>
            <pc:sldMk cId="1802537961" sldId="256"/>
            <ac:spMk id="4" creationId="{D3793201-4DF5-4D6C-BB4D-E03A21B68DFF}"/>
          </ac:spMkLst>
        </pc:spChg>
        <pc:spChg chg="mod">
          <ac:chgData name="Tybussek, Kai" userId="edf38cdc-1a87-428a-837e-64bb1193aa6f" providerId="ADAL" clId="{94E8D670-E7FF-48FB-ADA0-E3E6EAA1813F}" dt="2025-12-01T13:17:13.465" v="200" actId="20577"/>
          <ac:spMkLst>
            <pc:docMk/>
            <pc:sldMk cId="1802537961" sldId="256"/>
            <ac:spMk id="9" creationId="{064374BA-8830-4301-AE18-C4C5C0065ADF}"/>
          </ac:spMkLst>
        </pc:spChg>
        <pc:picChg chg="del">
          <ac:chgData name="Tybussek, Kai" userId="edf38cdc-1a87-428a-837e-64bb1193aa6f" providerId="ADAL" clId="{94E8D670-E7FF-48FB-ADA0-E3E6EAA1813F}" dt="2025-12-01T13:19:16.952" v="217" actId="478"/>
          <ac:picMkLst>
            <pc:docMk/>
            <pc:sldMk cId="1802537961" sldId="256"/>
            <ac:picMk id="2" creationId="{48609DB1-B755-E497-DEBD-6F100C8AFB36}"/>
          </ac:picMkLst>
        </pc:picChg>
        <pc:picChg chg="add mod">
          <ac:chgData name="Tybussek, Kai" userId="edf38cdc-1a87-428a-837e-64bb1193aa6f" providerId="ADAL" clId="{94E8D670-E7FF-48FB-ADA0-E3E6EAA1813F}" dt="2025-12-01T13:19:56.270" v="346" actId="1037"/>
          <ac:picMkLst>
            <pc:docMk/>
            <pc:sldMk cId="1802537961" sldId="256"/>
            <ac:picMk id="6" creationId="{100524A5-8C07-D4F0-F343-F1DF75F3CCE8}"/>
          </ac:picMkLst>
        </pc:picChg>
      </pc:sldChg>
      <pc:sldChg chg="del">
        <pc:chgData name="Tybussek, Kai" userId="edf38cdc-1a87-428a-837e-64bb1193aa6f" providerId="ADAL" clId="{94E8D670-E7FF-48FB-ADA0-E3E6EAA1813F}" dt="2025-12-02T10:44:05.787" v="506" actId="2696"/>
        <pc:sldMkLst>
          <pc:docMk/>
          <pc:sldMk cId="1843614107" sldId="277"/>
        </pc:sldMkLst>
      </pc:sldChg>
      <pc:sldChg chg="add">
        <pc:chgData name="Tybussek, Kai" userId="edf38cdc-1a87-428a-837e-64bb1193aa6f" providerId="ADAL" clId="{94E8D670-E7FF-48FB-ADA0-E3E6EAA1813F}" dt="2025-12-02T10:44:17.144" v="507"/>
        <pc:sldMkLst>
          <pc:docMk/>
          <pc:sldMk cId="1924919084" sldId="277"/>
        </pc:sldMkLst>
      </pc:sldChg>
      <pc:sldChg chg="del">
        <pc:chgData name="Tybussek, Kai" userId="edf38cdc-1a87-428a-837e-64bb1193aa6f" providerId="ADAL" clId="{94E8D670-E7FF-48FB-ADA0-E3E6EAA1813F}" dt="2025-12-01T13:20:19.891" v="347" actId="47"/>
        <pc:sldMkLst>
          <pc:docMk/>
          <pc:sldMk cId="1550283380" sldId="636"/>
        </pc:sldMkLst>
      </pc:sldChg>
      <pc:sldChg chg="add">
        <pc:chgData name="Tybussek, Kai" userId="edf38cdc-1a87-428a-837e-64bb1193aa6f" providerId="ADAL" clId="{94E8D670-E7FF-48FB-ADA0-E3E6EAA1813F}" dt="2025-12-02T10:44:17.144" v="507"/>
        <pc:sldMkLst>
          <pc:docMk/>
          <pc:sldMk cId="2902100205" sldId="1858"/>
        </pc:sldMkLst>
      </pc:sldChg>
      <pc:sldChg chg="del">
        <pc:chgData name="Tybussek, Kai" userId="edf38cdc-1a87-428a-837e-64bb1193aa6f" providerId="ADAL" clId="{94E8D670-E7FF-48FB-ADA0-E3E6EAA1813F}" dt="2025-12-02T10:44:05.787" v="506" actId="2696"/>
        <pc:sldMkLst>
          <pc:docMk/>
          <pc:sldMk cId="3655607033" sldId="1858"/>
        </pc:sldMkLst>
      </pc:sldChg>
      <pc:sldChg chg="add del">
        <pc:chgData name="Tybussek, Kai" userId="edf38cdc-1a87-428a-837e-64bb1193aa6f" providerId="ADAL" clId="{94E8D670-E7FF-48FB-ADA0-E3E6EAA1813F}" dt="2025-12-02T10:37:50.976" v="404" actId="47"/>
        <pc:sldMkLst>
          <pc:docMk/>
          <pc:sldMk cId="342192993" sldId="1905"/>
        </pc:sldMkLst>
      </pc:sldChg>
      <pc:sldChg chg="add del">
        <pc:chgData name="Tybussek, Kai" userId="edf38cdc-1a87-428a-837e-64bb1193aa6f" providerId="ADAL" clId="{94E8D670-E7FF-48FB-ADA0-E3E6EAA1813F}" dt="2025-12-02T10:37:18.970" v="400" actId="2696"/>
        <pc:sldMkLst>
          <pc:docMk/>
          <pc:sldMk cId="1264172546" sldId="2576"/>
        </pc:sldMkLst>
      </pc:sldChg>
      <pc:sldChg chg="add del">
        <pc:chgData name="Tybussek, Kai" userId="edf38cdc-1a87-428a-837e-64bb1193aa6f" providerId="ADAL" clId="{94E8D670-E7FF-48FB-ADA0-E3E6EAA1813F}" dt="2025-12-02T13:00:21.780" v="508" actId="47"/>
        <pc:sldMkLst>
          <pc:docMk/>
          <pc:sldMk cId="1730209384" sldId="2576"/>
        </pc:sldMkLst>
      </pc:sldChg>
      <pc:sldChg chg="add">
        <pc:chgData name="Tybussek, Kai" userId="edf38cdc-1a87-428a-837e-64bb1193aa6f" providerId="ADAL" clId="{94E8D670-E7FF-48FB-ADA0-E3E6EAA1813F}" dt="2025-12-02T10:37:26.661" v="401"/>
        <pc:sldMkLst>
          <pc:docMk/>
          <pc:sldMk cId="1851719351" sldId="2578"/>
        </pc:sldMkLst>
      </pc:sldChg>
      <pc:sldChg chg="add del">
        <pc:chgData name="Tybussek, Kai" userId="edf38cdc-1a87-428a-837e-64bb1193aa6f" providerId="ADAL" clId="{94E8D670-E7FF-48FB-ADA0-E3E6EAA1813F}" dt="2025-12-02T10:37:18.970" v="400" actId="2696"/>
        <pc:sldMkLst>
          <pc:docMk/>
          <pc:sldMk cId="2643013658" sldId="2578"/>
        </pc:sldMkLst>
      </pc:sldChg>
      <pc:sldChg chg="add">
        <pc:chgData name="Tybussek, Kai" userId="edf38cdc-1a87-428a-837e-64bb1193aa6f" providerId="ADAL" clId="{94E8D670-E7FF-48FB-ADA0-E3E6EAA1813F}" dt="2025-12-02T10:37:26.661" v="401"/>
        <pc:sldMkLst>
          <pc:docMk/>
          <pc:sldMk cId="130781646" sldId="2580"/>
        </pc:sldMkLst>
      </pc:sldChg>
      <pc:sldChg chg="add del">
        <pc:chgData name="Tybussek, Kai" userId="edf38cdc-1a87-428a-837e-64bb1193aa6f" providerId="ADAL" clId="{94E8D670-E7FF-48FB-ADA0-E3E6EAA1813F}" dt="2025-12-02T10:37:18.970" v="400" actId="2696"/>
        <pc:sldMkLst>
          <pc:docMk/>
          <pc:sldMk cId="2789680188" sldId="2580"/>
        </pc:sldMkLst>
      </pc:sldChg>
      <pc:sldChg chg="add del">
        <pc:chgData name="Tybussek, Kai" userId="edf38cdc-1a87-428a-837e-64bb1193aa6f" providerId="ADAL" clId="{94E8D670-E7FF-48FB-ADA0-E3E6EAA1813F}" dt="2025-12-02T10:37:18.970" v="400" actId="2696"/>
        <pc:sldMkLst>
          <pc:docMk/>
          <pc:sldMk cId="2545354481" sldId="2582"/>
        </pc:sldMkLst>
      </pc:sldChg>
      <pc:sldChg chg="add">
        <pc:chgData name="Tybussek, Kai" userId="edf38cdc-1a87-428a-837e-64bb1193aa6f" providerId="ADAL" clId="{94E8D670-E7FF-48FB-ADA0-E3E6EAA1813F}" dt="2025-12-02T10:37:26.661" v="401"/>
        <pc:sldMkLst>
          <pc:docMk/>
          <pc:sldMk cId="2794573587" sldId="2582"/>
        </pc:sldMkLst>
      </pc:sldChg>
      <pc:sldChg chg="add del">
        <pc:chgData name="Tybussek, Kai" userId="edf38cdc-1a87-428a-837e-64bb1193aa6f" providerId="ADAL" clId="{94E8D670-E7FF-48FB-ADA0-E3E6EAA1813F}" dt="2025-12-02T10:37:18.970" v="400" actId="2696"/>
        <pc:sldMkLst>
          <pc:docMk/>
          <pc:sldMk cId="739129718" sldId="2584"/>
        </pc:sldMkLst>
      </pc:sldChg>
      <pc:sldChg chg="add">
        <pc:chgData name="Tybussek, Kai" userId="edf38cdc-1a87-428a-837e-64bb1193aa6f" providerId="ADAL" clId="{94E8D670-E7FF-48FB-ADA0-E3E6EAA1813F}" dt="2025-12-02T10:37:26.661" v="401"/>
        <pc:sldMkLst>
          <pc:docMk/>
          <pc:sldMk cId="4106620982" sldId="2584"/>
        </pc:sldMkLst>
      </pc:sldChg>
      <pc:sldChg chg="add del">
        <pc:chgData name="Tybussek, Kai" userId="edf38cdc-1a87-428a-837e-64bb1193aa6f" providerId="ADAL" clId="{94E8D670-E7FF-48FB-ADA0-E3E6EAA1813F}" dt="2025-12-02T10:42:14.956" v="500" actId="47"/>
        <pc:sldMkLst>
          <pc:docMk/>
          <pc:sldMk cId="1219899256" sldId="2586"/>
        </pc:sldMkLst>
      </pc:sldChg>
      <pc:sldChg chg="add del">
        <pc:chgData name="Tybussek, Kai" userId="edf38cdc-1a87-428a-837e-64bb1193aa6f" providerId="ADAL" clId="{94E8D670-E7FF-48FB-ADA0-E3E6EAA1813F}" dt="2025-12-02T10:37:18.970" v="400" actId="2696"/>
        <pc:sldMkLst>
          <pc:docMk/>
          <pc:sldMk cId="3191537255" sldId="2586"/>
        </pc:sldMkLst>
      </pc:sldChg>
      <pc:sldChg chg="modSp add">
        <pc:chgData name="Tybussek, Kai" userId="edf38cdc-1a87-428a-837e-64bb1193aa6f" providerId="ADAL" clId="{94E8D670-E7FF-48FB-ADA0-E3E6EAA1813F}" dt="2025-12-02T10:41:57.869" v="497" actId="20577"/>
        <pc:sldMkLst>
          <pc:docMk/>
          <pc:sldMk cId="553773305" sldId="2588"/>
        </pc:sldMkLst>
        <pc:spChg chg="mod">
          <ac:chgData name="Tybussek, Kai" userId="edf38cdc-1a87-428a-837e-64bb1193aa6f" providerId="ADAL" clId="{94E8D670-E7FF-48FB-ADA0-E3E6EAA1813F}" dt="2025-12-02T10:41:57.869" v="497" actId="20577"/>
          <ac:spMkLst>
            <pc:docMk/>
            <pc:sldMk cId="553773305" sldId="2588"/>
            <ac:spMk id="5" creationId="{0D625A45-1912-009B-06E5-AA740221F568}"/>
          </ac:spMkLst>
        </pc:spChg>
      </pc:sldChg>
      <pc:sldChg chg="add del">
        <pc:chgData name="Tybussek, Kai" userId="edf38cdc-1a87-428a-837e-64bb1193aa6f" providerId="ADAL" clId="{94E8D670-E7FF-48FB-ADA0-E3E6EAA1813F}" dt="2025-12-02T10:37:18.970" v="400" actId="2696"/>
        <pc:sldMkLst>
          <pc:docMk/>
          <pc:sldMk cId="732191436" sldId="2588"/>
        </pc:sldMkLst>
      </pc:sldChg>
      <pc:sldChg chg="add del">
        <pc:chgData name="Tybussek, Kai" userId="edf38cdc-1a87-428a-837e-64bb1193aa6f" providerId="ADAL" clId="{94E8D670-E7FF-48FB-ADA0-E3E6EAA1813F}" dt="2025-12-02T10:37:18.970" v="400" actId="2696"/>
        <pc:sldMkLst>
          <pc:docMk/>
          <pc:sldMk cId="0" sldId="2589"/>
        </pc:sldMkLst>
      </pc:sldChg>
      <pc:sldChg chg="modSp add mod">
        <pc:chgData name="Tybussek, Kai" userId="edf38cdc-1a87-428a-837e-64bb1193aa6f" providerId="ADAL" clId="{94E8D670-E7FF-48FB-ADA0-E3E6EAA1813F}" dt="2025-12-02T10:40:42.397" v="469" actId="20577"/>
        <pc:sldMkLst>
          <pc:docMk/>
          <pc:sldMk cId="498856542" sldId="2589"/>
        </pc:sldMkLst>
        <pc:spChg chg="mod">
          <ac:chgData name="Tybussek, Kai" userId="edf38cdc-1a87-428a-837e-64bb1193aa6f" providerId="ADAL" clId="{94E8D670-E7FF-48FB-ADA0-E3E6EAA1813F}" dt="2025-12-02T10:40:42.397" v="469" actId="20577"/>
          <ac:spMkLst>
            <pc:docMk/>
            <pc:sldMk cId="498856542" sldId="2589"/>
            <ac:spMk id="2" creationId="{00000000-0000-0000-0000-000000000000}"/>
          </ac:spMkLst>
        </pc:spChg>
      </pc:sldChg>
      <pc:sldChg chg="add del">
        <pc:chgData name="Tybussek, Kai" userId="edf38cdc-1a87-428a-837e-64bb1193aa6f" providerId="ADAL" clId="{94E8D670-E7FF-48FB-ADA0-E3E6EAA1813F}" dt="2025-12-02T10:37:18.970" v="400" actId="2696"/>
        <pc:sldMkLst>
          <pc:docMk/>
          <pc:sldMk cId="969670266" sldId="2592"/>
        </pc:sldMkLst>
      </pc:sldChg>
      <pc:sldChg chg="add del">
        <pc:chgData name="Tybussek, Kai" userId="edf38cdc-1a87-428a-837e-64bb1193aa6f" providerId="ADAL" clId="{94E8D670-E7FF-48FB-ADA0-E3E6EAA1813F}" dt="2025-12-02T10:42:42.172" v="505" actId="47"/>
        <pc:sldMkLst>
          <pc:docMk/>
          <pc:sldMk cId="2788605141" sldId="2592"/>
        </pc:sldMkLst>
      </pc:sldChg>
      <pc:sldChg chg="add del">
        <pc:chgData name="Tybussek, Kai" userId="edf38cdc-1a87-428a-837e-64bb1193aa6f" providerId="ADAL" clId="{94E8D670-E7FF-48FB-ADA0-E3E6EAA1813F}" dt="2025-12-02T10:42:31.517" v="504" actId="47"/>
        <pc:sldMkLst>
          <pc:docMk/>
          <pc:sldMk cId="196387334" sldId="2593"/>
        </pc:sldMkLst>
      </pc:sldChg>
      <pc:sldChg chg="add del">
        <pc:chgData name="Tybussek, Kai" userId="edf38cdc-1a87-428a-837e-64bb1193aa6f" providerId="ADAL" clId="{94E8D670-E7FF-48FB-ADA0-E3E6EAA1813F}" dt="2025-12-02T10:37:18.970" v="400" actId="2696"/>
        <pc:sldMkLst>
          <pc:docMk/>
          <pc:sldMk cId="2869158970" sldId="2593"/>
        </pc:sldMkLst>
      </pc:sldChg>
      <pc:sldChg chg="add del">
        <pc:chgData name="Tybussek, Kai" userId="edf38cdc-1a87-428a-837e-64bb1193aa6f" providerId="ADAL" clId="{94E8D670-E7FF-48FB-ADA0-E3E6EAA1813F}" dt="2025-12-02T10:42:26.282" v="503" actId="47"/>
        <pc:sldMkLst>
          <pc:docMk/>
          <pc:sldMk cId="268325499" sldId="2594"/>
        </pc:sldMkLst>
      </pc:sldChg>
      <pc:sldChg chg="add del">
        <pc:chgData name="Tybussek, Kai" userId="edf38cdc-1a87-428a-837e-64bb1193aa6f" providerId="ADAL" clId="{94E8D670-E7FF-48FB-ADA0-E3E6EAA1813F}" dt="2025-12-02T10:37:18.970" v="400" actId="2696"/>
        <pc:sldMkLst>
          <pc:docMk/>
          <pc:sldMk cId="2302271549" sldId="2594"/>
        </pc:sldMkLst>
      </pc:sldChg>
      <pc:sldChg chg="add del">
        <pc:chgData name="Tybussek, Kai" userId="edf38cdc-1a87-428a-837e-64bb1193aa6f" providerId="ADAL" clId="{94E8D670-E7FF-48FB-ADA0-E3E6EAA1813F}" dt="2025-12-02T10:37:18.970" v="400" actId="2696"/>
        <pc:sldMkLst>
          <pc:docMk/>
          <pc:sldMk cId="1257389937" sldId="2595"/>
        </pc:sldMkLst>
      </pc:sldChg>
      <pc:sldChg chg="add del">
        <pc:chgData name="Tybussek, Kai" userId="edf38cdc-1a87-428a-837e-64bb1193aa6f" providerId="ADAL" clId="{94E8D670-E7FF-48FB-ADA0-E3E6EAA1813F}" dt="2025-12-02T10:42:23.743" v="502" actId="47"/>
        <pc:sldMkLst>
          <pc:docMk/>
          <pc:sldMk cId="2109385945" sldId="2595"/>
        </pc:sldMkLst>
      </pc:sldChg>
      <pc:sldChg chg="add del">
        <pc:chgData name="Tybussek, Kai" userId="edf38cdc-1a87-428a-837e-64bb1193aa6f" providerId="ADAL" clId="{94E8D670-E7FF-48FB-ADA0-E3E6EAA1813F}" dt="2025-12-02T10:42:20.930" v="501" actId="47"/>
        <pc:sldMkLst>
          <pc:docMk/>
          <pc:sldMk cId="682398876" sldId="2596"/>
        </pc:sldMkLst>
      </pc:sldChg>
      <pc:sldChg chg="add del">
        <pc:chgData name="Tybussek, Kai" userId="edf38cdc-1a87-428a-837e-64bb1193aa6f" providerId="ADAL" clId="{94E8D670-E7FF-48FB-ADA0-E3E6EAA1813F}" dt="2025-12-02T10:37:18.970" v="400" actId="2696"/>
        <pc:sldMkLst>
          <pc:docMk/>
          <pc:sldMk cId="2626758802" sldId="2596"/>
        </pc:sldMkLst>
      </pc:sldChg>
      <pc:sldChg chg="add del">
        <pc:chgData name="Tybussek, Kai" userId="edf38cdc-1a87-428a-837e-64bb1193aa6f" providerId="ADAL" clId="{94E8D670-E7FF-48FB-ADA0-E3E6EAA1813F}" dt="2025-12-02T10:37:18.970" v="400" actId="2696"/>
        <pc:sldMkLst>
          <pc:docMk/>
          <pc:sldMk cId="684447484" sldId="2597"/>
        </pc:sldMkLst>
      </pc:sldChg>
      <pc:sldChg chg="add del">
        <pc:chgData name="Tybussek, Kai" userId="edf38cdc-1a87-428a-837e-64bb1193aa6f" providerId="ADAL" clId="{94E8D670-E7FF-48FB-ADA0-E3E6EAA1813F}" dt="2025-12-02T10:42:13.635" v="499" actId="47"/>
        <pc:sldMkLst>
          <pc:docMk/>
          <pc:sldMk cId="857916959" sldId="2597"/>
        </pc:sldMkLst>
      </pc:sldChg>
      <pc:sldChg chg="add del">
        <pc:chgData name="Tybussek, Kai" userId="edf38cdc-1a87-428a-837e-64bb1193aa6f" providerId="ADAL" clId="{94E8D670-E7FF-48FB-ADA0-E3E6EAA1813F}" dt="2025-12-02T10:42:06.597" v="498" actId="47"/>
        <pc:sldMkLst>
          <pc:docMk/>
          <pc:sldMk cId="548524645" sldId="2598"/>
        </pc:sldMkLst>
      </pc:sldChg>
      <pc:sldChg chg="add del">
        <pc:chgData name="Tybussek, Kai" userId="edf38cdc-1a87-428a-837e-64bb1193aa6f" providerId="ADAL" clId="{94E8D670-E7FF-48FB-ADA0-E3E6EAA1813F}" dt="2025-12-02T10:37:18.970" v="400" actId="2696"/>
        <pc:sldMkLst>
          <pc:docMk/>
          <pc:sldMk cId="1816086219" sldId="2598"/>
        </pc:sldMkLst>
      </pc:sldChg>
      <pc:sldChg chg="add del">
        <pc:chgData name="Tybussek, Kai" userId="edf38cdc-1a87-428a-837e-64bb1193aa6f" providerId="ADAL" clId="{94E8D670-E7FF-48FB-ADA0-E3E6EAA1813F}" dt="2025-12-02T10:37:18.970" v="400" actId="2696"/>
        <pc:sldMkLst>
          <pc:docMk/>
          <pc:sldMk cId="415968449" sldId="2599"/>
        </pc:sldMkLst>
      </pc:sldChg>
      <pc:sldChg chg="add">
        <pc:chgData name="Tybussek, Kai" userId="edf38cdc-1a87-428a-837e-64bb1193aa6f" providerId="ADAL" clId="{94E8D670-E7FF-48FB-ADA0-E3E6EAA1813F}" dt="2025-12-02T10:37:26.661" v="401"/>
        <pc:sldMkLst>
          <pc:docMk/>
          <pc:sldMk cId="3218204932" sldId="2599"/>
        </pc:sldMkLst>
      </pc:sldChg>
      <pc:sldChg chg="add">
        <pc:chgData name="Tybussek, Kai" userId="edf38cdc-1a87-428a-837e-64bb1193aa6f" providerId="ADAL" clId="{94E8D670-E7FF-48FB-ADA0-E3E6EAA1813F}" dt="2025-12-02T10:44:17.144" v="507"/>
        <pc:sldMkLst>
          <pc:docMk/>
          <pc:sldMk cId="3436145183" sldId="2146848952"/>
        </pc:sldMkLst>
      </pc:sldChg>
      <pc:sldChg chg="del">
        <pc:chgData name="Tybussek, Kai" userId="edf38cdc-1a87-428a-837e-64bb1193aa6f" providerId="ADAL" clId="{94E8D670-E7FF-48FB-ADA0-E3E6EAA1813F}" dt="2025-12-02T10:44:05.787" v="506" actId="2696"/>
        <pc:sldMkLst>
          <pc:docMk/>
          <pc:sldMk cId="3974763175" sldId="2146848952"/>
        </pc:sldMkLst>
      </pc:sldChg>
      <pc:sldChg chg="del">
        <pc:chgData name="Tybussek, Kai" userId="edf38cdc-1a87-428a-837e-64bb1193aa6f" providerId="ADAL" clId="{94E8D670-E7FF-48FB-ADA0-E3E6EAA1813F}" dt="2025-12-01T13:20:42.629" v="348" actId="47"/>
        <pc:sldMkLst>
          <pc:docMk/>
          <pc:sldMk cId="4103818543" sldId="2146848956"/>
        </pc:sldMkLst>
      </pc:sldChg>
      <pc:sldChg chg="del">
        <pc:chgData name="Tybussek, Kai" userId="edf38cdc-1a87-428a-837e-64bb1193aa6f" providerId="ADAL" clId="{94E8D670-E7FF-48FB-ADA0-E3E6EAA1813F}" dt="2025-12-01T13:20:43.725" v="349" actId="47"/>
        <pc:sldMkLst>
          <pc:docMk/>
          <pc:sldMk cId="3312636773" sldId="2146848957"/>
        </pc:sldMkLst>
      </pc:sldChg>
      <pc:sldChg chg="del">
        <pc:chgData name="Tybussek, Kai" userId="edf38cdc-1a87-428a-837e-64bb1193aa6f" providerId="ADAL" clId="{94E8D670-E7FF-48FB-ADA0-E3E6EAA1813F}" dt="2025-12-01T13:20:44.798" v="350" actId="47"/>
        <pc:sldMkLst>
          <pc:docMk/>
          <pc:sldMk cId="3758931631" sldId="2146848958"/>
        </pc:sldMkLst>
      </pc:sldChg>
      <pc:sldChg chg="del">
        <pc:chgData name="Tybussek, Kai" userId="edf38cdc-1a87-428a-837e-64bb1193aa6f" providerId="ADAL" clId="{94E8D670-E7FF-48FB-ADA0-E3E6EAA1813F}" dt="2025-12-01T13:20:46.065" v="351" actId="47"/>
        <pc:sldMkLst>
          <pc:docMk/>
          <pc:sldMk cId="770144026" sldId="2146848959"/>
        </pc:sldMkLst>
      </pc:sldChg>
      <pc:sldChg chg="del">
        <pc:chgData name="Tybussek, Kai" userId="edf38cdc-1a87-428a-837e-64bb1193aa6f" providerId="ADAL" clId="{94E8D670-E7FF-48FB-ADA0-E3E6EAA1813F}" dt="2025-12-01T13:20:47.085" v="352" actId="47"/>
        <pc:sldMkLst>
          <pc:docMk/>
          <pc:sldMk cId="259185738" sldId="2146848960"/>
        </pc:sldMkLst>
      </pc:sldChg>
      <pc:sldChg chg="add del">
        <pc:chgData name="Tybussek, Kai" userId="edf38cdc-1a87-428a-837e-64bb1193aa6f" providerId="ADAL" clId="{94E8D670-E7FF-48FB-ADA0-E3E6EAA1813F}" dt="2025-12-01T13:21:45.797" v="357" actId="47"/>
        <pc:sldMkLst>
          <pc:docMk/>
          <pc:sldMk cId="3936226682" sldId="2146848961"/>
        </pc:sldMkLst>
      </pc:sldChg>
      <pc:sldChg chg="del">
        <pc:chgData name="Tybussek, Kai" userId="edf38cdc-1a87-428a-837e-64bb1193aa6f" providerId="ADAL" clId="{94E8D670-E7FF-48FB-ADA0-E3E6EAA1813F}" dt="2025-12-01T13:23:06.117" v="395" actId="47"/>
        <pc:sldMkLst>
          <pc:docMk/>
          <pc:sldMk cId="3204104390" sldId="2146848962"/>
        </pc:sldMkLst>
      </pc:sldChg>
      <pc:sldChg chg="del">
        <pc:chgData name="Tybussek, Kai" userId="edf38cdc-1a87-428a-837e-64bb1193aa6f" providerId="ADAL" clId="{94E8D670-E7FF-48FB-ADA0-E3E6EAA1813F}" dt="2025-12-01T13:23:07.006" v="396" actId="47"/>
        <pc:sldMkLst>
          <pc:docMk/>
          <pc:sldMk cId="3174553441" sldId="2146848963"/>
        </pc:sldMkLst>
      </pc:sldChg>
      <pc:sldChg chg="del">
        <pc:chgData name="Tybussek, Kai" userId="edf38cdc-1a87-428a-837e-64bb1193aa6f" providerId="ADAL" clId="{94E8D670-E7FF-48FB-ADA0-E3E6EAA1813F}" dt="2025-12-01T13:23:07.768" v="397" actId="47"/>
        <pc:sldMkLst>
          <pc:docMk/>
          <pc:sldMk cId="3689413896" sldId="2146848964"/>
        </pc:sldMkLst>
      </pc:sldChg>
      <pc:sldChg chg="del">
        <pc:chgData name="Tybussek, Kai" userId="edf38cdc-1a87-428a-837e-64bb1193aa6f" providerId="ADAL" clId="{94E8D670-E7FF-48FB-ADA0-E3E6EAA1813F}" dt="2025-12-01T13:23:08.856" v="398" actId="47"/>
        <pc:sldMkLst>
          <pc:docMk/>
          <pc:sldMk cId="3348157378" sldId="2146848965"/>
        </pc:sldMkLst>
      </pc:sldChg>
      <pc:sldChg chg="add">
        <pc:chgData name="Tybussek, Kai" userId="edf38cdc-1a87-428a-837e-64bb1193aa6f" providerId="ADAL" clId="{94E8D670-E7FF-48FB-ADA0-E3E6EAA1813F}" dt="2025-12-02T10:44:17.144" v="507"/>
        <pc:sldMkLst>
          <pc:docMk/>
          <pc:sldMk cId="2403603619" sldId="2146848970"/>
        </pc:sldMkLst>
      </pc:sldChg>
      <pc:sldChg chg="del">
        <pc:chgData name="Tybussek, Kai" userId="edf38cdc-1a87-428a-837e-64bb1193aa6f" providerId="ADAL" clId="{94E8D670-E7FF-48FB-ADA0-E3E6EAA1813F}" dt="2025-12-02T10:44:05.787" v="506" actId="2696"/>
        <pc:sldMkLst>
          <pc:docMk/>
          <pc:sldMk cId="2769504623" sldId="2146848970"/>
        </pc:sldMkLst>
      </pc:sldChg>
      <pc:sldChg chg="del">
        <pc:chgData name="Tybussek, Kai" userId="edf38cdc-1a87-428a-837e-64bb1193aa6f" providerId="ADAL" clId="{94E8D670-E7FF-48FB-ADA0-E3E6EAA1813F}" dt="2025-12-02T10:44:05.787" v="506" actId="2696"/>
        <pc:sldMkLst>
          <pc:docMk/>
          <pc:sldMk cId="1835195176" sldId="2146848971"/>
        </pc:sldMkLst>
      </pc:sldChg>
      <pc:sldChg chg="add">
        <pc:chgData name="Tybussek, Kai" userId="edf38cdc-1a87-428a-837e-64bb1193aa6f" providerId="ADAL" clId="{94E8D670-E7FF-48FB-ADA0-E3E6EAA1813F}" dt="2025-12-02T10:44:17.144" v="507"/>
        <pc:sldMkLst>
          <pc:docMk/>
          <pc:sldMk cId="1919019067" sldId="2146848971"/>
        </pc:sldMkLst>
      </pc:sldChg>
      <pc:sldChg chg="add">
        <pc:chgData name="Tybussek, Kai" userId="edf38cdc-1a87-428a-837e-64bb1193aa6f" providerId="ADAL" clId="{94E8D670-E7FF-48FB-ADA0-E3E6EAA1813F}" dt="2025-12-02T10:44:17.144" v="507"/>
        <pc:sldMkLst>
          <pc:docMk/>
          <pc:sldMk cId="1817626110" sldId="2146848972"/>
        </pc:sldMkLst>
      </pc:sldChg>
      <pc:sldChg chg="del">
        <pc:chgData name="Tybussek, Kai" userId="edf38cdc-1a87-428a-837e-64bb1193aa6f" providerId="ADAL" clId="{94E8D670-E7FF-48FB-ADA0-E3E6EAA1813F}" dt="2025-12-02T10:44:05.787" v="506" actId="2696"/>
        <pc:sldMkLst>
          <pc:docMk/>
          <pc:sldMk cId="2246471920" sldId="2146848972"/>
        </pc:sldMkLst>
      </pc:sldChg>
      <pc:sldChg chg="del">
        <pc:chgData name="Tybussek, Kai" userId="edf38cdc-1a87-428a-837e-64bb1193aa6f" providerId="ADAL" clId="{94E8D670-E7FF-48FB-ADA0-E3E6EAA1813F}" dt="2025-12-02T10:44:05.787" v="506" actId="2696"/>
        <pc:sldMkLst>
          <pc:docMk/>
          <pc:sldMk cId="2501674844" sldId="2146848974"/>
        </pc:sldMkLst>
      </pc:sldChg>
      <pc:sldChg chg="add">
        <pc:chgData name="Tybussek, Kai" userId="edf38cdc-1a87-428a-837e-64bb1193aa6f" providerId="ADAL" clId="{94E8D670-E7FF-48FB-ADA0-E3E6EAA1813F}" dt="2025-12-02T10:44:17.144" v="507"/>
        <pc:sldMkLst>
          <pc:docMk/>
          <pc:sldMk cId="2887357822" sldId="2146848974"/>
        </pc:sldMkLst>
      </pc:sldChg>
      <pc:sldChg chg="add">
        <pc:chgData name="Tybussek, Kai" userId="edf38cdc-1a87-428a-837e-64bb1193aa6f" providerId="ADAL" clId="{94E8D670-E7FF-48FB-ADA0-E3E6EAA1813F}" dt="2025-12-02T13:00:57.713" v="510"/>
        <pc:sldMkLst>
          <pc:docMk/>
          <pc:sldMk cId="2132128881" sldId="2146848976"/>
        </pc:sldMkLst>
      </pc:sldChg>
      <pc:sldChg chg="modSp add del mod">
        <pc:chgData name="Tybussek, Kai" userId="edf38cdc-1a87-428a-837e-64bb1193aa6f" providerId="ADAL" clId="{94E8D670-E7FF-48FB-ADA0-E3E6EAA1813F}" dt="2025-12-02T13:00:43.485" v="509" actId="2696"/>
        <pc:sldMkLst>
          <pc:docMk/>
          <pc:sldMk cId="3000868633" sldId="2146848976"/>
        </pc:sldMkLst>
        <pc:spChg chg="mod">
          <ac:chgData name="Tybussek, Kai" userId="edf38cdc-1a87-428a-837e-64bb1193aa6f" providerId="ADAL" clId="{94E8D670-E7FF-48FB-ADA0-E3E6EAA1813F}" dt="2025-12-01T13:22:33.320" v="382" actId="20577"/>
          <ac:spMkLst>
            <pc:docMk/>
            <pc:sldMk cId="3000868633" sldId="2146848976"/>
            <ac:spMk id="2" creationId="{3F7411FB-233A-A446-46A5-ABE3396D519B}"/>
          </ac:spMkLst>
        </pc:spChg>
        <pc:spChg chg="mod">
          <ac:chgData name="Tybussek, Kai" userId="edf38cdc-1a87-428a-837e-64bb1193aa6f" providerId="ADAL" clId="{94E8D670-E7FF-48FB-ADA0-E3E6EAA1813F}" dt="2025-12-02T10:38:57.829" v="408" actId="20577"/>
          <ac:spMkLst>
            <pc:docMk/>
            <pc:sldMk cId="3000868633" sldId="2146848976"/>
            <ac:spMk id="4" creationId="{A303F97B-CF52-96AC-2850-AB7C63BC3785}"/>
          </ac:spMkLst>
        </pc:spChg>
      </pc:sldChg>
      <pc:sldChg chg="add">
        <pc:chgData name="Tybussek, Kai" userId="edf38cdc-1a87-428a-837e-64bb1193aa6f" providerId="ADAL" clId="{94E8D670-E7FF-48FB-ADA0-E3E6EAA1813F}" dt="2025-12-02T13:00:57.713" v="510"/>
        <pc:sldMkLst>
          <pc:docMk/>
          <pc:sldMk cId="367716313" sldId="2146848977"/>
        </pc:sldMkLst>
      </pc:sldChg>
      <pc:sldChg chg="del">
        <pc:chgData name="Tybussek, Kai" userId="edf38cdc-1a87-428a-837e-64bb1193aa6f" providerId="ADAL" clId="{94E8D670-E7FF-48FB-ADA0-E3E6EAA1813F}" dt="2025-12-02T13:00:43.485" v="509" actId="2696"/>
        <pc:sldMkLst>
          <pc:docMk/>
          <pc:sldMk cId="2541306293" sldId="2146848977"/>
        </pc:sldMkLst>
      </pc:sldChg>
      <pc:sldChg chg="add">
        <pc:chgData name="Tybussek, Kai" userId="edf38cdc-1a87-428a-837e-64bb1193aa6f" providerId="ADAL" clId="{94E8D670-E7FF-48FB-ADA0-E3E6EAA1813F}" dt="2025-12-02T13:00:57.713" v="510"/>
        <pc:sldMkLst>
          <pc:docMk/>
          <pc:sldMk cId="1968495400" sldId="2146848978"/>
        </pc:sldMkLst>
      </pc:sldChg>
      <pc:sldChg chg="del">
        <pc:chgData name="Tybussek, Kai" userId="edf38cdc-1a87-428a-837e-64bb1193aa6f" providerId="ADAL" clId="{94E8D670-E7FF-48FB-ADA0-E3E6EAA1813F}" dt="2025-12-02T13:00:43.485" v="509" actId="2696"/>
        <pc:sldMkLst>
          <pc:docMk/>
          <pc:sldMk cId="2945892033" sldId="2146848978"/>
        </pc:sldMkLst>
      </pc:sldChg>
      <pc:sldChg chg="del">
        <pc:chgData name="Tybussek, Kai" userId="edf38cdc-1a87-428a-837e-64bb1193aa6f" providerId="ADAL" clId="{94E8D670-E7FF-48FB-ADA0-E3E6EAA1813F}" dt="2025-12-02T13:00:43.485" v="509" actId="2696"/>
        <pc:sldMkLst>
          <pc:docMk/>
          <pc:sldMk cId="629806978" sldId="2146848979"/>
        </pc:sldMkLst>
      </pc:sldChg>
      <pc:sldChg chg="add">
        <pc:chgData name="Tybussek, Kai" userId="edf38cdc-1a87-428a-837e-64bb1193aa6f" providerId="ADAL" clId="{94E8D670-E7FF-48FB-ADA0-E3E6EAA1813F}" dt="2025-12-02T13:00:57.713" v="510"/>
        <pc:sldMkLst>
          <pc:docMk/>
          <pc:sldMk cId="667977564" sldId="2146848979"/>
        </pc:sldMkLst>
      </pc:sldChg>
      <pc:sldChg chg="del">
        <pc:chgData name="Tybussek, Kai" userId="edf38cdc-1a87-428a-837e-64bb1193aa6f" providerId="ADAL" clId="{94E8D670-E7FF-48FB-ADA0-E3E6EAA1813F}" dt="2025-12-02T13:00:43.485" v="509" actId="2696"/>
        <pc:sldMkLst>
          <pc:docMk/>
          <pc:sldMk cId="393053745" sldId="2146848980"/>
        </pc:sldMkLst>
      </pc:sldChg>
      <pc:sldChg chg="add">
        <pc:chgData name="Tybussek, Kai" userId="edf38cdc-1a87-428a-837e-64bb1193aa6f" providerId="ADAL" clId="{94E8D670-E7FF-48FB-ADA0-E3E6EAA1813F}" dt="2025-12-02T13:00:57.713" v="510"/>
        <pc:sldMkLst>
          <pc:docMk/>
          <pc:sldMk cId="1261688008" sldId="2146848980"/>
        </pc:sldMkLst>
      </pc:sldChg>
      <pc:sldMasterChg chg="del delSldLayout">
        <pc:chgData name="Tybussek, Kai" userId="edf38cdc-1a87-428a-837e-64bb1193aa6f" providerId="ADAL" clId="{94E8D670-E7FF-48FB-ADA0-E3E6EAA1813F}" dt="2025-12-02T10:37:18.970" v="400" actId="2696"/>
        <pc:sldMasterMkLst>
          <pc:docMk/>
          <pc:sldMasterMk cId="3979271420" sldId="2147483733"/>
        </pc:sldMasterMkLst>
        <pc:sldLayoutChg chg="del">
          <pc:chgData name="Tybussek, Kai" userId="edf38cdc-1a87-428a-837e-64bb1193aa6f" providerId="ADAL" clId="{94E8D670-E7FF-48FB-ADA0-E3E6EAA1813F}" dt="2025-12-02T10:37:18.970" v="400" actId="2696"/>
          <pc:sldLayoutMkLst>
            <pc:docMk/>
            <pc:sldMasterMk cId="3979271420" sldId="2147483733"/>
            <pc:sldLayoutMk cId="1682640600" sldId="2147483734"/>
          </pc:sldLayoutMkLst>
        </pc:sldLayoutChg>
        <pc:sldLayoutChg chg="del">
          <pc:chgData name="Tybussek, Kai" userId="edf38cdc-1a87-428a-837e-64bb1193aa6f" providerId="ADAL" clId="{94E8D670-E7FF-48FB-ADA0-E3E6EAA1813F}" dt="2025-12-02T10:37:18.970" v="400" actId="2696"/>
          <pc:sldLayoutMkLst>
            <pc:docMk/>
            <pc:sldMasterMk cId="3979271420" sldId="2147483733"/>
            <pc:sldLayoutMk cId="4006813946" sldId="2147483735"/>
          </pc:sldLayoutMkLst>
        </pc:sldLayoutChg>
        <pc:sldLayoutChg chg="del">
          <pc:chgData name="Tybussek, Kai" userId="edf38cdc-1a87-428a-837e-64bb1193aa6f" providerId="ADAL" clId="{94E8D670-E7FF-48FB-ADA0-E3E6EAA1813F}" dt="2025-12-02T10:37:18.970" v="400" actId="2696"/>
          <pc:sldLayoutMkLst>
            <pc:docMk/>
            <pc:sldMasterMk cId="3979271420" sldId="2147483733"/>
            <pc:sldLayoutMk cId="1689637691" sldId="2147483736"/>
          </pc:sldLayoutMkLst>
        </pc:sldLayoutChg>
        <pc:sldLayoutChg chg="del">
          <pc:chgData name="Tybussek, Kai" userId="edf38cdc-1a87-428a-837e-64bb1193aa6f" providerId="ADAL" clId="{94E8D670-E7FF-48FB-ADA0-E3E6EAA1813F}" dt="2025-12-02T10:37:18.970" v="400" actId="2696"/>
          <pc:sldLayoutMkLst>
            <pc:docMk/>
            <pc:sldMasterMk cId="3979271420" sldId="2147483733"/>
            <pc:sldLayoutMk cId="1705146636" sldId="2147483737"/>
          </pc:sldLayoutMkLst>
        </pc:sldLayoutChg>
        <pc:sldLayoutChg chg="del">
          <pc:chgData name="Tybussek, Kai" userId="edf38cdc-1a87-428a-837e-64bb1193aa6f" providerId="ADAL" clId="{94E8D670-E7FF-48FB-ADA0-E3E6EAA1813F}" dt="2025-12-02T10:37:18.970" v="400" actId="2696"/>
          <pc:sldLayoutMkLst>
            <pc:docMk/>
            <pc:sldMasterMk cId="3979271420" sldId="2147483733"/>
            <pc:sldLayoutMk cId="2691936900" sldId="2147483738"/>
          </pc:sldLayoutMkLst>
        </pc:sldLayoutChg>
        <pc:sldLayoutChg chg="del">
          <pc:chgData name="Tybussek, Kai" userId="edf38cdc-1a87-428a-837e-64bb1193aa6f" providerId="ADAL" clId="{94E8D670-E7FF-48FB-ADA0-E3E6EAA1813F}" dt="2025-12-02T10:37:18.970" v="400" actId="2696"/>
          <pc:sldLayoutMkLst>
            <pc:docMk/>
            <pc:sldMasterMk cId="3979271420" sldId="2147483733"/>
            <pc:sldLayoutMk cId="1775517550" sldId="2147483739"/>
          </pc:sldLayoutMkLst>
        </pc:sldLayoutChg>
        <pc:sldLayoutChg chg="del">
          <pc:chgData name="Tybussek, Kai" userId="edf38cdc-1a87-428a-837e-64bb1193aa6f" providerId="ADAL" clId="{94E8D670-E7FF-48FB-ADA0-E3E6EAA1813F}" dt="2025-12-02T10:37:18.970" v="400" actId="2696"/>
          <pc:sldLayoutMkLst>
            <pc:docMk/>
            <pc:sldMasterMk cId="3979271420" sldId="2147483733"/>
            <pc:sldLayoutMk cId="3524164583" sldId="2147483740"/>
          </pc:sldLayoutMkLst>
        </pc:sldLayoutChg>
        <pc:sldLayoutChg chg="del">
          <pc:chgData name="Tybussek, Kai" userId="edf38cdc-1a87-428a-837e-64bb1193aa6f" providerId="ADAL" clId="{94E8D670-E7FF-48FB-ADA0-E3E6EAA1813F}" dt="2025-12-02T10:37:18.970" v="400" actId="2696"/>
          <pc:sldLayoutMkLst>
            <pc:docMk/>
            <pc:sldMasterMk cId="3979271420" sldId="2147483733"/>
            <pc:sldLayoutMk cId="832432269" sldId="2147483741"/>
          </pc:sldLayoutMkLst>
        </pc:sldLayoutChg>
        <pc:sldLayoutChg chg="del">
          <pc:chgData name="Tybussek, Kai" userId="edf38cdc-1a87-428a-837e-64bb1193aa6f" providerId="ADAL" clId="{94E8D670-E7FF-48FB-ADA0-E3E6EAA1813F}" dt="2025-12-02T10:37:18.970" v="400" actId="2696"/>
          <pc:sldLayoutMkLst>
            <pc:docMk/>
            <pc:sldMasterMk cId="3979271420" sldId="2147483733"/>
            <pc:sldLayoutMk cId="1645765854" sldId="2147483742"/>
          </pc:sldLayoutMkLst>
        </pc:sldLayoutChg>
        <pc:sldLayoutChg chg="del">
          <pc:chgData name="Tybussek, Kai" userId="edf38cdc-1a87-428a-837e-64bb1193aa6f" providerId="ADAL" clId="{94E8D670-E7FF-48FB-ADA0-E3E6EAA1813F}" dt="2025-12-02T10:37:18.970" v="400" actId="2696"/>
          <pc:sldLayoutMkLst>
            <pc:docMk/>
            <pc:sldMasterMk cId="3979271420" sldId="2147483733"/>
            <pc:sldLayoutMk cId="531736086" sldId="2147483743"/>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4.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5.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6.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7.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0.28798416945006589"/>
          <c:y val="0"/>
          <c:w val="0.71201583054993411"/>
          <c:h val="1"/>
        </c:manualLayout>
      </c:layout>
      <c:barChart>
        <c:barDir val="bar"/>
        <c:grouping val="stacked"/>
        <c:varyColors val="0"/>
        <c:ser>
          <c:idx val="0"/>
          <c:order val="0"/>
          <c:tx>
            <c:v>Series 1</c:v>
          </c:tx>
          <c:spPr>
            <a:solidFill>
              <a:schemeClr val="accent1"/>
            </a:solidFill>
            <a:ln>
              <a:noFill/>
            </a:ln>
            <a:effectLst/>
            <a:extLst>
              <a:ext uri="{91240B29-F687-4F45-9708-019B960494DF}">
                <a14:hiddenLine xmlns:a14="http://schemas.microsoft.com/office/drawing/2010/main">
                  <a:noFill/>
                </a14:hiddenLine>
              </a:ext>
            </a:extLst>
          </c:spPr>
          <c:invertIfNegative val="0"/>
          <c:dPt>
            <c:idx val="0"/>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0-018C-445A-89C7-74583725E64C}"/>
              </c:ext>
            </c:extLst>
          </c:dPt>
          <c:dPt>
            <c:idx val="1"/>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1-018C-445A-89C7-74583725E64C}"/>
              </c:ext>
            </c:extLst>
          </c:dPt>
          <c:dPt>
            <c:idx val="2"/>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2-018C-445A-89C7-74583725E64C}"/>
              </c:ext>
            </c:extLst>
          </c:dPt>
          <c:dPt>
            <c:idx val="3"/>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3-018C-445A-89C7-74583725E64C}"/>
              </c:ext>
            </c:extLst>
          </c:dPt>
          <c:dPt>
            <c:idx val="4"/>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4-018C-445A-89C7-74583725E64C}"/>
              </c:ext>
            </c:extLst>
          </c:dPt>
          <c:cat>
            <c:strLit>
              <c:ptCount val="3"/>
              <c:pt idx="0">
                <c:v>Sonstiges</c:v>
              </c:pt>
              <c:pt idx="1">
                <c:v>Einrichtungsleitung</c:v>
              </c:pt>
              <c:pt idx="2">
                <c:v>Geschäftsführung</c:v>
              </c:pt>
            </c:strLit>
          </c:cat>
          <c:val>
            <c:numLit>
              <c:formatCode>General</c:formatCode>
              <c:ptCount val="3"/>
              <c:pt idx="0">
                <c:v>25</c:v>
              </c:pt>
              <c:pt idx="1">
                <c:v>21</c:v>
              </c:pt>
              <c:pt idx="2">
                <c:v>54</c:v>
              </c:pt>
            </c:numLit>
          </c:val>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5-018C-445A-89C7-74583725E64C}"/>
            </c:ext>
          </c:extLst>
        </c:ser>
        <c:dLbls>
          <c:showLegendKey val="0"/>
          <c:showVal val="0"/>
          <c:showCatName val="0"/>
          <c:showSerName val="0"/>
          <c:showPercent val="0"/>
          <c:showBubbleSize val="0"/>
        </c:dLbls>
        <c:gapWidth val="75"/>
        <c:overlap val="100"/>
        <c:axId val="859027824"/>
        <c:axId val="859033704"/>
      </c:barChart>
      <c:catAx>
        <c:axId val="859027824"/>
        <c:scaling>
          <c:orientation val="minMax"/>
        </c:scaling>
        <c:delete val="0"/>
        <c:axPos val="l"/>
        <c:numFmt formatCode="General" sourceLinked="1"/>
        <c:majorTickMark val="none"/>
        <c:minorTickMark val="none"/>
        <c:tickLblPos val="none"/>
        <c:spPr>
          <a:noFill/>
          <a:ln w="6350" cap="flat" cmpd="sng" algn="ctr">
            <a:solidFill>
              <a:schemeClr val="tx1"/>
            </a:solidFill>
            <a:prstDash val="solid"/>
            <a:round/>
          </a:ln>
          <a:effectLst/>
        </c:spPr>
        <c:txPr>
          <a:bodyPr rot="-60000000" spcFirstLastPara="1" vertOverflow="ellipsis" vert="horz" wrap="square" anchor="ctr" anchorCtr="1"/>
          <a:lstStyle/>
          <a:p>
            <a:pPr>
              <a:defRPr lang="de-DE" sz="1200" b="0" i="0" u="none" strike="noStrike" kern="1200" baseline="0">
                <a:solidFill>
                  <a:srgbClr val="404040"/>
                </a:solidFill>
                <a:latin typeface="+mn-lt"/>
                <a:ea typeface="+mn-lt"/>
                <a:cs typeface="+mn-lt"/>
              </a:defRPr>
            </a:pPr>
            <a:endParaRPr lang="de-DE"/>
          </a:p>
        </c:txPr>
        <c:crossAx val="859033704"/>
        <c:crosses val="autoZero"/>
        <c:auto val="1"/>
        <c:lblAlgn val="ctr"/>
        <c:lblOffset val="100"/>
        <c:noMultiLvlLbl val="0"/>
      </c:catAx>
      <c:valAx>
        <c:axId val="859033704"/>
        <c:scaling>
          <c:orientation val="minMax"/>
          <c:max val="55"/>
          <c:min val="0"/>
        </c:scaling>
        <c:delete val="0"/>
        <c:axPos val="b"/>
        <c:numFmt formatCode=";;;" sourceLinked="0"/>
        <c:majorTickMark val="out"/>
        <c:minorTickMark val="none"/>
        <c:tickLblPos val="none"/>
        <c:spPr>
          <a:noFill/>
          <a:ln w="6350" cap="flat" cmpd="sng" algn="ctr">
            <a:noFill/>
            <a:prstDash val="solid"/>
            <a:round/>
          </a:ln>
          <a:effectLst/>
          <a:extLst>
            <a:ext uri="{91240B29-F687-4F45-9708-019B960494DF}">
              <a14:hiddenLine xmlns:a14="http://schemas.microsoft.com/office/drawing/2010/main" w="6350" cap="flat" cmpd="sng" algn="ctr">
                <a:solidFill>
                  <a:srgbClr val="404040"/>
                </a:solidFill>
                <a:prstDash val="solid"/>
                <a:round/>
              </a14:hiddenLine>
            </a:ext>
          </a:extLst>
        </c:spPr>
        <c:txPr>
          <a:bodyPr rot="-60000000" spcFirstLastPara="1" vertOverflow="ellipsis" vert="horz" wrap="square" anchor="ctr" anchorCtr="1"/>
          <a:lstStyle/>
          <a:p>
            <a:pPr>
              <a:defRPr lang="de-DE" sz="1200" b="0" i="0" u="none" strike="noStrike" kern="1200" baseline="0">
                <a:solidFill>
                  <a:srgbClr val="404040"/>
                </a:solidFill>
                <a:latin typeface="+mn-lt"/>
                <a:ea typeface="+mn-lt"/>
                <a:cs typeface="+mn-lt"/>
              </a:defRPr>
            </a:pPr>
            <a:endParaRPr lang="de-DE"/>
          </a:p>
        </c:txPr>
        <c:crossAx val="859027824"/>
        <c:crosses val="autoZero"/>
        <c:crossBetween val="between"/>
        <c:majorUnit val="5"/>
        <c:dispUnits>
          <c:custUnit val="1"/>
        </c:dispUnits>
      </c:valAx>
      <c:spPr>
        <a:noFill/>
        <a:ln>
          <a:noFill/>
        </a:ln>
        <a:effectLst/>
      </c:spPr>
    </c:plotArea>
    <c:plotVisOnly val="1"/>
    <c:dispBlanksAs val="gap"/>
    <c:showDLblsOverMax val="0"/>
    <c:extLst xmlns:c16="http://schemas.microsoft.com/office/drawing/2014/chart" xmlns:a14="http://schemas.microsoft.com/office/drawing/2010/main"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de-DE" sz="1200" b="0" i="0" u="none" strike="noStrike" kern="1200" baseline="0">
          <a:solidFill>
            <a:schemeClr val="tx1"/>
          </a:solidFill>
          <a:latin typeface="Segoe UI Light" panose="020B0502040204020203" pitchFamily="34" charset="0"/>
          <a:ea typeface="Arial"/>
          <a:cs typeface="Segoe UI Light" panose="020B0502040204020203" pitchFamily="34" charset="0"/>
        </a:defRPr>
      </a:pPr>
      <a:endParaRPr lang="de-DE"/>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0.3168764745126213"/>
          <c:y val="0"/>
          <c:w val="0.68312352548737876"/>
          <c:h val="1"/>
        </c:manualLayout>
      </c:layout>
      <c:barChart>
        <c:barDir val="bar"/>
        <c:grouping val="stacked"/>
        <c:varyColors val="0"/>
        <c:ser>
          <c:idx val="0"/>
          <c:order val="0"/>
          <c:tx>
            <c:v>Series 1</c:v>
          </c:tx>
          <c:spPr>
            <a:solidFill>
              <a:schemeClr val="accent1"/>
            </a:solidFill>
            <a:ln>
              <a:noFill/>
            </a:ln>
            <a:effectLst/>
            <a:extLst>
              <a:ext uri="{91240B29-F687-4F45-9708-019B960494DF}">
                <a14:hiddenLine xmlns:a14="http://schemas.microsoft.com/office/drawing/2010/main">
                  <a:noFill/>
                </a14:hiddenLine>
              </a:ext>
            </a:extLst>
          </c:spPr>
          <c:invertIfNegative val="0"/>
          <c:dPt>
            <c:idx val="0"/>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1-B694-4F5A-A4C1-CDB9620179E4}"/>
              </c:ext>
            </c:extLst>
          </c:dPt>
          <c:dPt>
            <c:idx val="1"/>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2-B694-4F5A-A4C1-CDB9620179E4}"/>
              </c:ext>
            </c:extLst>
          </c:dPt>
          <c:dPt>
            <c:idx val="2"/>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3-B694-4F5A-A4C1-CDB9620179E4}"/>
              </c:ext>
            </c:extLst>
          </c:dPt>
          <c:dPt>
            <c:idx val="3"/>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4-B694-4F5A-A4C1-CDB9620179E4}"/>
              </c:ext>
            </c:extLst>
          </c:dPt>
          <c:dPt>
            <c:idx val="4"/>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5-B694-4F5A-A4C1-CDB9620179E4}"/>
              </c:ext>
            </c:extLst>
          </c:dPt>
          <c:cat>
            <c:strLit>
              <c:ptCount val="4"/>
              <c:pt idx="0">
                <c:v>Sonstige</c:v>
              </c:pt>
              <c:pt idx="1">
                <c:v>Privat-gewerblich</c:v>
              </c:pt>
              <c:pt idx="2">
                <c:v>Öffentlich</c:v>
              </c:pt>
              <c:pt idx="3">
                <c:v>Freigemeinnützig</c:v>
              </c:pt>
            </c:strLit>
          </c:cat>
          <c:val>
            <c:numLit>
              <c:formatCode>General</c:formatCode>
              <c:ptCount val="4"/>
              <c:pt idx="0">
                <c:v>4</c:v>
              </c:pt>
              <c:pt idx="1">
                <c:v>19</c:v>
              </c:pt>
              <c:pt idx="2">
                <c:v>6</c:v>
              </c:pt>
              <c:pt idx="3">
                <c:v>71</c:v>
              </c:pt>
            </c:numLit>
          </c:val>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6-B694-4F5A-A4C1-CDB9620179E4}"/>
            </c:ext>
          </c:extLst>
        </c:ser>
        <c:dLbls>
          <c:showLegendKey val="0"/>
          <c:showVal val="0"/>
          <c:showCatName val="0"/>
          <c:showSerName val="0"/>
          <c:showPercent val="0"/>
          <c:showBubbleSize val="0"/>
        </c:dLbls>
        <c:gapWidth val="75"/>
        <c:overlap val="100"/>
        <c:axId val="859027824"/>
        <c:axId val="859033704"/>
      </c:barChart>
      <c:catAx>
        <c:axId val="859027824"/>
        <c:scaling>
          <c:orientation val="minMax"/>
        </c:scaling>
        <c:delete val="0"/>
        <c:axPos val="l"/>
        <c:numFmt formatCode="General" sourceLinked="1"/>
        <c:majorTickMark val="none"/>
        <c:minorTickMark val="none"/>
        <c:tickLblPos val="none"/>
        <c:spPr>
          <a:noFill/>
          <a:ln w="6350" cap="flat" cmpd="sng" algn="ctr">
            <a:solidFill>
              <a:schemeClr val="tx1"/>
            </a:solidFill>
            <a:prstDash val="solid"/>
            <a:round/>
          </a:ln>
          <a:effectLst/>
        </c:spPr>
        <c:txPr>
          <a:bodyPr rot="-60000000" spcFirstLastPara="1" vertOverflow="ellipsis" vert="horz" wrap="square" anchor="ctr" anchorCtr="1"/>
          <a:lstStyle/>
          <a:p>
            <a:pPr>
              <a:defRPr lang="de-DE" sz="1200" b="0" i="0" u="none" strike="noStrike" kern="1200" baseline="0">
                <a:solidFill>
                  <a:srgbClr val="404040"/>
                </a:solidFill>
                <a:latin typeface="+mn-lt"/>
                <a:ea typeface="+mn-lt"/>
                <a:cs typeface="+mn-lt"/>
              </a:defRPr>
            </a:pPr>
            <a:endParaRPr lang="de-DE"/>
          </a:p>
        </c:txPr>
        <c:crossAx val="859033704"/>
        <c:crosses val="autoZero"/>
        <c:auto val="1"/>
        <c:lblAlgn val="ctr"/>
        <c:lblOffset val="100"/>
        <c:noMultiLvlLbl val="0"/>
      </c:catAx>
      <c:valAx>
        <c:axId val="859033704"/>
        <c:scaling>
          <c:orientation val="minMax"/>
          <c:max val="80"/>
          <c:min val="0"/>
        </c:scaling>
        <c:delete val="0"/>
        <c:axPos val="b"/>
        <c:numFmt formatCode=";;;" sourceLinked="0"/>
        <c:majorTickMark val="out"/>
        <c:minorTickMark val="none"/>
        <c:tickLblPos val="none"/>
        <c:spPr>
          <a:noFill/>
          <a:ln w="6350" cap="flat" cmpd="sng" algn="ctr">
            <a:noFill/>
            <a:prstDash val="solid"/>
            <a:round/>
          </a:ln>
          <a:effectLst/>
          <a:extLst>
            <a:ext uri="{91240B29-F687-4F45-9708-019B960494DF}">
              <a14:hiddenLine xmlns:a14="http://schemas.microsoft.com/office/drawing/2010/main" w="6350" cap="flat" cmpd="sng" algn="ctr">
                <a:solidFill>
                  <a:srgbClr val="404040"/>
                </a:solidFill>
                <a:prstDash val="solid"/>
                <a:round/>
              </a14:hiddenLine>
            </a:ext>
          </a:extLst>
        </c:spPr>
        <c:txPr>
          <a:bodyPr rot="-60000000" spcFirstLastPara="1" vertOverflow="ellipsis" vert="horz" wrap="square" anchor="ctr" anchorCtr="1"/>
          <a:lstStyle/>
          <a:p>
            <a:pPr>
              <a:defRPr lang="de-DE" sz="1200" b="0" i="0" u="none" strike="noStrike" kern="1200" baseline="0">
                <a:solidFill>
                  <a:srgbClr val="404040"/>
                </a:solidFill>
                <a:latin typeface="+mn-lt"/>
                <a:ea typeface="+mn-lt"/>
                <a:cs typeface="+mn-lt"/>
              </a:defRPr>
            </a:pPr>
            <a:endParaRPr lang="de-DE"/>
          </a:p>
        </c:txPr>
        <c:crossAx val="859027824"/>
        <c:crosses val="autoZero"/>
        <c:crossBetween val="between"/>
        <c:majorUnit val="10"/>
        <c:dispUnits>
          <c:custUnit val="1"/>
        </c:dispUnits>
      </c:valAx>
      <c:spPr>
        <a:noFill/>
        <a:ln>
          <a:noFill/>
        </a:ln>
        <a:effectLst/>
      </c:spPr>
    </c:plotArea>
    <c:plotVisOnly val="1"/>
    <c:dispBlanksAs val="gap"/>
    <c:showDLblsOverMax val="0"/>
    <c:extLst xmlns:c16="http://schemas.microsoft.com/office/drawing/2014/chart" xmlns:a14="http://schemas.microsoft.com/office/drawing/2010/main"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de-DE" sz="1200" b="0" i="0" u="none" strike="noStrike" kern="1200" baseline="0">
          <a:solidFill>
            <a:schemeClr val="tx1"/>
          </a:solidFill>
          <a:latin typeface="Segoe UI Light" panose="020B0502040204020203" pitchFamily="34" charset="0"/>
          <a:ea typeface="Arial"/>
          <a:cs typeface="Segoe UI Light" panose="020B0502040204020203" pitchFamily="34" charset="0"/>
        </a:defRPr>
      </a:pPr>
      <a:endParaRPr lang="de-DE"/>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0.34859004356566092"/>
          <c:y val="0"/>
          <c:w val="0.65140995643433908"/>
          <c:h val="1"/>
        </c:manualLayout>
      </c:layout>
      <c:barChart>
        <c:barDir val="bar"/>
        <c:grouping val="stacked"/>
        <c:varyColors val="0"/>
        <c:ser>
          <c:idx val="0"/>
          <c:order val="0"/>
          <c:tx>
            <c:v>Series 1</c:v>
          </c:tx>
          <c:spPr>
            <a:solidFill>
              <a:schemeClr val="accent1"/>
            </a:solidFill>
            <a:ln>
              <a:noFill/>
            </a:ln>
            <a:effectLst/>
            <a:extLst>
              <a:ext uri="{91240B29-F687-4F45-9708-019B960494DF}">
                <a14:hiddenLine xmlns:a14="http://schemas.microsoft.com/office/drawing/2010/main">
                  <a:noFill/>
                </a14:hiddenLine>
              </a:ext>
            </a:extLst>
          </c:spPr>
          <c:invertIfNegative val="0"/>
          <c:dPt>
            <c:idx val="0"/>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1-BC0E-4E89-BDAF-973A99A047B9}"/>
              </c:ext>
            </c:extLst>
          </c:dPt>
          <c:dPt>
            <c:idx val="1"/>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2-BC0E-4E89-BDAF-973A99A047B9}"/>
              </c:ext>
            </c:extLst>
          </c:dPt>
          <c:dPt>
            <c:idx val="2"/>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3-BC0E-4E89-BDAF-973A99A047B9}"/>
              </c:ext>
            </c:extLst>
          </c:dPt>
          <c:dPt>
            <c:idx val="3"/>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4-BC0E-4E89-BDAF-973A99A047B9}"/>
              </c:ext>
            </c:extLst>
          </c:dPt>
          <c:dPt>
            <c:idx val="4"/>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5-BC0E-4E89-BDAF-973A99A047B9}"/>
              </c:ext>
            </c:extLst>
          </c:dPt>
          <c:cat>
            <c:strLit>
              <c:ptCount val="3"/>
              <c:pt idx="0">
                <c:v>Keine Angabe</c:v>
              </c:pt>
              <c:pt idx="1">
                <c:v>Teil eines Verbundes</c:v>
              </c:pt>
              <c:pt idx="2">
                <c:v>Stand-Alone</c:v>
              </c:pt>
            </c:strLit>
          </c:cat>
          <c:val>
            <c:numLit>
              <c:formatCode>General</c:formatCode>
              <c:ptCount val="3"/>
              <c:pt idx="0">
                <c:v>10</c:v>
              </c:pt>
              <c:pt idx="1">
                <c:v>60</c:v>
              </c:pt>
              <c:pt idx="2">
                <c:v>30</c:v>
              </c:pt>
            </c:numLit>
          </c:val>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6-BC0E-4E89-BDAF-973A99A047B9}"/>
            </c:ext>
          </c:extLst>
        </c:ser>
        <c:dLbls>
          <c:showLegendKey val="0"/>
          <c:showVal val="0"/>
          <c:showCatName val="0"/>
          <c:showSerName val="0"/>
          <c:showPercent val="0"/>
          <c:showBubbleSize val="0"/>
        </c:dLbls>
        <c:gapWidth val="75"/>
        <c:overlap val="100"/>
        <c:axId val="859027824"/>
        <c:axId val="859033704"/>
      </c:barChart>
      <c:catAx>
        <c:axId val="859027824"/>
        <c:scaling>
          <c:orientation val="minMax"/>
        </c:scaling>
        <c:delete val="0"/>
        <c:axPos val="l"/>
        <c:numFmt formatCode="General" sourceLinked="1"/>
        <c:majorTickMark val="none"/>
        <c:minorTickMark val="none"/>
        <c:tickLblPos val="none"/>
        <c:spPr>
          <a:noFill/>
          <a:ln w="6350" cap="flat" cmpd="sng" algn="ctr">
            <a:solidFill>
              <a:schemeClr val="tx1"/>
            </a:solidFill>
            <a:prstDash val="solid"/>
            <a:round/>
          </a:ln>
          <a:effectLst/>
        </c:spPr>
        <c:txPr>
          <a:bodyPr rot="-60000000" spcFirstLastPara="1" vertOverflow="ellipsis" vert="horz" wrap="square" anchor="ctr" anchorCtr="1"/>
          <a:lstStyle/>
          <a:p>
            <a:pPr>
              <a:defRPr lang="de-DE" sz="1200" b="0" i="0" u="none" strike="noStrike" kern="1200" baseline="0">
                <a:solidFill>
                  <a:srgbClr val="404040"/>
                </a:solidFill>
                <a:latin typeface="+mn-lt"/>
                <a:ea typeface="+mn-lt"/>
                <a:cs typeface="+mn-lt"/>
              </a:defRPr>
            </a:pPr>
            <a:endParaRPr lang="de-DE"/>
          </a:p>
        </c:txPr>
        <c:crossAx val="859033704"/>
        <c:crosses val="autoZero"/>
        <c:auto val="1"/>
        <c:lblAlgn val="ctr"/>
        <c:lblOffset val="100"/>
        <c:noMultiLvlLbl val="0"/>
      </c:catAx>
      <c:valAx>
        <c:axId val="859033704"/>
        <c:scaling>
          <c:orientation val="minMax"/>
          <c:max val="60"/>
          <c:min val="0"/>
        </c:scaling>
        <c:delete val="0"/>
        <c:axPos val="b"/>
        <c:numFmt formatCode=";;;" sourceLinked="0"/>
        <c:majorTickMark val="out"/>
        <c:minorTickMark val="none"/>
        <c:tickLblPos val="none"/>
        <c:spPr>
          <a:noFill/>
          <a:ln w="6350" cap="flat" cmpd="sng" algn="ctr">
            <a:noFill/>
            <a:prstDash val="solid"/>
            <a:round/>
          </a:ln>
          <a:effectLst/>
          <a:extLst>
            <a:ext uri="{91240B29-F687-4F45-9708-019B960494DF}">
              <a14:hiddenLine xmlns:a14="http://schemas.microsoft.com/office/drawing/2010/main" w="6350" cap="flat" cmpd="sng" algn="ctr">
                <a:solidFill>
                  <a:srgbClr val="404040"/>
                </a:solidFill>
                <a:prstDash val="solid"/>
                <a:round/>
              </a14:hiddenLine>
            </a:ext>
          </a:extLst>
        </c:spPr>
        <c:txPr>
          <a:bodyPr rot="-60000000" spcFirstLastPara="1" vertOverflow="ellipsis" vert="horz" wrap="square" anchor="ctr" anchorCtr="1"/>
          <a:lstStyle/>
          <a:p>
            <a:pPr>
              <a:defRPr lang="de-DE" sz="1200" b="0" i="0" u="none" strike="noStrike" kern="1200" baseline="0">
                <a:solidFill>
                  <a:srgbClr val="404040"/>
                </a:solidFill>
                <a:latin typeface="+mn-lt"/>
                <a:ea typeface="+mn-lt"/>
                <a:cs typeface="+mn-lt"/>
              </a:defRPr>
            </a:pPr>
            <a:endParaRPr lang="de-DE"/>
          </a:p>
        </c:txPr>
        <c:crossAx val="859027824"/>
        <c:crosses val="autoZero"/>
        <c:crossBetween val="between"/>
        <c:majorUnit val="5"/>
        <c:dispUnits>
          <c:custUnit val="1"/>
        </c:dispUnits>
      </c:valAx>
      <c:spPr>
        <a:noFill/>
        <a:ln>
          <a:noFill/>
        </a:ln>
        <a:effectLst/>
      </c:spPr>
    </c:plotArea>
    <c:plotVisOnly val="1"/>
    <c:dispBlanksAs val="gap"/>
    <c:showDLblsOverMax val="0"/>
    <c:extLst xmlns:c16="http://schemas.microsoft.com/office/drawing/2014/chart" xmlns:a14="http://schemas.microsoft.com/office/drawing/2010/main"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de-DE" sz="1200" b="0" i="0" u="none" strike="noStrike" kern="1200" baseline="0">
          <a:solidFill>
            <a:schemeClr val="tx1"/>
          </a:solidFill>
          <a:latin typeface="Segoe UI Light" panose="020B0502040204020203" pitchFamily="34" charset="0"/>
          <a:ea typeface="Arial"/>
          <a:cs typeface="Segoe UI Light" panose="020B0502040204020203" pitchFamily="34" charset="0"/>
        </a:defRPr>
      </a:pPr>
      <a:endParaRPr lang="de-DE"/>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xMode val="edge"/>
          <c:yMode val="edge"/>
          <c:x val="0"/>
          <c:y val="0"/>
          <c:w val="0.99999999999999989"/>
          <c:h val="0.78384436781529632"/>
        </c:manualLayout>
      </c:layout>
      <c:barChart>
        <c:barDir val="col"/>
        <c:grouping val="stacked"/>
        <c:varyColors val="0"/>
        <c:ser>
          <c:idx val="0"/>
          <c:order val="0"/>
          <c:tx>
            <c:v>Stack 1</c:v>
          </c:tx>
          <c:spPr>
            <a:solidFill>
              <a:schemeClr val="accent1"/>
            </a:solidFill>
            <a:ln>
              <a:noFill/>
            </a:ln>
            <a:effectLst/>
            <a:extLst>
              <a:ext uri="{91240B29-F687-4F45-9708-019B960494DF}">
                <a14:hiddenLine xmlns:a14="http://schemas.microsoft.com/office/drawing/2010/main" w="12700" cap="flat" cmpd="sng" algn="ctr">
                  <a:solidFill>
                    <a:srgbClr val="123F6E"/>
                  </a:solidFill>
                  <a:prstDash val="solid"/>
                  <a:round/>
                  <a:headEnd type="none" w="med" len="med"/>
                  <a:tailEnd type="none" w="med" len="med"/>
                </a14:hiddenLine>
              </a:ext>
            </a:extLst>
          </c:spPr>
          <c:invertIfNegative val="0"/>
          <c:dPt>
            <c:idx val="0"/>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0-CF65-4434-93E8-FDB2E2E93D92}"/>
              </c:ext>
            </c:extLst>
          </c:dPt>
          <c:dPt>
            <c:idx val="1"/>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1-CF65-4434-93E8-FDB2E2E93D92}"/>
              </c:ext>
            </c:extLst>
          </c:dPt>
          <c:dPt>
            <c:idx val="2"/>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2-CF65-4434-93E8-FDB2E2E93D92}"/>
              </c:ext>
            </c:extLst>
          </c:dPt>
          <c:dPt>
            <c:idx val="3"/>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3-CF65-4434-93E8-FDB2E2E93D92}"/>
              </c:ext>
            </c:extLst>
          </c:dPt>
          <c:dPt>
            <c:idx val="4"/>
            <c:invertIfNegative val="0"/>
            <c:bubble3D val="0"/>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4-CF65-4434-93E8-FDB2E2E93D92}"/>
              </c:ext>
            </c:extLst>
          </c:dPt>
          <c:cat>
            <c:strLit>
              <c:ptCount val="6"/>
              <c:pt idx="0">
                <c:v>Existenzbedrohend</c:v>
              </c:pt>
              <c:pt idx="1">
                <c:v>Reines Bemühen um das wirtschaftliche Überleben</c:v>
              </c:pt>
              <c:pt idx="2">
                <c:v>Wirtschaftliche Spielräume bzw. "atmende Budgets" sind vorhanden</c:v>
              </c:pt>
              <c:pt idx="3">
                <c:v>Angemessene Renditen werden erzielt</c:v>
              </c:pt>
              <c:pt idx="4">
                <c:v>Sonstiges</c:v>
              </c:pt>
              <c:pt idx="5">
                <c:v>Keine Angabe</c:v>
              </c:pt>
            </c:strLit>
          </c:cat>
          <c:val>
            <c:numLit>
              <c:formatCode>General</c:formatCode>
              <c:ptCount val="6"/>
              <c:pt idx="0">
                <c:v>0.06</c:v>
              </c:pt>
              <c:pt idx="1">
                <c:v>0.54</c:v>
              </c:pt>
              <c:pt idx="2">
                <c:v>0.31</c:v>
              </c:pt>
              <c:pt idx="3">
                <c:v>0.06</c:v>
              </c:pt>
              <c:pt idx="4">
                <c:v>0.02</c:v>
              </c:pt>
              <c:pt idx="5">
                <c:v>0.01</c:v>
              </c:pt>
            </c:numLit>
          </c:val>
          <c:extLst xmlns:mc="http://schemas.openxmlformats.org/markup-compatibility/2006" xmlns:c14="http://schemas.microsoft.com/office/drawing/2007/8/2/chart" xmlns:c16="http://schemas.microsoft.com/office/drawing/2014/chart" xmlns:a14="http://schemas.microsoft.com/office/drawing/2010/main">
            <c:ext xmlns:c16="http://schemas.microsoft.com/office/drawing/2014/chart" uri="{C3380CC4-5D6E-409C-BE32-E72D297353CC}">
              <c16:uniqueId val="{00000005-CF65-4434-93E8-FDB2E2E93D92}"/>
            </c:ext>
          </c:extLst>
        </c:ser>
        <c:dLbls>
          <c:showLegendKey val="0"/>
          <c:showVal val="0"/>
          <c:showCatName val="0"/>
          <c:showSerName val="0"/>
          <c:showPercent val="0"/>
          <c:showBubbleSize val="0"/>
        </c:dLbls>
        <c:gapWidth val="75"/>
        <c:overlap val="100"/>
        <c:axId val="383296000"/>
        <c:axId val="284727352"/>
      </c:barChart>
      <c:catAx>
        <c:axId val="383296000"/>
        <c:scaling>
          <c:orientation val="minMax"/>
        </c:scaling>
        <c:delete val="0"/>
        <c:axPos val="b"/>
        <c:numFmt formatCode="General" sourceLinked="1"/>
        <c:majorTickMark val="none"/>
        <c:minorTickMark val="none"/>
        <c:tickLblPos val="none"/>
        <c:spPr>
          <a:noFill/>
          <a:ln w="6350" cap="flat" cmpd="sng" algn="ctr">
            <a:solidFill>
              <a:schemeClr val="tx1"/>
            </a:solidFill>
            <a:prstDash val="solid"/>
            <a:round/>
          </a:ln>
          <a:effectLst/>
        </c:spPr>
        <c:txPr>
          <a:bodyPr rot="-60000000" spcFirstLastPara="1" vertOverflow="ellipsis" vert="horz" wrap="square" anchor="ctr" anchorCtr="1"/>
          <a:lstStyle/>
          <a:p>
            <a:pPr>
              <a:defRPr lang="de-DE" sz="1000" b="0" i="0" u="none" strike="noStrike" kern="1200" baseline="0">
                <a:solidFill>
                  <a:schemeClr val="tx1"/>
                </a:solidFill>
                <a:latin typeface="+mn-lt"/>
                <a:ea typeface="+mn-lt"/>
                <a:cs typeface="+mn-lt"/>
              </a:defRPr>
            </a:pPr>
            <a:endParaRPr lang="de-DE"/>
          </a:p>
        </c:txPr>
        <c:crossAx val="284727352"/>
        <c:crosses val="autoZero"/>
        <c:auto val="1"/>
        <c:lblAlgn val="ctr"/>
        <c:lblOffset val="100"/>
        <c:noMultiLvlLbl val="1"/>
      </c:catAx>
      <c:valAx>
        <c:axId val="284727352"/>
        <c:scaling>
          <c:orientation val="minMax"/>
          <c:max val="0.54999999999999993"/>
          <c:min val="0"/>
        </c:scaling>
        <c:delete val="0"/>
        <c:axPos val="l"/>
        <c:numFmt formatCode=";;;" sourceLinked="0"/>
        <c:majorTickMark val="out"/>
        <c:minorTickMark val="none"/>
        <c:tickLblPos val="none"/>
        <c:spPr>
          <a:noFill/>
          <a:ln w="6350" cap="flat" cmpd="sng" algn="ctr">
            <a:noFill/>
            <a:prstDash val="solid"/>
            <a:round/>
          </a:ln>
          <a:effectLst/>
          <a:extLst>
            <a:ext uri="{91240B29-F687-4F45-9708-019B960494DF}">
              <a14:hiddenLine xmlns:a14="http://schemas.microsoft.com/office/drawing/2010/main" w="9525" cap="flat" cmpd="sng" algn="ctr">
                <a:solidFill>
                  <a:prstClr val="black"/>
                </a:solidFill>
                <a:prstDash val="solid"/>
                <a:round/>
              </a14:hiddenLine>
            </a:ext>
          </a:extLst>
        </c:spPr>
        <c:txPr>
          <a:bodyPr rot="-60000000" spcFirstLastPara="1" vertOverflow="ellipsis" vert="horz" wrap="square" anchor="ctr" anchorCtr="1"/>
          <a:lstStyle/>
          <a:p>
            <a:pPr>
              <a:defRPr lang="de-DE" sz="1000" b="0" i="0" u="none" strike="noStrike" kern="1200" baseline="0">
                <a:solidFill>
                  <a:schemeClr val="tx1"/>
                </a:solidFill>
                <a:latin typeface="+mn-lt"/>
                <a:ea typeface="+mn-lt"/>
                <a:cs typeface="+mn-lt"/>
              </a:defRPr>
            </a:pPr>
            <a:endParaRPr lang="de-DE"/>
          </a:p>
        </c:txPr>
        <c:crossAx val="383296000"/>
        <c:crosses val="autoZero"/>
        <c:crossBetween val="between"/>
        <c:majorUnit val="0.05"/>
        <c:dispUnits>
          <c:custUnit val="1"/>
        </c:dispUnits>
      </c:valAx>
      <c:spPr>
        <a:noFill/>
        <a:ln>
          <a:noFill/>
        </a:ln>
        <a:effectLst/>
      </c:spPr>
    </c:plotArea>
    <c:plotVisOnly val="1"/>
    <c:dispBlanksAs val="gap"/>
    <c:showDLblsOverMax val="0"/>
    <c:extLst xmlns:mc="http://schemas.openxmlformats.org/markup-compatibility/2006" xmlns:c14="http://schemas.microsoft.com/office/drawing/2007/8/2/chart" xmlns:c16="http://schemas.microsoft.com/office/drawing/2014/chart" xmlns:a14="http://schemas.microsoft.com/office/drawing/2010/main">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de-DE" sz="1000" b="0" i="0" u="none" strike="noStrike" kern="1200" baseline="0">
          <a:solidFill>
            <a:schemeClr val="tx1"/>
          </a:solidFill>
          <a:latin typeface="Segoe UI Light" panose="020B0502040204020203" pitchFamily="34" charset="0"/>
          <a:ea typeface="Arial"/>
          <a:cs typeface="Segoe UI Light" panose="020B0502040204020203" pitchFamily="34" charset="0"/>
        </a:defRPr>
      </a:pPr>
      <a:endParaRPr lang="de-DE"/>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xMode val="edge"/>
          <c:yMode val="edge"/>
          <c:x val="0.35840224240762336"/>
          <c:y val="0"/>
          <c:w val="0.64159775759237658"/>
          <c:h val="1"/>
        </c:manualLayout>
      </c:layout>
      <c:barChart>
        <c:barDir val="bar"/>
        <c:grouping val="stacked"/>
        <c:varyColors val="0"/>
        <c:ser>
          <c:idx val="3"/>
          <c:order val="0"/>
          <c:tx>
            <c:v>Häufigkeit nach Teilnehmer</c:v>
          </c:tx>
          <c:spPr>
            <a:solidFill>
              <a:schemeClr val="accent1"/>
            </a:solidFill>
            <a:ln>
              <a:noFill/>
            </a:ln>
            <a:effectLst/>
            <a:extLst>
              <a:ext uri="{91240B29-F687-4F45-9708-019B960494DF}">
                <a14:hiddenLine xmlns:a14="http://schemas.microsoft.com/office/drawing/2010/main">
                  <a:noFill/>
                </a14:hiddenLine>
              </a:ext>
            </a:extLst>
          </c:spPr>
          <c:invertIfNegative val="0"/>
          <c:dPt>
            <c:idx val="0"/>
            <c:invertIfNegative val="0"/>
            <c:bubble3D val="0"/>
            <c:spPr>
              <a:solidFill>
                <a:schemeClr val="accent1"/>
              </a:solidFill>
              <a:ln>
                <a:noFill/>
              </a:ln>
              <a:effectLst/>
              <a:extLst>
                <a:ext uri="{91240B29-F687-4F45-9708-019B960494DF}">
                  <a14:hiddenLine xmlns:a14="http://schemas.microsoft.com/office/drawing/2010/main">
                    <a:noFill/>
                  </a14:hiddenLine>
                </a:ext>
              </a:extLst>
            </c:spPr>
            <c:extLst>
              <c:ext xmlns:c16="http://schemas.microsoft.com/office/drawing/2014/chart" uri="{C3380CC4-5D6E-409C-BE32-E72D297353CC}">
                <c16:uniqueId val="{00000026-FDCE-444E-AEBC-6203D68CA262}"/>
              </c:ext>
            </c:extLst>
          </c:dPt>
          <c:dPt>
            <c:idx val="1"/>
            <c:invertIfNegative val="0"/>
            <c:bubble3D val="0"/>
            <c:spPr>
              <a:solidFill>
                <a:schemeClr val="accent1"/>
              </a:solidFill>
              <a:ln>
                <a:noFill/>
              </a:ln>
              <a:effectLst/>
              <a:extLst>
                <a:ext uri="{91240B29-F687-4F45-9708-019B960494DF}">
                  <a14:hiddenLine xmlns:a14="http://schemas.microsoft.com/office/drawing/2010/main">
                    <a:noFill/>
                  </a14:hiddenLine>
                </a:ext>
              </a:extLst>
            </c:spPr>
            <c:extLst>
              <c:ext xmlns:c16="http://schemas.microsoft.com/office/drawing/2014/chart" uri="{C3380CC4-5D6E-409C-BE32-E72D297353CC}">
                <c16:uniqueId val="{00000027-FDCE-444E-AEBC-6203D68CA262}"/>
              </c:ext>
            </c:extLst>
          </c:dPt>
          <c:dPt>
            <c:idx val="2"/>
            <c:invertIfNegative val="0"/>
            <c:bubble3D val="0"/>
            <c:spPr>
              <a:solidFill>
                <a:schemeClr val="accent1"/>
              </a:solidFill>
              <a:ln>
                <a:noFill/>
              </a:ln>
              <a:effectLst/>
              <a:extLst>
                <a:ext uri="{91240B29-F687-4F45-9708-019B960494DF}">
                  <a14:hiddenLine xmlns:a14="http://schemas.microsoft.com/office/drawing/2010/main">
                    <a:noFill/>
                  </a14:hiddenLine>
                </a:ext>
              </a:extLst>
            </c:spPr>
            <c:extLst>
              <c:ext xmlns:c16="http://schemas.microsoft.com/office/drawing/2014/chart" uri="{C3380CC4-5D6E-409C-BE32-E72D297353CC}">
                <c16:uniqueId val="{00000028-FDCE-444E-AEBC-6203D68CA262}"/>
              </c:ext>
            </c:extLst>
          </c:dPt>
          <c:dPt>
            <c:idx val="3"/>
            <c:invertIfNegative val="0"/>
            <c:bubble3D val="0"/>
            <c:spPr>
              <a:solidFill>
                <a:schemeClr val="accent1"/>
              </a:solidFill>
              <a:ln>
                <a:noFill/>
              </a:ln>
              <a:effectLst/>
              <a:extLst>
                <a:ext uri="{91240B29-F687-4F45-9708-019B960494DF}">
                  <a14:hiddenLine xmlns:a14="http://schemas.microsoft.com/office/drawing/2010/main">
                    <a:noFill/>
                  </a14:hiddenLine>
                </a:ext>
              </a:extLst>
            </c:spPr>
            <c:extLst>
              <c:ext xmlns:c16="http://schemas.microsoft.com/office/drawing/2014/chart" uri="{C3380CC4-5D6E-409C-BE32-E72D297353CC}">
                <c16:uniqueId val="{00000029-FDCE-444E-AEBC-6203D68CA262}"/>
              </c:ext>
            </c:extLst>
          </c:dPt>
          <c:dPt>
            <c:idx val="4"/>
            <c:invertIfNegative val="0"/>
            <c:bubble3D val="0"/>
            <c:spPr>
              <a:solidFill>
                <a:schemeClr val="accent1"/>
              </a:solidFill>
              <a:ln>
                <a:noFill/>
              </a:ln>
              <a:effectLst/>
              <a:extLst>
                <a:ext uri="{91240B29-F687-4F45-9708-019B960494DF}">
                  <a14:hiddenLine xmlns:a14="http://schemas.microsoft.com/office/drawing/2010/main">
                    <a:noFill/>
                  </a14:hiddenLine>
                </a:ext>
              </a:extLst>
            </c:spPr>
            <c:extLst>
              <c:ext xmlns:c16="http://schemas.microsoft.com/office/drawing/2014/chart" uri="{C3380CC4-5D6E-409C-BE32-E72D297353CC}">
                <c16:uniqueId val="{0000002A-FDCE-444E-AEBC-6203D68CA262}"/>
              </c:ext>
            </c:extLst>
          </c:dPt>
          <c:dPt>
            <c:idx val="5"/>
            <c:invertIfNegative val="0"/>
            <c:bubble3D val="0"/>
            <c:spPr>
              <a:solidFill>
                <a:schemeClr val="accent1"/>
              </a:solidFill>
              <a:ln>
                <a:noFill/>
              </a:ln>
              <a:effectLst/>
              <a:extLst>
                <a:ext uri="{91240B29-F687-4F45-9708-019B960494DF}">
                  <a14:hiddenLine xmlns:a14="http://schemas.microsoft.com/office/drawing/2010/main">
                    <a:noFill/>
                  </a14:hiddenLine>
                </a:ext>
              </a:extLst>
            </c:spPr>
            <c:extLst>
              <c:ext xmlns:c16="http://schemas.microsoft.com/office/drawing/2014/chart" uri="{C3380CC4-5D6E-409C-BE32-E72D297353CC}">
                <c16:uniqueId val="{0000002B-FDCE-444E-AEBC-6203D68CA262}"/>
              </c:ext>
            </c:extLst>
          </c:dPt>
          <c:dPt>
            <c:idx val="6"/>
            <c:invertIfNegative val="0"/>
            <c:bubble3D val="0"/>
            <c:spPr>
              <a:solidFill>
                <a:schemeClr val="accent1"/>
              </a:solidFill>
              <a:ln>
                <a:noFill/>
              </a:ln>
              <a:effectLst/>
              <a:extLst>
                <a:ext uri="{91240B29-F687-4F45-9708-019B960494DF}">
                  <a14:hiddenLine xmlns:a14="http://schemas.microsoft.com/office/drawing/2010/main">
                    <a:noFill/>
                  </a14:hiddenLine>
                </a:ext>
              </a:extLst>
            </c:spPr>
            <c:extLst>
              <c:ext xmlns:c16="http://schemas.microsoft.com/office/drawing/2014/chart" uri="{C3380CC4-5D6E-409C-BE32-E72D297353CC}">
                <c16:uniqueId val="{0000002C-FDCE-444E-AEBC-6203D68CA262}"/>
              </c:ext>
            </c:extLst>
          </c:dPt>
          <c:dPt>
            <c:idx val="7"/>
            <c:invertIfNegative val="0"/>
            <c:bubble3D val="0"/>
            <c:spPr>
              <a:solidFill>
                <a:schemeClr val="accent1"/>
              </a:solidFill>
              <a:ln>
                <a:noFill/>
              </a:ln>
              <a:effectLst/>
              <a:extLst>
                <a:ext uri="{91240B29-F687-4F45-9708-019B960494DF}">
                  <a14:hiddenLine xmlns:a14="http://schemas.microsoft.com/office/drawing/2010/main">
                    <a:noFill/>
                  </a14:hiddenLine>
                </a:ext>
              </a:extLst>
            </c:spPr>
            <c:extLst>
              <c:ext xmlns:c16="http://schemas.microsoft.com/office/drawing/2014/chart" uri="{C3380CC4-5D6E-409C-BE32-E72D297353CC}">
                <c16:uniqueId val="{0000002D-FDCE-444E-AEBC-6203D68CA262}"/>
              </c:ext>
            </c:extLst>
          </c:dPt>
          <c:dPt>
            <c:idx val="8"/>
            <c:invertIfNegative val="0"/>
            <c:bubble3D val="0"/>
            <c:spPr>
              <a:solidFill>
                <a:schemeClr val="accent1"/>
              </a:solidFill>
              <a:ln>
                <a:noFill/>
              </a:ln>
              <a:effectLst/>
              <a:extLst>
                <a:ext uri="{91240B29-F687-4F45-9708-019B960494DF}">
                  <a14:hiddenLine xmlns:a14="http://schemas.microsoft.com/office/drawing/2010/main">
                    <a:noFill/>
                  </a14:hiddenLine>
                </a:ext>
              </a:extLst>
            </c:spPr>
            <c:extLst>
              <c:ext xmlns:c16="http://schemas.microsoft.com/office/drawing/2014/chart" uri="{C3380CC4-5D6E-409C-BE32-E72D297353CC}">
                <c16:uniqueId val="{0000002E-FDCE-444E-AEBC-6203D68CA262}"/>
              </c:ext>
            </c:extLst>
          </c:dPt>
          <c:dPt>
            <c:idx val="9"/>
            <c:invertIfNegative val="0"/>
            <c:bubble3D val="0"/>
            <c:spPr>
              <a:solidFill>
                <a:schemeClr val="accent1"/>
              </a:solidFill>
              <a:ln>
                <a:noFill/>
              </a:ln>
              <a:effectLst/>
              <a:extLst>
                <a:ext uri="{91240B29-F687-4F45-9708-019B960494DF}">
                  <a14:hiddenLine xmlns:a14="http://schemas.microsoft.com/office/drawing/2010/main">
                    <a:noFill/>
                  </a14:hiddenLine>
                </a:ext>
              </a:extLst>
            </c:spPr>
            <c:extLst>
              <c:ext xmlns:c16="http://schemas.microsoft.com/office/drawing/2014/chart" uri="{C3380CC4-5D6E-409C-BE32-E72D297353CC}">
                <c16:uniqueId val="{0000002F-FDCE-444E-AEBC-6203D68CA262}"/>
              </c:ext>
            </c:extLst>
          </c:dPt>
          <c:dPt>
            <c:idx val="10"/>
            <c:invertIfNegative val="0"/>
            <c:bubble3D val="0"/>
            <c:spPr>
              <a:solidFill>
                <a:schemeClr val="accent1"/>
              </a:solidFill>
              <a:ln>
                <a:noFill/>
              </a:ln>
              <a:effectLst/>
              <a:extLst>
                <a:ext uri="{91240B29-F687-4F45-9708-019B960494DF}">
                  <a14:hiddenLine xmlns:a14="http://schemas.microsoft.com/office/drawing/2010/main">
                    <a:noFill/>
                  </a14:hiddenLine>
                </a:ext>
              </a:extLst>
            </c:spPr>
            <c:extLst>
              <c:ext xmlns:c16="http://schemas.microsoft.com/office/drawing/2014/chart" uri="{C3380CC4-5D6E-409C-BE32-E72D297353CC}">
                <c16:uniqueId val="{00000030-FDCE-444E-AEBC-6203D68CA262}"/>
              </c:ext>
            </c:extLst>
          </c:dPt>
          <c:cat>
            <c:strLit>
              <c:ptCount val="10"/>
              <c:pt idx="0">
                <c:v>Datenverfügbarkeit</c:v>
              </c:pt>
              <c:pt idx="1">
                <c:v>Anderes</c:v>
              </c:pt>
              <c:pt idx="2">
                <c:v>Nachhaltigkeit</c:v>
              </c:pt>
              <c:pt idx="3">
                <c:v>Strategische Ausrichtung</c:v>
              </c:pt>
              <c:pt idx="4">
                <c:v>Effizienz interner Prozesse</c:v>
              </c:pt>
              <c:pt idx="5">
                <c:v>Weiterentwicklung der Kompetenzen
 von Mitarbeiter:innen</c:v>
              </c:pt>
              <c:pt idx="6">
                <c:v>Regulatorische Anforderungen</c:v>
              </c:pt>
              <c:pt idx="7">
                <c:v>Finanzielle Ressourcen</c:v>
              </c:pt>
              <c:pt idx="8">
                <c:v>Digitalisierung</c:v>
              </c:pt>
              <c:pt idx="9">
                <c:v>Gewinnung von Personal</c:v>
              </c:pt>
            </c:strLit>
          </c:cat>
          <c:val>
            <c:numLit>
              <c:formatCode>General</c:formatCode>
              <c:ptCount val="10"/>
              <c:pt idx="0">
                <c:v>7.5697211155378502E-2</c:v>
              </c:pt>
              <c:pt idx="1">
                <c:v>9.1633466135458197E-2</c:v>
              </c:pt>
              <c:pt idx="2">
                <c:v>0.147410358565737</c:v>
              </c:pt>
              <c:pt idx="3">
                <c:v>0.20717131474103601</c:v>
              </c:pt>
              <c:pt idx="4">
                <c:v>0.34262948207171301</c:v>
              </c:pt>
              <c:pt idx="5">
                <c:v>0.44621513944223101</c:v>
              </c:pt>
              <c:pt idx="6">
                <c:v>0.49800796812748999</c:v>
              </c:pt>
              <c:pt idx="7">
                <c:v>0.51792828685258996</c:v>
              </c:pt>
              <c:pt idx="8">
                <c:v>0.51792828685258996</c:v>
              </c:pt>
              <c:pt idx="9">
                <c:v>0.83665338645418297</c:v>
              </c:pt>
            </c:numLit>
          </c:val>
          <c:extLst>
            <c:ext xmlns:c16="http://schemas.microsoft.com/office/drawing/2014/chart" uri="{C3380CC4-5D6E-409C-BE32-E72D297353CC}">
              <c16:uniqueId val="{00000008-FDCE-444E-AEBC-6203D68CA262}"/>
            </c:ext>
          </c:extLst>
        </c:ser>
        <c:dLbls>
          <c:showLegendKey val="0"/>
          <c:showVal val="0"/>
          <c:showCatName val="0"/>
          <c:showSerName val="0"/>
          <c:showPercent val="0"/>
          <c:showBubbleSize val="0"/>
        </c:dLbls>
        <c:gapWidth val="75"/>
        <c:overlap val="100"/>
        <c:axId val="859027824"/>
        <c:axId val="859033704"/>
        <c:extLst/>
      </c:barChart>
      <c:catAx>
        <c:axId val="859027824"/>
        <c:scaling>
          <c:orientation val="minMax"/>
        </c:scaling>
        <c:delete val="0"/>
        <c:axPos val="l"/>
        <c:numFmt formatCode="General" sourceLinked="1"/>
        <c:majorTickMark val="none"/>
        <c:minorTickMark val="none"/>
        <c:tickLblPos val="none"/>
        <c:spPr>
          <a:noFill/>
          <a:ln w="6350" cap="flat" cmpd="sng" algn="ctr">
            <a:solidFill>
              <a:schemeClr val="tx1"/>
            </a:solidFill>
            <a:prstDash val="solid"/>
            <a:round/>
          </a:ln>
          <a:effectLst/>
        </c:spPr>
        <c:txPr>
          <a:bodyPr rot="-60000000" spcFirstLastPara="1" vertOverflow="ellipsis" vert="horz" wrap="square" anchor="ctr" anchorCtr="1"/>
          <a:lstStyle/>
          <a:p>
            <a:pPr>
              <a:defRPr lang="de-DE" sz="1100" b="0" i="0" u="none" strike="noStrike" kern="1200" baseline="0">
                <a:solidFill>
                  <a:schemeClr val="tx1"/>
                </a:solidFill>
                <a:latin typeface="+mn-lt"/>
                <a:ea typeface="+mn-lt"/>
                <a:cs typeface="+mn-lt"/>
              </a:defRPr>
            </a:pPr>
            <a:endParaRPr lang="de-DE"/>
          </a:p>
        </c:txPr>
        <c:crossAx val="859033704"/>
        <c:crosses val="autoZero"/>
        <c:auto val="1"/>
        <c:lblAlgn val="ctr"/>
        <c:lblOffset val="100"/>
        <c:noMultiLvlLbl val="0"/>
      </c:catAx>
      <c:valAx>
        <c:axId val="859033704"/>
        <c:scaling>
          <c:orientation val="minMax"/>
          <c:max val="0.89999999999999991"/>
          <c:min val="0"/>
        </c:scaling>
        <c:delete val="0"/>
        <c:axPos val="b"/>
        <c:numFmt formatCode=";;;" sourceLinked="0"/>
        <c:majorTickMark val="out"/>
        <c:minorTickMark val="none"/>
        <c:tickLblPos val="none"/>
        <c:spPr>
          <a:noFill/>
          <a:ln w="6350" cap="flat" cmpd="sng" algn="ctr">
            <a:noFill/>
            <a:prstDash val="solid"/>
            <a:round/>
          </a:ln>
          <a:effectLst/>
          <a:extLst>
            <a:ext uri="{91240B29-F687-4F45-9708-019B960494DF}">
              <a14:hiddenLine xmlns:a14="http://schemas.microsoft.com/office/drawing/2010/main" w="6350" cap="flat" cmpd="sng" algn="ctr">
                <a:solidFill>
                  <a:srgbClr val="000000"/>
                </a:solidFill>
                <a:prstDash val="solid"/>
                <a:round/>
              </a14:hiddenLine>
            </a:ext>
          </a:extLst>
        </c:spPr>
        <c:txPr>
          <a:bodyPr rot="-60000000" spcFirstLastPara="1" vertOverflow="ellipsis" vert="horz" wrap="square" anchor="ctr" anchorCtr="1"/>
          <a:lstStyle/>
          <a:p>
            <a:pPr>
              <a:defRPr lang="de-DE" sz="1100" b="0" i="0" u="none" strike="noStrike" kern="1200" baseline="0">
                <a:solidFill>
                  <a:schemeClr val="tx1"/>
                </a:solidFill>
                <a:latin typeface="+mn-lt"/>
                <a:ea typeface="+mn-lt"/>
                <a:cs typeface="+mn-lt"/>
              </a:defRPr>
            </a:pPr>
            <a:endParaRPr lang="de-DE"/>
          </a:p>
        </c:txPr>
        <c:crossAx val="859027824"/>
        <c:crosses val="autoZero"/>
        <c:crossBetween val="between"/>
        <c:majorUnit val="0.1"/>
        <c:dispUnits>
          <c:custUnit val="1"/>
        </c:dispUnits>
      </c:valAx>
      <c:spPr>
        <a:noFill/>
        <a:ln>
          <a:noFill/>
        </a:ln>
        <a:effectLst/>
      </c:spPr>
    </c:plotArea>
    <c:plotVisOnly val="1"/>
    <c:dispBlanksAs val="gap"/>
    <c:showDLblsOverMax val="0"/>
    <c:extLst xmlns:c16="http://schemas.microsoft.com/office/drawing/2014/chart" xmlns:a14="http://schemas.microsoft.com/office/drawing/2010/main"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de-DE" sz="1200" b="0" i="0" u="none" strike="noStrike" kern="1200" baseline="0">
          <a:solidFill>
            <a:schemeClr val="tx1"/>
          </a:solidFill>
          <a:latin typeface="Segoe UI Light" panose="020B0502040204020203" pitchFamily="34" charset="0"/>
          <a:ea typeface="Arial"/>
          <a:cs typeface="Segoe UI Light" panose="020B0502040204020203" pitchFamily="34" charset="0"/>
        </a:defRPr>
      </a:pPr>
      <a:endParaRPr lang="de-DE"/>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xMode val="edge"/>
          <c:yMode val="edge"/>
          <c:x val="0"/>
          <c:y val="0"/>
          <c:w val="1"/>
          <c:h val="0.8405675542108384"/>
        </c:manualLayout>
      </c:layout>
      <c:barChart>
        <c:barDir val="col"/>
        <c:grouping val="clustered"/>
        <c:varyColors val="0"/>
        <c:ser>
          <c:idx val="0"/>
          <c:order val="0"/>
          <c:tx>
            <c:v>Erwartungen 2023</c:v>
          </c:tx>
          <c:spPr>
            <a:solidFill>
              <a:schemeClr val="accent3"/>
            </a:solidFill>
            <a:ln>
              <a:noFill/>
            </a:ln>
            <a:effectLst/>
            <a:extLst>
              <a:ext uri="{91240B29-F687-4F45-9708-019B960494DF}">
                <a14:hiddenLine xmlns:a14="http://schemas.microsoft.com/office/drawing/2010/main" w="12700" cap="flat" cmpd="sng" algn="ctr">
                  <a:solidFill>
                    <a:srgbClr val="123F6E"/>
                  </a:solidFill>
                  <a:prstDash val="solid"/>
                  <a:round/>
                  <a:headEnd type="none" w="med" len="med"/>
                  <a:tailEnd type="none" w="med" len="med"/>
                </a14:hiddenLine>
              </a:ext>
            </a:extLst>
          </c:spPr>
          <c:invertIfNegative val="0"/>
          <c:dPt>
            <c:idx val="0"/>
            <c:invertIfNegative val="0"/>
            <c:bubble3D val="0"/>
            <c:spPr>
              <a:solidFill>
                <a:schemeClr val="accent3"/>
              </a:solidFill>
              <a:ln>
                <a:noFill/>
              </a:ln>
              <a:effectLst/>
              <a:extLst>
                <a:ext uri="{91240B29-F687-4F45-9708-019B960494DF}">
                  <a14:hiddenLine xmlns:a14="http://schemas.microsoft.com/office/drawing/2010/main" w="12700" cap="flat" cmpd="sng" algn="ctr">
                    <a:solidFill>
                      <a:srgbClr val="123F6E"/>
                    </a:solidFill>
                    <a:prstDash val="solid"/>
                    <a:round/>
                    <a:headEnd type="none" w="med" len="med"/>
                    <a:tailEnd type="none" w="med" len="med"/>
                  </a14:hiddenLine>
                </a:ext>
              </a:extLst>
            </c:spPr>
            <c:extLst>
              <c:ext xmlns:c16="http://schemas.microsoft.com/office/drawing/2014/chart" uri="{C3380CC4-5D6E-409C-BE32-E72D297353CC}">
                <c16:uniqueId val="{00000000-0AD6-489F-9071-6C253E92C7EB}"/>
              </c:ext>
            </c:extLst>
          </c:dPt>
          <c:dPt>
            <c:idx val="1"/>
            <c:invertIfNegative val="0"/>
            <c:bubble3D val="0"/>
            <c:spPr>
              <a:solidFill>
                <a:schemeClr val="accent3"/>
              </a:solidFill>
              <a:ln>
                <a:noFill/>
              </a:ln>
              <a:effectLst/>
              <a:extLst>
                <a:ext uri="{91240B29-F687-4F45-9708-019B960494DF}">
                  <a14:hiddenLine xmlns:a14="http://schemas.microsoft.com/office/drawing/2010/main" w="12700" cap="flat" cmpd="sng" algn="ctr">
                    <a:solidFill>
                      <a:srgbClr val="123F6E"/>
                    </a:solidFill>
                    <a:prstDash val="solid"/>
                    <a:round/>
                    <a:headEnd type="none" w="med" len="med"/>
                    <a:tailEnd type="none" w="med" len="med"/>
                  </a14:hiddenLine>
                </a:ext>
              </a:extLst>
            </c:spPr>
            <c:extLst>
              <c:ext xmlns:c16="http://schemas.microsoft.com/office/drawing/2014/chart" uri="{C3380CC4-5D6E-409C-BE32-E72D297353CC}">
                <c16:uniqueId val="{00000001-0AD6-489F-9071-6C253E92C7EB}"/>
              </c:ext>
            </c:extLst>
          </c:dPt>
          <c:dPt>
            <c:idx val="2"/>
            <c:invertIfNegative val="0"/>
            <c:bubble3D val="0"/>
            <c:spPr>
              <a:solidFill>
                <a:schemeClr val="accent3"/>
              </a:solidFill>
              <a:ln>
                <a:noFill/>
              </a:ln>
              <a:effectLst/>
              <a:extLst>
                <a:ext uri="{91240B29-F687-4F45-9708-019B960494DF}">
                  <a14:hiddenLine xmlns:a14="http://schemas.microsoft.com/office/drawing/2010/main" w="12700" cap="flat" cmpd="sng" algn="ctr">
                    <a:solidFill>
                      <a:srgbClr val="123F6E"/>
                    </a:solidFill>
                    <a:prstDash val="solid"/>
                    <a:round/>
                    <a:headEnd type="none" w="med" len="med"/>
                    <a:tailEnd type="none" w="med" len="med"/>
                  </a14:hiddenLine>
                </a:ext>
              </a:extLst>
            </c:spPr>
            <c:extLst>
              <c:ext xmlns:c16="http://schemas.microsoft.com/office/drawing/2014/chart" uri="{C3380CC4-5D6E-409C-BE32-E72D297353CC}">
                <c16:uniqueId val="{00000002-0AD6-489F-9071-6C253E92C7EB}"/>
              </c:ext>
            </c:extLst>
          </c:dPt>
          <c:dPt>
            <c:idx val="3"/>
            <c:invertIfNegative val="0"/>
            <c:bubble3D val="0"/>
            <c:extLst>
              <c:ext xmlns:c16="http://schemas.microsoft.com/office/drawing/2014/chart" uri="{C3380CC4-5D6E-409C-BE32-E72D297353CC}">
                <c16:uniqueId val="{00000003-0AD6-489F-9071-6C253E92C7EB}"/>
              </c:ext>
            </c:extLst>
          </c:dPt>
          <c:dPt>
            <c:idx val="4"/>
            <c:invertIfNegative val="0"/>
            <c:bubble3D val="0"/>
            <c:extLst>
              <c:ext xmlns:c16="http://schemas.microsoft.com/office/drawing/2014/chart" uri="{C3380CC4-5D6E-409C-BE32-E72D297353CC}">
                <c16:uniqueId val="{00000004-0AD6-489F-9071-6C253E92C7EB}"/>
              </c:ext>
            </c:extLst>
          </c:dPt>
          <c:cat>
            <c:strLit>
              <c:ptCount val="3"/>
              <c:pt idx="0">
                <c:v>Ja</c:v>
              </c:pt>
              <c:pt idx="1">
                <c:v>Nein</c:v>
              </c:pt>
              <c:pt idx="2">
                <c:v>Keine Angabe</c:v>
              </c:pt>
            </c:strLit>
          </c:cat>
          <c:val>
            <c:numLit>
              <c:formatCode>General</c:formatCode>
              <c:ptCount val="3"/>
              <c:pt idx="0">
                <c:v>0.1</c:v>
              </c:pt>
              <c:pt idx="1">
                <c:v>0.74</c:v>
              </c:pt>
              <c:pt idx="2">
                <c:v>0.16</c:v>
              </c:pt>
            </c:numLit>
          </c:val>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AD6-489F-9071-6C253E92C7EB}"/>
            </c:ext>
          </c:extLst>
        </c:ser>
        <c:ser>
          <c:idx val="1"/>
          <c:order val="1"/>
          <c:tx>
            <c:v>Angaben 2025</c:v>
          </c:tx>
          <c:spPr>
            <a:solidFill>
              <a:schemeClr val="accent1"/>
            </a:solidFill>
            <a:ln>
              <a:noFill/>
            </a:ln>
            <a:effectLst/>
            <a:extLst>
              <a:ext uri="{91240B29-F687-4F45-9708-019B960494DF}">
                <a14:hiddenLine xmlns:a14="http://schemas.microsoft.com/office/drawing/2010/main" w="12700" cap="flat" cmpd="sng" algn="ctr">
                  <a:solidFill>
                    <a:srgbClr val="859BB3"/>
                  </a:solidFill>
                  <a:prstDash val="solid"/>
                  <a:round/>
                  <a:headEnd type="none" w="med" len="med"/>
                  <a:tailEnd type="none" w="med" len="med"/>
                </a14:hiddenLine>
              </a:ext>
            </a:extLst>
          </c:spPr>
          <c:invertIfNegative val="0"/>
          <c:dPt>
            <c:idx val="0"/>
            <c:invertIfNegative val="0"/>
            <c:bubble3D val="0"/>
            <c:spPr>
              <a:solidFill>
                <a:schemeClr val="accent1"/>
              </a:solidFill>
              <a:ln>
                <a:noFill/>
              </a:ln>
              <a:effectLst/>
              <a:extLst>
                <a:ext uri="{91240B29-F687-4F45-9708-019B960494DF}">
                  <a14:hiddenLine xmlns:a14="http://schemas.microsoft.com/office/drawing/2010/main" w="12700" cap="flat" cmpd="sng" algn="ctr">
                    <a:solidFill>
                      <a:srgbClr val="859BB3"/>
                    </a:solidFill>
                    <a:prstDash val="solid"/>
                    <a:round/>
                    <a:headEnd type="none" w="med" len="med"/>
                    <a:tailEnd type="none" w="med" len="med"/>
                  </a14:hiddenLine>
                </a:ext>
              </a:extLst>
            </c:spPr>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6-0AD6-489F-9071-6C253E92C7EB}"/>
              </c:ext>
            </c:extLst>
          </c:dPt>
          <c:dPt>
            <c:idx val="1"/>
            <c:invertIfNegative val="0"/>
            <c:bubble3D val="0"/>
            <c:spPr>
              <a:solidFill>
                <a:schemeClr val="accent1"/>
              </a:solidFill>
              <a:ln>
                <a:noFill/>
              </a:ln>
              <a:effectLst/>
              <a:extLst>
                <a:ext uri="{91240B29-F687-4F45-9708-019B960494DF}">
                  <a14:hiddenLine xmlns:a14="http://schemas.microsoft.com/office/drawing/2010/main" w="12700" cap="flat" cmpd="sng" algn="ctr">
                    <a:solidFill>
                      <a:srgbClr val="859BB3"/>
                    </a:solidFill>
                    <a:prstDash val="solid"/>
                    <a:round/>
                    <a:headEnd type="none" w="med" len="med"/>
                    <a:tailEnd type="none" w="med" len="med"/>
                  </a14:hiddenLine>
                </a:ext>
              </a:extLst>
            </c:spPr>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0AD6-489F-9071-6C253E92C7EB}"/>
              </c:ext>
            </c:extLst>
          </c:dPt>
          <c:dPt>
            <c:idx val="2"/>
            <c:invertIfNegative val="0"/>
            <c:bubble3D val="0"/>
            <c:spPr>
              <a:solidFill>
                <a:schemeClr val="accent1"/>
              </a:solidFill>
              <a:ln>
                <a:noFill/>
              </a:ln>
              <a:effectLst/>
              <a:extLst>
                <a:ext uri="{91240B29-F687-4F45-9708-019B960494DF}">
                  <a14:hiddenLine xmlns:a14="http://schemas.microsoft.com/office/drawing/2010/main" w="12700" cap="flat" cmpd="sng" algn="ctr">
                    <a:solidFill>
                      <a:srgbClr val="859BB3"/>
                    </a:solidFill>
                    <a:prstDash val="solid"/>
                    <a:round/>
                    <a:headEnd type="none" w="med" len="med"/>
                    <a:tailEnd type="none" w="med" len="med"/>
                  </a14:hiddenLine>
                </a:ext>
              </a:extLst>
            </c:spPr>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0AD6-489F-9071-6C253E92C7EB}"/>
              </c:ext>
            </c:extLst>
          </c:dPt>
          <c:dPt>
            <c:idx val="3"/>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0AD6-489F-9071-6C253E92C7EB}"/>
              </c:ext>
            </c:extLst>
          </c:dPt>
          <c:dPt>
            <c:idx val="4"/>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0AD6-489F-9071-6C253E92C7EB}"/>
              </c:ext>
            </c:extLst>
          </c:dPt>
          <c:dPt>
            <c:idx val="5"/>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AD6-489F-9071-6C253E92C7EB}"/>
              </c:ext>
            </c:extLst>
          </c:dPt>
          <c:dPt>
            <c:idx val="6"/>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AD6-489F-9071-6C253E92C7EB}"/>
              </c:ext>
            </c:extLst>
          </c:dPt>
          <c:dPt>
            <c:idx val="7"/>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D-0AD6-489F-9071-6C253E92C7EB}"/>
              </c:ext>
            </c:extLst>
          </c:dPt>
          <c:dPt>
            <c:idx val="8"/>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E-0AD6-489F-9071-6C253E92C7EB}"/>
              </c:ext>
            </c:extLst>
          </c:dPt>
          <c:dPt>
            <c:idx val="9"/>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F-0AD6-489F-9071-6C253E92C7EB}"/>
              </c:ext>
            </c:extLst>
          </c:dPt>
          <c:dPt>
            <c:idx val="10"/>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0-0AD6-489F-9071-6C253E92C7EB}"/>
              </c:ext>
            </c:extLst>
          </c:dPt>
          <c:dPt>
            <c:idx val="11"/>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1-0AD6-489F-9071-6C253E92C7EB}"/>
              </c:ext>
            </c:extLst>
          </c:dPt>
          <c:dPt>
            <c:idx val="12"/>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2-0AD6-489F-9071-6C253E92C7EB}"/>
              </c:ext>
            </c:extLst>
          </c:dPt>
          <c:dPt>
            <c:idx val="13"/>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3-0AD6-489F-9071-6C253E92C7EB}"/>
              </c:ext>
            </c:extLst>
          </c:dPt>
          <c:dPt>
            <c:idx val="14"/>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4-0AD6-489F-9071-6C253E92C7EB}"/>
              </c:ext>
            </c:extLst>
          </c:dPt>
          <c:dPt>
            <c:idx val="15"/>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5-0AD6-489F-9071-6C253E92C7EB}"/>
              </c:ext>
            </c:extLst>
          </c:dPt>
          <c:dPt>
            <c:idx val="16"/>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6-0AD6-489F-9071-6C253E92C7EB}"/>
              </c:ext>
            </c:extLst>
          </c:dPt>
          <c:cat>
            <c:strLit>
              <c:ptCount val="3"/>
              <c:pt idx="0">
                <c:v>Ja</c:v>
              </c:pt>
              <c:pt idx="1">
                <c:v>Nein</c:v>
              </c:pt>
              <c:pt idx="2">
                <c:v>Keine Angabe</c:v>
              </c:pt>
            </c:strLit>
          </c:cat>
          <c:val>
            <c:numLit>
              <c:formatCode>General</c:formatCode>
              <c:ptCount val="3"/>
              <c:pt idx="0">
                <c:v>0.24</c:v>
              </c:pt>
              <c:pt idx="1">
                <c:v>0.5</c:v>
              </c:pt>
              <c:pt idx="2">
                <c:v>0.26</c:v>
              </c:pt>
            </c:numLit>
          </c:val>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7-0AD6-489F-9071-6C253E92C7EB}"/>
            </c:ext>
          </c:extLst>
        </c:ser>
        <c:dLbls>
          <c:showLegendKey val="0"/>
          <c:showVal val="0"/>
          <c:showCatName val="0"/>
          <c:showSerName val="0"/>
          <c:showPercent val="0"/>
          <c:showBubbleSize val="0"/>
        </c:dLbls>
        <c:gapWidth val="75"/>
        <c:axId val="859025864"/>
        <c:axId val="859037624"/>
      </c:barChart>
      <c:catAx>
        <c:axId val="859025864"/>
        <c:scaling>
          <c:orientation val="minMax"/>
        </c:scaling>
        <c:delete val="0"/>
        <c:axPos val="b"/>
        <c:numFmt formatCode="General" sourceLinked="1"/>
        <c:majorTickMark val="none"/>
        <c:minorTickMark val="none"/>
        <c:tickLblPos val="none"/>
        <c:spPr>
          <a:noFill/>
          <a:ln w="6350" cap="flat" cmpd="sng" algn="ctr">
            <a:solidFill>
              <a:schemeClr val="tx1"/>
            </a:solidFill>
            <a:prstDash val="solid"/>
            <a:round/>
          </a:ln>
          <a:effectLst/>
        </c:spPr>
        <c:txPr>
          <a:bodyPr rot="-60000000" spcFirstLastPara="1" vertOverflow="ellipsis" vert="horz" wrap="square" anchor="ctr" anchorCtr="1"/>
          <a:lstStyle/>
          <a:p>
            <a:pPr>
              <a:defRPr lang="de-DE" sz="1000" b="0" i="0" u="none" strike="noStrike" kern="1200" baseline="0">
                <a:solidFill>
                  <a:schemeClr val="tx1"/>
                </a:solidFill>
                <a:latin typeface="+mn-lt"/>
                <a:ea typeface="+mn-lt"/>
                <a:cs typeface="+mn-lt"/>
              </a:defRPr>
            </a:pPr>
            <a:endParaRPr lang="de-DE"/>
          </a:p>
        </c:txPr>
        <c:crossAx val="859037624"/>
        <c:crosses val="autoZero"/>
        <c:auto val="1"/>
        <c:lblAlgn val="ctr"/>
        <c:lblOffset val="100"/>
        <c:noMultiLvlLbl val="1"/>
      </c:catAx>
      <c:valAx>
        <c:axId val="859037624"/>
        <c:scaling>
          <c:orientation val="minMax"/>
          <c:max val="0.79999999999999993"/>
          <c:min val="0"/>
        </c:scaling>
        <c:delete val="0"/>
        <c:axPos val="l"/>
        <c:numFmt formatCode=";;;" sourceLinked="0"/>
        <c:majorTickMark val="out"/>
        <c:minorTickMark val="none"/>
        <c:tickLblPos val="none"/>
        <c:spPr>
          <a:noFill/>
          <a:ln w="6350" cap="flat" cmpd="sng" algn="ctr">
            <a:noFill/>
            <a:prstDash val="solid"/>
            <a:round/>
          </a:ln>
          <a:effectLst/>
          <a:extLst>
            <a:ext uri="{91240B29-F687-4F45-9708-019B960494DF}">
              <a14:hiddenLine xmlns:a14="http://schemas.microsoft.com/office/drawing/2010/main" w="6350" cap="flat" cmpd="sng" algn="ctr">
                <a:solidFill>
                  <a:srgbClr val="000000"/>
                </a:solidFill>
                <a:prstDash val="solid"/>
                <a:round/>
              </a14:hiddenLine>
            </a:ext>
          </a:extLst>
        </c:spPr>
        <c:txPr>
          <a:bodyPr rot="-60000000" spcFirstLastPara="1" vertOverflow="ellipsis" vert="horz" wrap="square" anchor="ctr" anchorCtr="1"/>
          <a:lstStyle/>
          <a:p>
            <a:pPr>
              <a:defRPr lang="de-DE" sz="1200" b="0" i="0" u="none" strike="noStrike" kern="1200" baseline="0">
                <a:solidFill>
                  <a:schemeClr val="tx1"/>
                </a:solidFill>
                <a:latin typeface="+mn-lt"/>
                <a:ea typeface="+mn-lt"/>
                <a:cs typeface="+mn-lt"/>
              </a:defRPr>
            </a:pPr>
            <a:endParaRPr lang="de-DE"/>
          </a:p>
        </c:txPr>
        <c:crossAx val="859025864"/>
        <c:crosses val="autoZero"/>
        <c:crossBetween val="between"/>
        <c:majorUnit val="0.1"/>
        <c:dispUnits>
          <c:custUnit val="1"/>
        </c:dispUnits>
      </c:valAx>
      <c:spPr>
        <a:noFill/>
        <a:ln>
          <a:noFill/>
        </a:ln>
        <a:effectLst/>
      </c:spPr>
    </c:plotArea>
    <c:plotVisOnly val="1"/>
    <c:dispBlanksAs val="gap"/>
    <c:showDLblsOverMax val="0"/>
    <c:extLst xmlns:mc="http://schemas.openxmlformats.org/markup-compatibility/2006" xmlns:c14="http://schemas.microsoft.com/office/drawing/2007/8/2/chart" xmlns:a14="http://schemas.microsoft.com/office/drawing/2010/main" xmlns:c16="http://schemas.microsoft.com/office/drawing/2014/char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de-DE" sz="1200" b="0" i="0" u="none" strike="noStrike" kern="1200" baseline="0">
          <a:solidFill>
            <a:schemeClr val="tx1"/>
          </a:solidFill>
          <a:latin typeface="Segoe UI Light" panose="020B0502040204020203" pitchFamily="34" charset="0"/>
          <a:ea typeface="Arial"/>
          <a:cs typeface="Segoe UI Light" panose="020B0502040204020203" pitchFamily="34" charset="0"/>
        </a:defRPr>
      </a:pPr>
      <a:endParaRPr lang="de-DE"/>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xMode val="edge"/>
          <c:yMode val="edge"/>
          <c:x val="0"/>
          <c:y val="0"/>
          <c:w val="1"/>
          <c:h val="0.84246420908533715"/>
        </c:manualLayout>
      </c:layout>
      <c:barChart>
        <c:barDir val="col"/>
        <c:grouping val="clustered"/>
        <c:varyColors val="0"/>
        <c:ser>
          <c:idx val="1"/>
          <c:order val="0"/>
          <c:tx>
            <c:v>2025</c:v>
          </c:tx>
          <c:spPr>
            <a:solidFill>
              <a:schemeClr val="accent1"/>
            </a:solidFill>
            <a:ln>
              <a:noFill/>
            </a:ln>
            <a:effectLst/>
            <a:extLst>
              <a:ext uri="{91240B29-F687-4F45-9708-019B960494DF}">
                <a14:hiddenLine xmlns:a14="http://schemas.microsoft.com/office/drawing/2010/main" w="12700" cap="flat" cmpd="sng" algn="ctr">
                  <a:solidFill>
                    <a:srgbClr val="859BB3"/>
                  </a:solidFill>
                  <a:prstDash val="solid"/>
                  <a:round/>
                  <a:headEnd type="none" w="med" len="med"/>
                  <a:tailEnd type="none" w="med" len="med"/>
                </a14:hiddenLine>
              </a:ext>
            </a:extLst>
          </c:spPr>
          <c:invertIfNegative val="0"/>
          <c:dPt>
            <c:idx val="0"/>
            <c:invertIfNegative val="0"/>
            <c:bubble3D val="0"/>
            <c:spPr>
              <a:solidFill>
                <a:schemeClr val="accent1"/>
              </a:solidFill>
              <a:ln>
                <a:noFill/>
              </a:ln>
              <a:effectLst/>
              <a:extLst>
                <a:ext uri="{91240B29-F687-4F45-9708-019B960494DF}">
                  <a14:hiddenLine xmlns:a14="http://schemas.microsoft.com/office/drawing/2010/main" w="12700" cap="flat" cmpd="sng" algn="ctr">
                    <a:solidFill>
                      <a:srgbClr val="859BB3"/>
                    </a:solidFill>
                    <a:prstDash val="solid"/>
                    <a:round/>
                    <a:headEnd type="none" w="med" len="med"/>
                    <a:tailEnd type="none" w="med" len="med"/>
                  </a14:hiddenLine>
                </a:ext>
              </a:extLst>
            </c:spPr>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7AD0-453D-BE63-CE5E3E1225E7}"/>
              </c:ext>
            </c:extLst>
          </c:dPt>
          <c:dPt>
            <c:idx val="1"/>
            <c:invertIfNegative val="0"/>
            <c:bubble3D val="0"/>
            <c:spPr>
              <a:solidFill>
                <a:schemeClr val="accent1"/>
              </a:solidFill>
              <a:ln>
                <a:noFill/>
              </a:ln>
              <a:effectLst/>
              <a:extLst>
                <a:ext uri="{91240B29-F687-4F45-9708-019B960494DF}">
                  <a14:hiddenLine xmlns:a14="http://schemas.microsoft.com/office/drawing/2010/main" w="12700" cap="flat" cmpd="sng" algn="ctr">
                    <a:solidFill>
                      <a:srgbClr val="859BB3"/>
                    </a:solidFill>
                    <a:prstDash val="solid"/>
                    <a:round/>
                    <a:headEnd type="none" w="med" len="med"/>
                    <a:tailEnd type="none" w="med" len="med"/>
                  </a14:hiddenLine>
                </a:ext>
              </a:extLst>
            </c:spPr>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AD0-453D-BE63-CE5E3E1225E7}"/>
              </c:ext>
            </c:extLst>
          </c:dPt>
          <c:dPt>
            <c:idx val="2"/>
            <c:invertIfNegative val="0"/>
            <c:bubble3D val="0"/>
            <c:spPr>
              <a:solidFill>
                <a:schemeClr val="accent1"/>
              </a:solidFill>
              <a:ln>
                <a:noFill/>
              </a:ln>
              <a:effectLst/>
              <a:extLst>
                <a:ext uri="{91240B29-F687-4F45-9708-019B960494DF}">
                  <a14:hiddenLine xmlns:a14="http://schemas.microsoft.com/office/drawing/2010/main" w="12700" cap="flat" cmpd="sng" algn="ctr">
                    <a:solidFill>
                      <a:srgbClr val="859BB3"/>
                    </a:solidFill>
                    <a:prstDash val="solid"/>
                    <a:round/>
                    <a:headEnd type="none" w="med" len="med"/>
                    <a:tailEnd type="none" w="med" len="med"/>
                  </a14:hiddenLine>
                </a:ext>
              </a:extLst>
            </c:spPr>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E-7AD0-453D-BE63-CE5E3E1225E7}"/>
              </c:ext>
            </c:extLst>
          </c:dPt>
          <c:dPt>
            <c:idx val="3"/>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F-7AD0-453D-BE63-CE5E3E1225E7}"/>
              </c:ext>
            </c:extLst>
          </c:dPt>
          <c:dPt>
            <c:idx val="4"/>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0-7AD0-453D-BE63-CE5E3E1225E7}"/>
              </c:ext>
            </c:extLst>
          </c:dPt>
          <c:dPt>
            <c:idx val="5"/>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1-7AD0-453D-BE63-CE5E3E1225E7}"/>
              </c:ext>
            </c:extLst>
          </c:dPt>
          <c:dPt>
            <c:idx val="6"/>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2-7AD0-453D-BE63-CE5E3E1225E7}"/>
              </c:ext>
            </c:extLst>
          </c:dPt>
          <c:dPt>
            <c:idx val="7"/>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3-7AD0-453D-BE63-CE5E3E1225E7}"/>
              </c:ext>
            </c:extLst>
          </c:dPt>
          <c:dPt>
            <c:idx val="8"/>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4-7AD0-453D-BE63-CE5E3E1225E7}"/>
              </c:ext>
            </c:extLst>
          </c:dPt>
          <c:dPt>
            <c:idx val="9"/>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5-7AD0-453D-BE63-CE5E3E1225E7}"/>
              </c:ext>
            </c:extLst>
          </c:dPt>
          <c:dPt>
            <c:idx val="10"/>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6-7AD0-453D-BE63-CE5E3E1225E7}"/>
              </c:ext>
            </c:extLst>
          </c:dPt>
          <c:dPt>
            <c:idx val="11"/>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7-7AD0-453D-BE63-CE5E3E1225E7}"/>
              </c:ext>
            </c:extLst>
          </c:dPt>
          <c:dPt>
            <c:idx val="12"/>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8-7AD0-453D-BE63-CE5E3E1225E7}"/>
              </c:ext>
            </c:extLst>
          </c:dPt>
          <c:dPt>
            <c:idx val="13"/>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9-7AD0-453D-BE63-CE5E3E1225E7}"/>
              </c:ext>
            </c:extLst>
          </c:dPt>
          <c:dPt>
            <c:idx val="14"/>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A-7AD0-453D-BE63-CE5E3E1225E7}"/>
              </c:ext>
            </c:extLst>
          </c:dPt>
          <c:dPt>
            <c:idx val="15"/>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B-7AD0-453D-BE63-CE5E3E1225E7}"/>
              </c:ext>
            </c:extLst>
          </c:dPt>
          <c:dPt>
            <c:idx val="16"/>
            <c:invertIfNegative val="0"/>
            <c:bubble3D val="0"/>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C-7AD0-453D-BE63-CE5E3E1225E7}"/>
              </c:ext>
            </c:extLst>
          </c:dPt>
          <c:cat>
            <c:strLit>
              <c:ptCount val="3"/>
              <c:pt idx="0">
                <c:v>Ja</c:v>
              </c:pt>
              <c:pt idx="1">
                <c:v>Nein</c:v>
              </c:pt>
              <c:pt idx="2">
                <c:v>Keine Angabe</c:v>
              </c:pt>
            </c:strLit>
          </c:cat>
          <c:val>
            <c:numLit>
              <c:formatCode>General</c:formatCode>
              <c:ptCount val="3"/>
              <c:pt idx="0">
                <c:v>0.46</c:v>
              </c:pt>
              <c:pt idx="1">
                <c:v>0.2</c:v>
              </c:pt>
              <c:pt idx="2">
                <c:v>0.35</c:v>
              </c:pt>
            </c:numLit>
          </c:val>
          <c:extLst xmlns:a14="http://schemas.microsoft.com/office/drawing/2010/main"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D-7AD0-453D-BE63-CE5E3E1225E7}"/>
            </c:ext>
          </c:extLst>
        </c:ser>
        <c:dLbls>
          <c:showLegendKey val="0"/>
          <c:showVal val="0"/>
          <c:showCatName val="0"/>
          <c:showSerName val="0"/>
          <c:showPercent val="0"/>
          <c:showBubbleSize val="0"/>
        </c:dLbls>
        <c:gapWidth val="75"/>
        <c:axId val="859025864"/>
        <c:axId val="859037624"/>
      </c:barChart>
      <c:catAx>
        <c:axId val="859025864"/>
        <c:scaling>
          <c:orientation val="minMax"/>
        </c:scaling>
        <c:delete val="0"/>
        <c:axPos val="b"/>
        <c:numFmt formatCode="General" sourceLinked="1"/>
        <c:majorTickMark val="none"/>
        <c:minorTickMark val="none"/>
        <c:tickLblPos val="none"/>
        <c:spPr>
          <a:noFill/>
          <a:ln w="6350" cap="flat" cmpd="sng" algn="ctr">
            <a:solidFill>
              <a:schemeClr val="tx1"/>
            </a:solidFill>
            <a:prstDash val="solid"/>
            <a:round/>
          </a:ln>
          <a:effectLst/>
        </c:spPr>
        <c:txPr>
          <a:bodyPr rot="-60000000" spcFirstLastPara="1" vertOverflow="ellipsis" vert="horz" wrap="square" anchor="ctr" anchorCtr="1"/>
          <a:lstStyle/>
          <a:p>
            <a:pPr>
              <a:defRPr lang="de-DE" sz="1000" b="0" i="0" u="none" strike="noStrike" kern="1200" baseline="0">
                <a:solidFill>
                  <a:schemeClr val="tx1"/>
                </a:solidFill>
                <a:latin typeface="+mn-lt"/>
                <a:ea typeface="+mn-lt"/>
                <a:cs typeface="+mn-lt"/>
              </a:defRPr>
            </a:pPr>
            <a:endParaRPr lang="de-DE"/>
          </a:p>
        </c:txPr>
        <c:crossAx val="859037624"/>
        <c:crosses val="autoZero"/>
        <c:auto val="1"/>
        <c:lblAlgn val="ctr"/>
        <c:lblOffset val="100"/>
        <c:noMultiLvlLbl val="1"/>
      </c:catAx>
      <c:valAx>
        <c:axId val="859037624"/>
        <c:scaling>
          <c:orientation val="minMax"/>
          <c:max val="0.5"/>
          <c:min val="0"/>
        </c:scaling>
        <c:delete val="0"/>
        <c:axPos val="l"/>
        <c:numFmt formatCode=";;;" sourceLinked="0"/>
        <c:majorTickMark val="out"/>
        <c:minorTickMark val="none"/>
        <c:tickLblPos val="none"/>
        <c:spPr>
          <a:noFill/>
          <a:ln w="6350" cap="flat" cmpd="sng" algn="ctr">
            <a:noFill/>
            <a:prstDash val="solid"/>
            <a:round/>
          </a:ln>
          <a:effectLst/>
          <a:extLst>
            <a:ext uri="{91240B29-F687-4F45-9708-019B960494DF}">
              <a14:hiddenLine xmlns:a14="http://schemas.microsoft.com/office/drawing/2010/main" w="6350" cap="flat" cmpd="sng" algn="ctr">
                <a:solidFill>
                  <a:srgbClr val="000000"/>
                </a:solidFill>
                <a:prstDash val="solid"/>
                <a:round/>
              </a14:hiddenLine>
            </a:ext>
          </a:extLst>
        </c:spPr>
        <c:txPr>
          <a:bodyPr rot="-60000000" spcFirstLastPara="1" vertOverflow="ellipsis" vert="horz" wrap="square" anchor="ctr" anchorCtr="1"/>
          <a:lstStyle/>
          <a:p>
            <a:pPr>
              <a:defRPr lang="de-DE" sz="1200" b="0" i="0" u="none" strike="noStrike" kern="1200" baseline="0">
                <a:solidFill>
                  <a:schemeClr val="tx1"/>
                </a:solidFill>
                <a:latin typeface="+mn-lt"/>
                <a:ea typeface="+mn-lt"/>
                <a:cs typeface="+mn-lt"/>
              </a:defRPr>
            </a:pPr>
            <a:endParaRPr lang="de-DE"/>
          </a:p>
        </c:txPr>
        <c:crossAx val="859025864"/>
        <c:crosses val="autoZero"/>
        <c:crossBetween val="between"/>
        <c:majorUnit val="0.1"/>
        <c:dispUnits>
          <c:custUnit val="1"/>
        </c:dispUnits>
      </c:valAx>
      <c:spPr>
        <a:noFill/>
        <a:ln>
          <a:noFill/>
        </a:ln>
        <a:effectLst/>
      </c:spPr>
    </c:plotArea>
    <c:plotVisOnly val="1"/>
    <c:dispBlanksAs val="gap"/>
    <c:showDLblsOverMax val="0"/>
    <c:extLst xmlns:mc="http://schemas.openxmlformats.org/markup-compatibility/2006" xmlns:c14="http://schemas.microsoft.com/office/drawing/2007/8/2/chart" xmlns:a14="http://schemas.microsoft.com/office/drawing/2010/main" xmlns:c16="http://schemas.microsoft.com/office/drawing/2014/char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de-DE" sz="1200" b="0" i="0" u="none" strike="noStrike" kern="1200" baseline="0">
          <a:solidFill>
            <a:schemeClr val="tx1"/>
          </a:solidFill>
          <a:latin typeface="Segoe UI Light" panose="020B0502040204020203" pitchFamily="34" charset="0"/>
          <a:ea typeface="Arial"/>
          <a:cs typeface="Segoe UI Light" panose="020B0502040204020203" pitchFamily="34" charset="0"/>
        </a:defRPr>
      </a:pPr>
      <a:endParaRPr lang="de-DE"/>
    </a:p>
  </c:txPr>
  <c:externalData r:id="rId3">
    <c:autoUpdate val="0"/>
  </c:externalData>
  <c:userShapes r:id="rId4"/>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Tabelle1!$A$2:$A$13</cx:f>
        <cx:lvl ptCount="12">
          <cx:pt idx="0">Baden-Württemberg</cx:pt>
          <cx:pt idx="1">Bayern</cx:pt>
          <cx:pt idx="2">Berlin</cx:pt>
          <cx:pt idx="3">Brandenburg</cx:pt>
          <cx:pt idx="4">Bremen</cx:pt>
          <cx:pt idx="5">Hamburg</cx:pt>
          <cx:pt idx="6">Hessen</cx:pt>
          <cx:pt idx="7">Mecklenburg-Vorpommern</cx:pt>
          <cx:pt idx="8">Niedersachsen</cx:pt>
          <cx:pt idx="9">Nordrhein-Westfalen</cx:pt>
          <cx:pt idx="10">Rheinland-Pfalz</cx:pt>
          <cx:pt idx="11">Saarland</cx:pt>
        </cx:lvl>
      </cx:strDim>
      <cx:numDim type="colorVal">
        <cx:f>Tabelle1!$B$2:$B$13</cx:f>
        <cx:lvl ptCount="12" formatCode="Standard">
          <cx:pt idx="0">20</cx:pt>
          <cx:pt idx="1">35</cx:pt>
          <cx:pt idx="2">8</cx:pt>
          <cx:pt idx="3">3</cx:pt>
          <cx:pt idx="4">1</cx:pt>
          <cx:pt idx="5">9</cx:pt>
          <cx:pt idx="6">15</cx:pt>
          <cx:pt idx="7">3</cx:pt>
          <cx:pt idx="8">21</cx:pt>
          <cx:pt idx="9">61</cx:pt>
          <cx:pt idx="10">8</cx:pt>
          <cx:pt idx="11">2</cx:pt>
        </cx:lvl>
      </cx:numDim>
    </cx:data>
  </cx:chartData>
  <cx:chart>
    <cx:title pos="t" align="ctr" overlay="0">
      <cx:tx>
        <cx:txData>
          <cx:v/>
        </cx:txData>
      </cx:tx>
      <cx:txPr>
        <a:bodyPr spcFirstLastPara="1" vertOverflow="ellipsis" horzOverflow="overflow" wrap="square" lIns="0" tIns="0" rIns="0" bIns="0" anchor="ctr" anchorCtr="1"/>
        <a:lstStyle/>
        <a:p>
          <a:pPr algn="ctr" rtl="0">
            <a:defRPr/>
          </a:pPr>
          <a:endParaRPr lang="de-DE" sz="1862" b="0" i="0" u="none" strike="noStrike" baseline="0">
            <a:solidFill>
              <a:srgbClr val="404040">
                <a:lumMod val="65000"/>
                <a:lumOff val="35000"/>
              </a:srgbClr>
            </a:solidFill>
            <a:latin typeface="Arial"/>
          </a:endParaRPr>
        </a:p>
      </cx:txPr>
    </cx:title>
    <cx:plotArea>
      <cx:plotAreaRegion>
        <cx:series layoutId="regionMap" uniqueId="{8C12C583-9EC4-4346-A927-8B8E50AA7C37}">
          <cx:tx>
            <cx:txData>
              <cx:f>Tabelle1!$B$1</cx:f>
              <cx:v>Teilnehmende</cx:v>
            </cx:txData>
          </cx:tx>
          <cx:dataId val="0"/>
          <cx:layoutPr>
            <cx:geography cultureLanguage="de-DE" cultureRegion="DE" attribution="Unterstützt von Bing">
              <cx:geoCache provider="{E9337A44-BEBE-4D9F-B70C-5C5E7DAFC167}">
                <cx:binary>1HvZbt640u2rNHJ95OYsamP3f0HpmzwPmW8Ex3aogRKpmeKz/XfnxU65k/SOnXSyG2jgoI0gia1P
IlXFqlq1Vvnfd/5fd+bhtv/FN6Yd/nXnf3tRjKP716+/DnfFQ3M7HDXlXW8H+3E8urPNr/bjx/Lu
4df7/nYpW/0rQZj9elfc9uODf/E//4an6Qd7au9ux9K2V9NDv14/DJMZhx9c++6lX27vm7LNymHs
y7sR//ZC3d4/tNGb//u//Tg+NB8eev3il4d2LMf15eoefnvx5PMvfvn1+VO/2cEvBjY5TvdwL5NH
nCGaUEmST18vfjG21Z8vJ0eIxTHmWH6+mnxZ+vy2gdv/2tZ+39jt/X3/MAzwlr//+/1nPHkl+Mib
F7/c2akdH42qwb6/vcgephH8ZG7b+xe/lINNP11O7eNbZZvfzfDrU6f8z7+f/QAM8+wnX/ntuRV/
dukbt93c3vaftve3OSs5opIxFIPDvuMscZRwSgjHX67Kp876bzb0fRf9585njrk5/Qc6Rt2uD337
xTZ/SwwlTEiMhUS/f9EnMYTxEcMJwgT89vsX/rL0lxj62Xa+75Qvr/HMJerdP8AlPwrmr6Plyef+
Ymrj+AglOJGxQJ+CJX7qFgTBhCSK5WevPXPLkwTz53v6vm+e3PzkJf4JmWsP+fnhbwwQjo4EohhR
wZ64AKoLxRgT8TkwkHgaGT/fx/et/+W+Z5Gxh6rwj/OFeuhN+Xf6ghxxQC4xYZ+N/ixZ0SOGCMUC
fan4T13y8+183yVf7nvmEvWPdEkPoOOh/TD9nUCMEwiGhEMwfAZiz7IVPeKcMMGh/H+3iPx3e/oT
53x983MPqX9i0PQPzd+awOgRRpLHCH8yPoJa8RVKlkcxXOQS4c+wDNLcp4rxucL/dDt/5pdPr/HM
Jft/okvObX/fFw8lNDIPw/jx1vyt/gGIFSciYVR8r9THR1xAToPE9tk/z+rMX9zb95313Yc889z5
P7GP2d82f3Oqg1zGmKSIkk/h9KwEoSOoQAJxyp+G0X+xke+75o8bn7ljv/8H5razh7sagufRJdFr
2zvbNH9rN8PpUUwQI/ILQCBPch0mEGoYSyK/JLunTvrr2/u+z/7sOc9cePb6H+jC8/Lh/qEfbu+K
vxdmk6NY8Efs9rnhAbLmqyqVHGHBEyLlF3rgWZX6r3f1fYc9u/2Zn84P/0A/XT/Wq0cKJ7qEghW+
HPS/gTFIjhJMY8rYF1888VR8xBhcR4h/rlfPWLe/sK/v++qbBzzz1vXl/w9v/TkX9weDmd2Ot5vf
qc+v6LgfX/3dAkDNPrv1RwzqJ+x2uP/thSQA+yTAhT9I1cfHPAF3X5rN79z0cDuMv73A6OixnMGX
gBaYYw6PWwAD/fYiPopjEePkEViCqzEBWNnafix+ewHkBYQyEwmsLxJKORyBwU6PlxiwgAnkYATE
LXCzTLI/6OdLa1Zt2z8M8vn7X9qpubRlOw6wZgKsoPv0ucc3fFwa4Tgm8IciKMsCVnJ3t9fAccPH
8f+hOirqeSWJQsgIVRdtu5nbuBvUtEbJdRcSl04zfmCVNRssNzyK16zM+6pTTZJ0F34t+uO6GA6U
WbPl42TTuayH7Wqdz9a2mDdtUoYzTNf4lM+16dJqnlgqq5EeM29fj7HGx12Z0+uhNdGNrssPE+rD
ZimS27UW7cPQdfvYOLFxqJq3pCHmUCXID2qtnN5YR7KE1GIj0DrdjSTih7qhJJujcFK3ZN0N02JO
bahRo6qOPATi7pD3VxNfQ0rsVA/KTcl4QF3g574kPpW0sYe6X+ipHTDaMLnIMznDJkhh4NMsdrOa
Jnj9qCbjtprjWKFqqQ8kqebMF/VNF/uXRpdrCkaye67jOZVlPO6HGS0PpKU6XeMgdnok8oQF4dJS
o5AOZYHe6ALVmViQyWQ/FcrF7ZwJPM4pFcYq0XTHpk/mCzrSfgMAS5wm1Ro2IFWsH0XX0dQM73S+
3i3StLvWDHkaUIMuRF1Fm4Tx5XVCiP8Y585tQun2GlfJPo5RfZGjUH9ck9qquKNd6uu+3uSVmVMz
dlsXrd1toGVyVbMa7cuCjBeCL/a0msdxVDI4lMW0ajOuub3s5Eq3Cx9MauYo3+eOhrdN66XLuqSw
0b40k9+tojb3mvdu0+WiPi4MK7JZxLXq4ri41GDzDEd1kbnC8dTIgiqR8Cq12MeVQsPa7zVd+ytE
83i74sZlXAj8rq2lSanx7t447m+XVoy72lVgN3k5Jl2zBTowSktuK9WN1azqHK1n+dKQWM29Faek
4SezGG0KQYqvpRHdTc6qcF57k2x1kay9ipy4bO2gt7ah3U08ELoTNpSnrWzFpYwYB0/R7qQMdbHL
F/omj5A5zN0S7+F8vqldjC2c27nslSS0uEhcW2d5RLot7ftXyHC8MTVHF9Wyzpe6bPi+p16ezNbr
zVoX1inbl/41zRur6CCWLOHd+jq23Xg2FMkOl/KqSrDL3Bw51a9kpx0e0qVG/n2Mx+EmiegoVNSY
+LggcXNZLfzCxjhPRS3Gd/VQp33AzaHRpvlQR/CgxbeRYlFb3DTEV5tu7tfN4jq8Wctq2WLeHrqi
6rIIRea8qZIUlaxUrulbVaOZqcaPytgy39VDXF/avjp1hezSogqVquOl3UxjXKTrGkRqJrt1sb5F
VdvvqqLoVb2s+GDXZt4tpksy3YZlUvFI9Wtp8HIsmF2UZc2omnaNWKanbt8w8XKcI5kVdnmnQ15N
6bh0ulUtoKZ9FSXibTnl1Y4EWigcWZ8NeLgui7nKinxtVLHim7jqzKQWEsuD8QM/E0Uo3mprPuYh
5LuEVXK3Unk8dmuhSp8Ul7mxS6p9j9NmzKv9ouNcbwoii71gbt6JDvWTMlVvz2IemJKL+0h03W3W
YG26knEqVXAmqpWVQ5ajeu86P2QQPWyDFxKuGF9XZWq6qECwUXKSy0WRQMpV9cqvKj5rr9zYuJe8
rXLVi8Fldgq7YvA+87LyWVxCMhrkiLdJPVxblORZPBY2W5uWqAS1/FWfJCgVntavdbQ2dVq2DB1Q
UZF9EU0qyCacrbONqpRw0acr9fNpt9gq7Zemy/p5UYSV92R2IZXzkiTKLQEByUzXjZ/ysO2Wtt6s
VQ1JJUlkuvKq29OxPWWyztbcTWkZTbNi4C2wYnmOsJm3cuJmE2Seq5CE1xbBW9Ws708182gjSTkc
Gx8WWAkCWce03lv5sVz6oErOYpWUOc6ct2m+5PNVubQ8i6W5GsaFHsxi98LMeDfG7brFNphrayVW
SdMvyoRqgPM58ntNVnJXSpq/d+tEUtfM+lDqXr9h2CzbdYz927xdPjJj7vHi8HkUCWZU3I/5xzCP
9r6a+10z9XnamSZkcdWcVY0Zt6WhkdJtXey7zvUnGnOv1qgg72tbtSnkYaahEi/T+VAnQtnS8b0p
4vowsIJlETjqHIp7pKp2qTfVmMuNlTlWQ5QX2VpAsnEt7o9ZOZQpqtZ4I3LWZaHH0aFZuTzzmDWH
IsxT5pq6T3tY5LSyXdIol1cXo+nj1ybu1lTEIuy1GRTxMt9Guh9TBNVxs3Rl2DpOw0nHnFTMJgME
3tztReHK7bIUZRrcFO5blpcHFiGfdbGr0pyVeI/mZEwJJdMhHxa0mbqKbjFleruYsRKpXKJIQdyv
aaTpRQ8vk83UhjO3DnpTjqFXTEfRPu6WQkGq4SdQAHf5HPsbMxh+Uzd5+Vbm8K0tdHksO6Ezxtvl
YYVaHRTHS5zhPGHlJhZGnpVxmA8y7u2rKZrliXUtoATHXSpyKS40jtoDGrotKUfyUnsLJSP3WKe2
cGO6rE0BIWZsqqVnL/3Qks0jcbvTA24gWw7j+yH0/nTIRXmQfbneDKHJN/VISeo7+TGUpR2zZamc
2ci6aNK6kvyyqiGtUmvi1OkoqEXk5nXfF2HTxEWSYWbnDNe6TwFKLqVCRg+xsqNu+1TrehabDsf9
ySDd+s5ridMJz92bwVi3saK22zyfm7OOlwxq38LWNoNRCHQRLSJ616JGbrrg1+2C2zbLm5wFhRiO
Thpp7CvUiauA4npHuqHb14RD3XfyGqYXyjtf5XvaYrsvUY93jkmuZFHgdwMtK5yG3MoNpXmUxrTB
2TJSqew85fsVMcgxoa+v62DI2bL4Oo2WsVCkcVEqBm1va1YNqxIjhOQqQ14rMWGUoiIpjvE8K2da
v52mlV73LRKK2LXdOONftXpKXuc9qq+mKhda1WM/XzVdHW11u9Bs6KYinX3dZUXT6F0zVwAgF3aG
9fR6GOppL2I7k1RHXXKaN1xsbQ9FtqhbUadJP7sPkpNl03jc+ywnQ5gzxmZIqSzSTVphHlmFPVka
1cgYaTWNIjoISnisBHFiRxsWzhoc3c4ox4cw4egq9yHDHW1uUIGCsrHXr2oW4c3U14fVsvht3pUv
xZBXajKROPW0yfdlYKvSUMo3fSKWdCFG7pyvZ6saAul+KBqnwoz5fuFabnVVNfuBU6fGrl7TsEp9
0cBfh3mZvWprU5y5KOEXAxH1TUhmdC6t1FfJNMXv83ypjw3ALLWM4qoSri3V0JXotIjmagv58prY
Ik7tkkso/017Es2rPW2SiWZ+4pXiLd1NDuVQ9Ey9H8fqXc7GdsNDM19wgcIHbZMta8pmWzMhXg2P
Ra41a6mWiTev6MzMJkFuGyVeZmPux6vWxalg43HDmk5x7bUKpe/uknIih6m3ZNczvJcI0slMe7sp
qoKcd6OnKo8acWrbOb6etHi5JFN5zBd46rpiptpheZ8M5T4Qfs0no9WAyus2lidlFbE0LyGJ84le
d7JJ0n6k4gbqdwCcHmvlw1Q2B1Pb5ZCw0F+grvCnS4iE3dguuEKxuWmuoSqgS7R2td6MusfHhjbz
B7Mu+RW0D/rdCA85zbsQKUzq92Mx0zFtkKjyTYsd7VWBnb2Iu0DOAWLSQ+Ir/JrIqFdmxIBjZowy
Abhw4/M5vxY67192lSsPWk70GJBFpMZ1LR+kTgBHR1NxPU9uhNM5j0yVsZv61MdDdF33XX5Zcppo
RZZobFSNu+NkbrZ0wvUlXyNAIUl5XCTxdIUX1G6jOHGbEQd8UZhxOg5YOxXhGeI25NGMUmg5dmRC
OGt66Q+hnN3DCMkiIwY3bdqxZs5CTEOmKT1E0eyvbIfXhwTqXDDMnnedQIqZuMiaOv+QeL6H0atV
2cU0l0Xe1VnNC346Vhqyu7ReFQNr00CSJZOJcD3ghrjal3p5PCQ+nt4n1dQdBwr43s902HFUvHYF
pFJp6DXVkm1Cq8Wm4Dx651yLzhMuAIVWzvvNUGJ5gweKtlVsqXJ8bSBjTiKlCW5vTDeHt5GznSpp
PG/FWsrM2cUr5g09qWM9bA2yGcDKWs1t88GubLz6eoLpSV9/Z93al7r4PFn2x7f/89I28Of3kab/
/PBxMO0/3519mWj74ad2D/ZRuBqef+iRoPnjWf8ZnnqkRP6YpHpGs3yagfsTDuaHF58QNE9k+y88
3CN9kQCJ+efczJMxjP8QNI83feZmOKiuMdClEgbguJD0D26GH0kBqlEiYuDhGHAkcM8XbgZuEpjC
1AIFmo5g9BU3Ex+RmMcypqBeANND+F/iZp4zM4jAWNEjFyhAXQQ66CkzE+K8cXQMZZqvuYZcM4h2
0WpkOaqyknnen0FX7O+wb4fDV2b6Div0DSeECFiFSMQ5dM6UgQbwNScULwNQBhrA3DA0Ta7iAqEP
nRjzeKMpoOEsWQRwJpMc64ehmaAZ/fHyGH3z5pQIxilNSAwcGH28/hUnNbLBDU5UNk3i2CIVKsNo
KsVgd3bwyatxxeaBkbUlWVQHnJajw3Y3DojtfrwRUJyecmNwOgiWAgQRTuF4PNrpq33MyJquW6Hv
qarATxCti7eMTsvxVPio/MlLw1F7vpZgILzALBkHIZM8s7lboGmao6FKAcmy+aXMV5nxOq+iM8CN
YPPZcg+87R/R8B03w0zB8yVjGBhkCWEIUx4/O2CDX/w4oapOx2AgEbrB8/pgxhnagbGM/K73JXLn
cRjQhx8v/D27QkEHPR3YzUd686ldh1bEK3EYUF+b9+JcAI6sjqmPDDAseqh/YtlvTzMMTcBoZCKB
3UTsGy+uZTMBpWXS2hh+MjTDfcWmcdoG3yo643obrdBdVGZp25/E0XcMDBkEIhfHwOUm/Nn5cRNA
3rWmgPC9AG6p8vVGP1Zro6v7psfJoX48Vz+27aPTnvC5MEcSJwQLQNsxAxXvqW19QJMwtGtShzj6
wLGFk1pBpvrJMt+6EOhnyJ08FnAz0NhPl2npQCRx3qQLh/QAZCjwEXkLrV9oi6b/iQfx4+F/+lJg
PliGA+ktMHR2T1eLI1y3HSHALVeseh3PjdBpg9G0w7icho13gtXZaIqiVtVEAaksQE0C0xD7aNPZ
liPVFO3S/WRb39ogRgSyJMHA7EuCn8VPLZG2Y77adCo6up6gvFnTdkzq5awsgY77sV+/txiF2V7I
RSyJ2fPFAjRNhdfQdCZu4Sdjh8od17Qo1MAW9+7Ha317hh6LG0xMSMgM7Hf14eu8JyADVRAjNl3K
KdnRaoEz1DinXfrjdb6NTBgupzC1AcOzGKrNMwOOOfagW2gLRFI7n1VrZHZhWXhmQjcB380TfYci
37xsAE9WP1n723wbYzi+TCZQWqHYPMtBYzvo0Tt4xwL08A/dVIZVkSBKnQpSkfpscgRKz4/f9zt2
hck7RmBYBUaGvgmaDkst2lw0aUGCv4yCMa8h88rsx6t8k3UEYhJSQPKY9gj892mwTDHQqwHeWLXA
+1xKVuVneSfZcQ3cZ+qZdABlibz48aIYpjaehijk1jiWAiRN8rjqo72/qpW2j+aIzn5KpUmK5CQH
SL03jXeqHoog95EJq97NQNEvm9ZOcKBWI/R92TbtfkBzSA4VkAx0X08VDj9x9e+x8SR9gKNFEgsq
KQzRfYNnqK2TcZ0j6H65sztQ/ap5VwmuoXkis1RxG1cno2+By210kq5VaA9DNWsI41A/lHHSzSn3
vLMgukzlz+L6myCI0eMMMozuP+Y4wZ4ZbvZlkBVtQjriSr7px7l5HxKJQdJaTXkVqjZCZ6WJ4GAC
TgQYiIFbIsAeg2zRAkB8w4FI35MpnuMs0TM5juN8WTasn2KdDab3a+YCUPKq5kT4TV8BXaemZAEm
6HHiEEQ6ECHubQ+HKZ1JPYft6uW4bJe2IS51EQMAyICEGxTSHp0twsuHucGt3wO/VVVbbzvgQx2R
8DmgTJMY9KjaHOsVeuytfoytHlW6Uq7wsIlkGq8fSd5LIBVaUPPKulBo8eYuxmZN0bI0JpW+KXTK
wCa5KqEvvLR1ABq68FSeEM26Vs1uBkQ0hkbW7ypR+fMSUT9ufnyin/sFsjrg+ORxQBwnGP5+eqC9
qX3RzLZNo3Pgo6FjpWbDMiumnySFx2rxNHZgDgCeT2KA+wnFHH7H4+lSlZ/6MekL+ciji+I2IlHS
A5O02iElqARiJ/RDAb0jLjcBVW7MQD29BF5Cqxzl86Dgd4noqfCan4tWuzbTAnSJMIStqYtT6glo
OESIWgHnyFKoafl1qJvQZRQCr9gUTRjT0DZmB9QVUXGeh367jOX7QGYgD5qQu3RYSvHIlZlN6R26
XYZ1b31XvUU9cJJK5vVyU7K51QoAj1QSrAk0uiOzGlYcqgzUyavHlFhuO5uzfZ7H7hL4DDmflmVd
pU5aAarPiHKvRllA7tdTTo8hH8RZ0bLeqzyO25CasgbmOF9kfLW4np8BeZWSOkJiOxUR6rM8iTq3
i2rg2opi9VsW8x4ouQmHN1SXB8dAjbwFp+OUDYKTDMgaM+wiCpMaaoDK028j08wvQTBPVB6mIR1c
HQONt1ZXeHagGYFkENYN7kQk9kmQ0TFqgs0qboYrEBPddcfi+oaQonlgwzQ0Kik6oGmx4QNOtav8
Lp/0xZS4ju56I3sHYuaQfOwd7i2EWsTf5nPrVxA6g9TAJvg4HelAJ9XHfrpEZd5dYT6bg4Bzctp2
OT+ORroVfSK3IBTSEzA+Om9X1qeORdWulNNA0wjzsd/otmPjHqYBHkDpeh9VxQqt5LQkb3s4UddF
xEFbnKYOVKhyscosmL4bUYf3SyIDcHL5a+DSyWWP8KDmQO5xpdtNVUq5gAAc4SW167xuk94kSGkY
Pz9bG1GdNA3n1y7BC7AxwLuNaq5orWCx/qNfYytT0JQE2c0SGKZzk7u7uBA3ZTVINfVkWXezbwJV
LJgAuhfFr91St3qXa0K2rnLoilSgllSI+yzSjipdhrt+mQGP8Uqnw1wG5Wo6XcP4wAjCatLt8qQJ
dQbtm90xW0lg+2OIJshaA0/rCSxYgYyzGaJoPIZfLRmbTZvXeZ6WZR+/xLp6WZB81MfQtBgYEUAU
qKm2HHYkcbzahHE1bwY/BrBkzQ1kDK2hjETMpN7Y6bIJEdoZv6BswsAD60n4Y2izBQR3+W6mRats
1d/k1IxqNIvqJroFTvh1X/HXFXSOMHlAuOpBmFh97jcL1HG1QOJSpFhcJqKm3ppuwnwT5oTfkyoJ
XdrYEZtsoK2/cHaYQUsr9Kp8TctU8yVsSuM7FWrfb2am2dXscXRB+uLSmtGlOdE0nXnxquUcH+JE
37hu7K6mtSvvi1k0h9aa02ocXiYl15loCBxTfut8uK3j3lRqaOv5PaCd+4RBcfPR/KH3HXsLEwsx
nGfGDj6QOp3n5ton+iJabXuCOha9qfJwwX28pLUu3+Fw37flK+Au74sF+zTI9XhF+gySlFbxNG/i
cdh1AXdZIrp24wf2TusEBhc4ucARqGAjd9uqDa9oPPq0Qf5EC3/W6txANbWvdITpjq/1x2nlmZPk
XcLdB1SUrxK+cCWEFWkzdTIdtL9FQHyCbO3WO8B3156GlxLVaBsNwH8QGFdQHGjD1LbATFeDPgX1
cWeKHEYL8HWXa5kWUHhPYW5A9diNisxepL2tdFYIfGHYCh4KswftUZ8C/DQKZGWgeZwg2WLX6LwZ
2aKmZjEKRoIorID4sRcgkhG5UNU0lqmijdJOU3ve4qSCSY58USN1MfRCdB+1daRaWr3Ui9gB1AkA
EHi38RAnU2mQMk7fEAoxJFt7Ua9A3o5LA0gYaOOiYAdAb1xmfUfYoEDnuK8BeDhVNZG/Hw0f3/IR
t8c5xNkps8GlrK232JWwdR8l+8jNF/WAo3SOiL9hEYiJQAC/Qut8EuK+BxXjscnQ5QTycqe8CwdA
E2dhmGuVdDBKFWAQwSwJ2xjSnMx4eNvW+fHQm3xX+rZVEZs2I4wnpUDmJCnnnma6L4uNm+VwbmLz
KoZfKW1ShhE4polfdiFEWTtMrypQxCOurwzgLwUshVeGL1cgxt1psc4p5Fh9GnV83LiouBuILrOZ
QEZs23gFnRcUnzYa+OP0kT6rnLsjMAjVFbU8TkZqlTftRwlku4K1y4/QHhYpMzlI16st7sc8tCe9
4c1WssTcMD6aVwEEgA0jRQLoJgob5FpQbCZcZLWutzC/tAPUvHMLWRWciQfSJAFOHZAa07CWZ2XT
ykPv1usCsz1e5pumdafj5K7bwVdvve+uSl3yNCriNSVO3uHVwOxUYeghzD0BPmutNqIEmQ13/SY3
HjSHsTwPkJ2v+26+RtwWKln8Tog1Zdaf0a4r4LyzV7aG5kKCZCA7DRJmcdxF/DT4+YoUHSS6aT4n
rD6vY/cyDzMgTmAt9vUyf7RhtAqY7tNCY8gbbXs6k4mrRRcWFFT0UQyJW8EphJ6UtLUAVZeT2g6g
iDeEpMQsp3LQu66xrQKUEYOk7K9oC6d/i8GQMHQCDm/Gd7Gehyz2bBdBwoGRrbaoz5EGgQ6GpxRJ
2vZVMjZ30NmAUNMPS6RqmAmDiQZk4SwGNsFowXreDevx2CdhQ6fkHSRwnroyvM/nshwU1lDEqagA
p0T6FJcEnQHr7xQxPLUyTFdLA4cSqItGrbVZVVHmVrVzPqs+jBHMqax52ubVdk7+H3vn0SQ7rizp
X4RroABBbqlSlciSR2xoVUeQoABIUADgrx/Pvt3vdj97Y2OzHZtNm7WoOlVJEBHh/nm0KCbaHZq4
yYLQ4b9ZxHPnJ6jkzNBMj8OHIQnPul3+pIIsMGibBJAE+KtQwhAPYVXMW/Ao0UdnxlSvkZzuor6F
KONHMAaT8aM23mWrE/vYVXA6WR16eRvMgHcc+bKNkbjvB8ezdawelIJd7UFg6IfuRPvXitfHyrjc
bWMRTt5F0OaeN21BY41qLOWaGYBO6dRNCjZdUGz99FNszY+Iw4S6fbZNtL8yCirI7SE/Gaa7bB40
vmKADKfhB+VdA5xgAhY3NuJATN+WTPvXGPYWoy8TC6vSTvMhCsh7hanNABXx/BCkGC9psoMd6cYc
isZPv9/Os1CXnZKDpn6TkrVL0pnB/+1cufH4ClX5jQ7Vz1aGoBVZAeWoCFdRKMVfDBse95n16T50
37je8ykwbyoWuLpRYWflFeEWhuXi664M4v4K/bQv7bqpwh8Ck00BAMpKigodJx4H0l65ku380LYG
DXs0p7LB/R5U5phYnAIBc7RhG6xco1+maS40IWMZQ09L2XZreIh6p0scpdzSu57QZ7/mD+EAuSmy
5OKppS162i3nyAU9jlTYpKqvLyQU8qDYjg9oIXJISZR8F1B7iqoDv4ZSwHKbuKtz7WWP5V0X2e1h
k+oHdww+vWnbOxWjI0c3/SUepiuPjXxc96g5Ml/grYlRuoc91T4Rx8BV5E1gKnmt4+QzWkfIRfy0
0ek5jsgrg++/zBAIbRT+FjzeMIYGGN04/06TVqciGofU8MlL12C/F7EvAYfUAi329g3y+se6xDyt
NB+LSMavkfF8+KB+qWS/H+xu23M8BK9dHb80DeGQNaYn+DdPHLDGA/WZzna1fw8NOetl9LMmWpu8
D/iz7Tf0DXNVFUM9Xkkn+myubA+FlJ/QpB1cy+YysZrB9GB9DtH8UQAyyWYVTSXsFniU7Wen1+gG
7TyqsUe/tdjepvE8/QYZ9DTMQPwsdKSURuP7TP0hm9z4UwXmyRuT8DSCj3wjHuxV3yyAG6vagdWY
7Xkz++PC2ZITv95KVrcDcEg3cBAV00c7rHd+P94LFLAzjOIqDzD15KhXgsLXp909zt1+sWL7tsg+
yuTgcM+hHdlxhd7xRKgqH7xIHqtG/SBLZ8/LAhqHN+JxWqpHOYuz2dYV6F6bHEa1oOo4TgoSmi7z
9GhSL278THUe8Et/10UbRFXe6g7UVDu8T/t85LHFdYabJaUTL9xA5F3PWoAkgHH3Vb6pgfza2RRf
aT039zSe3FnxyS8HgcdslUeKPjL1fbBNJe2qU2P8A4wh8m2T+IOjnhySgeMNik0FspVc21iW8eze
6215V4kA5OjqE+f6gNssp0sCTsGC4F3mJ7X6feqP012wV0XC3JJ1TjIULzQ53dA8rwl/Va0NM7br
60TZVyeTRxAMx3Wg3knH+JhIHNu8X03R1vNbuJM3T0z0MsXqycT18+Sp52EFtNDt4hvdpkMg8d7t
LLzbemUzNftnzZLzvtsinsZ7C7oZNcsvUarLZrG4oxQvw1UfDJxm6Binfl88FJZZPsRM+V4WxdLd
+Zpt4C+TkxiqJy+UdQb0qYNiUp2SER79YN6HfojzuvcK62GotV2MSdn7vYz29u6OXtpQHhW852OS
9kDCVaorn2JmVRvAHK/3O3jUrTFRSYzWa9Yxk7xhYFxeElo1fTZR0g05sWODW6Vtq7FPEfreH1iP
Bvo5Ehpl2i1JPx9ZtzX300y6J1ur6fesNlx+RM9oGadABA9+rxXULLGE5FxZaD5ZrZj/E0oOeyfb
YI+ENuYBoEW9HID82nfAaePjKGJaZdQTpC8FW/1rNZIKxdrbquikgr4vFuZ3cY5XKp5yOpu1GFfv
VW3N6t2tbOGv0bg0Vx+qcr7W7nH3q9ckdk8eFP5Pa22YT/EH7rsxa91noPdHw3WQislvz1HtwMJ5
Tdv2JUD/5ZvFB4QTNgdpUqkIE2+zPTF/WEsOPYvMGBba5r4i9asNvXSX+Lmt7Z8rDM/9vl79OnmC
ECwzp82aDYBvbNND+nCqvfct6aqsrubqkzVt99i0ILha3mWtolm1t0BWpvBz0jEvBr8ypx4mMe52
ZUJ80c4ySnB2M6ZRZbSpwTu0dSEjqx6V1Jdt3b502KYCiIeur5r732Q8vnMuIML1ElL42PDP1jKC
mQNUIWyq/SKSBZ0+b740HZugPmq6HQfcJWk/s/fexf3LMNZf/QEvLM6GYuB21ywkKsh5vwQAkW74
XaXkEkM48DB41lMT5M2mTT7U8sjn7USC6VmsweOyK5E31q8usNc/VdeqAzh6+9KMZNjuVrvKD8xl
9eckdXztx24qrYj753r0oewKmwm3EAYvwTxDoMxdHZ8bE+1Xu2F/DNG1O6gVIJfXepik2qa9o7Jm
L3jBP2Ztr4iuzo8yAbOfxokCXCktecMgDMW1grHz4ha9n1AWdapRWF/HATNev+/tlfPVnfmefNmp
JOfY49c6aL+EeA4XFUpASBwAK4kGHAQ0bXMxzzF96xUm+rXpGgQdluEt2SEgRAC+X7y6xq8Qec2e
wsk82QXos2WRuY570vyIse7iB9vY9r72LAD/E75PiC5fGjH0j21N0Icz2973cbWhlYCLnoqWIvhg
bZo4/xLrDYztyIDpmbmgjQcTf7Y/Wj7f47HAQTP6A852n2s2PplJmY+xgfqEN6YcbDJBawubC+wR
WehpHE6bXNZTrPrhKLZqPIKf3N4C6yqAwSCtfW/xQcmEa4ZWyivDZPCAEvhr0SVDV/AkKQSkoTSc
nA+IMIoB5rloy1b43tTtL9Emmkz5QXfe6byVeAE7sL3JlnKGRkbH81fjzO82kKUDpFv06BUBkft+
IZogyHvl5vbgtilSL7WmA8kHP9L3y7hDsQqCjb6FrEJd8EcxpnXSAlmUDoJKRG0Gg967+MLSQwJK
PyPErVmzrFcXoJPuWQSiv6tAUDKa9Omk7VZudJyPbmQ8t4PxNK73ngBdj9oHPUTjWdQhAaveOFWq
6Jb/iOv6BbkLdi/b9Y4M/pBHAeu/9Ytovsm5BRLszcbBcuP0w286XSYQjn/F2DIDkwD0dbrWQn8k
SduEd+1chQV89L5JWz17P8ab0ox5aWpzVa1oVPDu1GFm/abFgXQsiVOHXhDtonVjFJTjvm4QkGK+
qB5XWkj4k6JCyiRdw1sCwWkNpYJAtcb7bdia1UubfOx0c0DBx71J0HHH9VidvUZoddqqpZFQqaHt
nr3FE+GvZTEb3t4FLDSiGLvU31t8T/M1SDRqgQcstv5MfCnsHd0XELNmWEH8UtgK7/Ow/OFKRLjt
1hmvV9r68UgzFAl4kQ5d/4Jem3qHaaoCdkKtiBRGoKgWLxRZgM96qKPrhIG/PvI/7AQ9dXN7Qnvq
QjQUcj6uVIzxU7+hyTuHycaDslrmzhzVMixfVNTjUMkuwj+wmw3aJXUWLj+EEE5aRCis01nj1iBo
stm3oT0b7frhIZhCe+0BHmuwczQ4NtsWgRxkTYX5Croj9Gw9OPo5TAPNhoHG6heSS3P46LYoHIqW
DSDnNgRB6nyqDbGltgrpBsjyw5bZJqKkgHk5JCkqF4HSs41Jdw5EtcQF+DT8eMTPMW4fvJ08OfDy
KQri58D5IfDNITHjszWd+apayM+J94OYFkLh/Ki7sdz0DGp2GXHdJN503CAxP+2QW/N4brwLnva3
Bl1ts62/4oXuBTIc+7e5F3kYQ410c6zQBEG7w8QFvaFwBpPPYk2UuxaCy22Ib8pQjRyj5nfdGF1n
NCKwjQBOl5jiqyHdgr3Lav1TJPFxI+a7Vy/Rg4o2mnaJLeutnh7xJeELJPPuNUhW9k69sT2uzH7G
S4jS3ez8OKHbLjBCNchdTD4/K/ysadvxGI8YMmUx60BCr+u2JOkPIV1U9GT6PuZ5m2y4DayOkBsL
t7hJ5egsXpFoGoK7lVP5WYemngBsiy08T7MZAmgNN7u1RFSjNcd2FhjoQ9bpOJfNgrlA8QDjCebG
dYW60ycHZA1ceCem1qliGmOWZI0ehSwCM0X8IgWZ+1RJXw4lDkw8l8G2WXrhw0zYY7VuPDr6ShBe
hASIQSV31t17W02jixlpoE54vGI/epvv7zmIWfzcnE/AxsCMwIUFzVGbEnkhv3tCx2zr16V3fXDX
WYqrINoI/upwC8XIIKhkyYNxBse8y+pOh0m1lFYmc1M2LETmS1VxDaBbdyq4G7zdBS/Ad7V3SRak
v45U9Ls5xgPrxin99zWxxe06fN+iaBLXcA6QiOiQ95I50g4zYlrBWM97mkQDJfcAOH1xxHeuIGDo
pr94C9hyxN6mxzrUmLB83rkzUwNKYtjNANnbfSk1wFlSBAAVzPuayKQItB1FmpBmPg4EY2DfQ964
dnTUR3Bk5ub5vE/L7MVpNc5Jrg3cyxp958NeS+QXRPQ74fsXlFQMWWjAL5MO3CMu7+Uiwugit7g/
Dk0SHYAr3MgPAy0nYMth8NVeIDakspnoMPOmBL2RDM2pmUmT6pv57ix8rYxFa/BzjVtSwjOvkCfx
Z+8mqzVfB+QBTTkbQEmY8rVuj5Cg0VtuenF3Uo8NmjqBs8DmYLr0PIAQ1PRR8jBYZ4++QJJoX5OW
YQyRVVGpzrU5zjI692GW8+vNVinXBEXa6i7BMQ9i+WMinStWze7qqus+be25J+Il/tM2CyMOJkZe
hJO9Pu2Uvqy+BPPDqCiBZwDTnXouoHkhceimZEZgZPXPAlfEdLYYyA7+2v/qa9LmXVJNL772MdVA
kAvxmziEeKzS3xM8tBdklpbvnZAmpz2SJYsE0dtz1nspVQSfqROIfEpw06+7puFxR87gLL3KXjkm
1Su/pQ4TP/gSyt0XGZxa/7OHigDjjC9+DofDvXUwWt+bLlBPnce/BgbCjvGQfxjsVj1V1Traoovd
ddAVxc2g+oz7cryPteYQ65f4sUtWU0HKw3Oiru/gTs7ddtLJ0h/iqEs+DVZCHsYN6UjPyPkhqCgy
a1AoMX0zP42a2203Ne8erYIL0OtP3fl9AdTvxEVl75ydohwVY3lIFh6cgReNcJj0+MFFJyoEBXxX
dFreNNI22JDqWOug6NlUiZwhbv65kqZeM5JIREnmbsAJ60zkPibetSZtETTE2N+KawLj7msTuuWr
6WOUiYA+EXyn+8Dbo8c1gDOEBkPuZwrnOEFMbO8eDFqRciZy+xmyaX6SezNfiV7PrcehG3lg4Y8Q
FKBaMR1AKPJaFjZZp/bgWzPtMQD0eEK4xcmHOazpUXNwAACvUZozb227w9DSvogA6tzCT3vzvami
uCSNQnRgga8NC3Ycca/GK0Cu0UInRgj1FsC97A00Qy+JfMgkg48wxMgo1H1Te3hV4jj3g5i/BFRi
HABReYAhmcDUayr/0PQ+ZnZOeprVRu7lHtLpviab/uSuDR7abvu1UplMmJX2E2aaOuOqWkQeDISe
5KDsaYrQiLIOUSRPQMuqdsoO4WQEePu9Cp+sz823cR79JK+2yd37CWXPsjboPDSSP/su4wcIOHHa
qeq4MeStql2UMwUlPlL7DCaEvLpILk8arhjaV6FKnH/gEQlty6kXwZfZY7fJrWLBqWY4iam1ij9X
AgRArNr+lOgtOY4tEjdry6HQiSRvY6rOeGVPnWz2b6DpoGrX0B4RmdBPJKzmvEHbj4l2bruXNTDe
V8P8+oF1YkNt9hvoOJH/6NvkvYtu+qo3DO1hZZ7IqQJbAByvyRI0+JjtZv/YiT04VE23XpEK69Fm
9MjzweL4FZhq/jl08lePIFump3X92FqfP0wqnP5IZA8Q6Vb8OfD0YHbbjMISR0TMb9DYtP3Z8blE
CnRD3oCV4USOtpLbiUXIAnDLzr5vpizgYswS5b7NftsWAEnehqH7wRZgJooMqefGEAEVeqdYMoVo
F8ALVj5ys3RCYBpg0LCUZLj1N4T0uXRyzKCr2Dvk9CBE7bZ5hhQuL5b2zxs65y0eRJSrGeMEWWFH
BsBuz8pSHFbmMDLXA3HNZdaTKJNtqy/gPBY8CNyJiUlQgAdoWP22v+zUqLzDJVpsOMRZb2agVDQp
6jV85bT9HMCLlSz26hyGYIHey3tbvA7BJdGeh8R9H2dvLmJ8Nr8IYjmZCIwIsyhwb3s8Gi8dhQEy
OMw70q7Cxs2Z7EPyBZmvAYIldwJf4bW4K7dhbvO4wmCwGlSydGKSXHqCsVpthiDzNi5nfzXugrQJ
SlqzdscEahpEeDs/zlMMQYn3OoNN3FzijsusAaj5EPcjNHTIzi6M6QGaIoYQjF2ZjAOQfwkyI+2E
IKugyLZ0uFQL2Q+sROLDlOHut4UjA89HaC/3tRdBC6YDJEGBiLM38+SySI0qiBT6M624u9vdOr2x
CkPsAKXyK0EWyzlyVm6l2A/QKnUHFTuji/4ukDa6ritLLlE7iLPvMe84aTK/VXHoXfRE4ztVT9NP
iMf0IshUXzxPbmkViBW8cksfQXiRqsB9BtcBNhlMn1pmbEHwanSACJP41jMiJ44XNEAStpdJ6WNV
wQLfgi3XNZLkIUYo8FJj8H8dyRhfKxCnBXIyKOb1bvdsc716pv74EQezvEOuj6hyRib3yEcVFSJ0
bbZYt3wmC1z+HlB1iuEO1/PgXyKL0eveQeZ+rrFVoYW7UU9etkHqPZMNUuOtZYQDpLaimjzk0Sm3
B2gm3pmbHpHMCr+B1ACwWgNls+z6eT5H1ia3hLmLz6pbxM3kVt8dbhp7xFudvGjV9XXWjoPNGz4j
EbSsRB2d9XAHiH4pHHC148DdUoBNwNsmmNZfKo0WE9pHnOh8oxuWLUC5oxerSXiuoan4WbBO/C2s
ffq7iV1yXDR6ss01IX0bWTQ/mTAkbxJZsHstuT7vy/6lRWjr3mLEegpaps9DFalnMiDAmY71EJwi
Pq0aMrq/D5mBOZYHcsNkT627h7TfFwyDIU03yPjq1EcSt3y01R7061pviOMizJVF0ULXTLFR/nCB
bNYi8ffqrZmW7nfQVQk8FYJaEMdwGpaF4tjMydbiyAsEsdNRifbVHx0LU1BxfpwLNTH0wN58WRBI
POBCQ8/Wsx0MGOZGA+SXe+W87Bx6wg6QM4LC3LlVXUmDaeF1MLj9IgcyLqtIED9OEPRaADSe9t5D
MBVontqoPsdSVhkm8ig4+hJCAx0HsaS2UbA8QrsxlTbb6LnMC9f6F/1jV4LPgWmNTXf2Efj8DGYz
nZdkx/3AAgsXI9jvxgQeYN1v8l4ZUn3x9/2zsTKGIw/vu2O4x4wQd13H7UNgaVfykZgR1uBtSg7V
Tyx9OC10rNIpae8VX78JHHKoiYgdZ0I1G8AkhpyqDRG9wwaLYchAXclHBmKqLgCh4dZDt330KoIc
li+gLK1BO2W1X6mDVw+TSCM3KPxOEeFAkOIwxcaJH5DxRKkneZgZM0Wzyvm+R3I7031HYV8hogAk
O0qx3hfnHzJ+2Tg9nHwMDRk2M/xIeA3IATDlYZi85UtLvPqUqKpGfn+Z9BFy1IQXCCAEhl2SusnW
V3ze4IjA410621qwp0Zt5Y4gTtk1WClAdjwk0ixjvsPFIJeE7sPrpjB75tFgYg//Ut7vobdf42QM
oMo7pIXPuFfh0XK4x+igIHrBHw1hBqUDDl9cWLG0p7mW6NHx72gx45KGgTxMFIoZEBUMJPVxi4JA
54yaragBlpSQ/8iaSRM+G9iMJSIU8Id4CAjLsu9bgJgciv/t9CHeesSEtXzdpTBHLxh7NA6xRJJz
JuPXYGUwVMdblFUzBMlBTrjhfqlYezFYxDKnaPoqeF6Yl+uVbjnZ5qcmgKQ59w4a6CrVfhIQYP+P
0CWQyr8hwUAuQelElCKrFWP2jf8b/q2wbCfE1o8/cfo91s5mZogirAvBJQcxBi0C7qzb1Lnw6uRM
vHzArOcwgpdZIyCTYAo+mqrqcWKtBOCK29BeEziS6MZaK7t0X4LVz8d+acivYXEwZ7pVDebf/PCf
25CAWv1npc/fw3d/z+L9vxz9+8dqqr9H/5CpicDR/lfe6ZY8/MdmplT/fQvoLS3455f8O/sX/ytB
AJVSD32qx30kt//ayxT/K8Ta6BDUL1JYSHdwoO5/Zf8CrDJmgJiBbGOnJLbj/9deJizOox72FcQg
/APAo4jr/ZV7/MdDxC6qP//+73uZAoQI/34+EY3iCUgupKMQesH65P9GhVe23kE9YzmAGMjwOFRJ
jy0K23o38Y2lZOpBmsXoNUPfmFKY6LXqVwsgqMbc2/tRytDrIgmOzLvrSXO13KFU+W189ea2vYBH
C9IJqzEKbaLtGLGJ30oYJJDY+x03mDYGUIvOj67EosVD+o95oUgylMDwBYnbd2lWljkrP+pt+PQN
V1gNhfaJjqbKd4mm9m8P7n/4NLw/IPi/va74ZAHwe9iVhWQlRQQID+vv6QKk1sH+EoZ5PLBdjlVT
7Uu90Oa13rBjwOkFNQJ1P4u4BQ6IiOQhNMl8xlYn3N0JlyfhJXfhLF3eCcD8fo39TfOOTU6Vwt4D
ysEj2Gaq3zwEM7AWiptDWLkRWX0N0cgAflriusqjFSYVeC5MfXWNVVB1sIMpgaxdA2nNhmj+MnC/
TiXFhRxiFQMy++0DZ+svUFtBRmtsqaHx6uUQOnvssKgjGGmbBuoTBdhqACgmbscYwYQQ2za6GrPa
djMYsGmm3Pkosapl33O/w+9ag2jGzg+IZq7x63sK8utElWpeB8SyipE12y9UhBZeW7hfqDUkY42r
cgxM4pQwBPM18+YmX2YjT1aGZ4AiGs5uJNPIw2BeRb53ivQERW0Y7iqUkEwA7kmjYKSowMFQinaL
M257fA+0SPiqHU9CPDYVVuSQoHkJDc8CdB0pSKrU1V0IdS96Q1t8hepTYFZtc3T6v0eNKaLZnx3h
QNTnmwjamVSv5mA5ed7lzvMd2xpSNEVFGPZDzifQOLTFN4b9DBoW6exC1w3QpMpvSwiSIMU4KHQI
XPtB7qQrLbq6FPE/eJ6qQVeMGAfow/7IkI+ZLFpXr6+xmgUc5lh71UETNT0mG1HPsMz3JzGjvgsL
BSLp4/noI0gPNP13BawSj9iH8oMNBlhf1o7PnRlEYdmapJbyEsk/HxBztRe+t865jxdD/ruE/f+L
/39csPif+Hbs+YxRXAD/+6v/tcH/LQXBsf8sGf5jm99fX/hn+Nu/7dhDhhueaYj83i3HDZoUi/mS
f8U8Rl8XwssJ0STcAuN/FQDvXwhExwFH/xAjBe4jNfLnYj6sufdRLLCHGOv+kCHAor//iwLgebet
0v8sAQz1BEkx1Cj8fEh1/vPOqzrs9xkQ2UDyuQeg5tYiIsqdsRlKoXdKanTsIXaU6OVpFRBEQ+8U
VNMIyIRJ+BkGu5hwwa01VstMDile8aUHOBwavB6A7b4KzFXYutK9IJwDYhKYBKwP4f/2US9Ls9vg
rKi0AC7ryrx2MpyLIfGqIgrMb+FxeAXqW4wEZBYaAVgZ+07gRqlLuLg5ayOMOQPb+9wu8h2eG2zm
FYJUGlW32C3GtDKaoRrX3RoWFSbrkodx+6Ou/CCXVQXcUe1r6jZ5BWWLOReT0J1jI7kyuut7XW22
WPkAHJN+nwCXjfJLLeKHdWoyDSiLNOCaGSePLTKFMPsvNXM/9qQvsITj2LnqQTTs+xrOd39s8RvD
2PtErA2bWNrUYPFGwh8Sj32VQ/S63Zb1AZbOBzuRLBncLcAA2nKKtT01xHsh0v7C4p+vNUduW9dj
jR1eDiOD4tdhsE/SsiGdNvaLCI51GhLcKSOa5WJrnz3YRemEwml8VgjlHRuECMAsdM+Ub7HAHYxM
FLbIwSjQkNZn9O7cwkVEjfy6J3AbePLQTE2dmrF+FP5iMHpBAARXlUlZgzOkzXRafHZCqR/LIBi/
1g2gjRqD/bWFL+rdqKZ7F6K1h3JHnyOF5VFQ3bFlSHl+QRhHneqwtoLQsDpGzexfQNJhXFuqwhAP
UKdIHPnl17U5xANknWFEJtdE/XKaVjAUSUx3iUUgwwRiXaBJ5n2E9ZJASB+6FhGH0PfmXPElLOk0
YjXkzukPwxos+HI1zwWpRYkMUYVcgK/eRux0urRIZCExFmE+0Lj7R7Gqu26umnPThUnqYLJnRk5t
0eKNadYWUMTNHtbYnJj5w9ZfI6SAZzXFCF1E+uuGZuIXNipguJawDRoavm1wLW6ca5i2ar/jVI2l
18XsXkEWPIK++MCCvOfAhHOeSCvO3i1GAX7zF9TljIFIyuu4X99xeTwhcwq20RcPvYx5uQX8BR2N
d+dcOKL47T3kFUJflnoIcxfWr/CdvDNlyedE1Z7aus0hd39QEoSZqsYJ/6+oGLxkiMVhYt/O4LfP
sk9AMyWgKhh2OWEO+w00Hz2Q847OdALZaOykGvvwt96gm9s4/D00bZ/5CGen0sHibXv/zsDQGybt
8uWW+1la+xNrJmQK4qg+gKtDDGntfzRcZKTHEjeC0SYbdhzkJsQSwcVPLjMICuSICrQuWAHXuoL6
4btlyVr0PAFeZmeoFJGkORXih+ngfSGBbzJek5dGCkgUFFs16/GJ8Jkdhs58b9G5jjfOzoLrrdTF
wwWGRgVSpRogTJvDTHAMUcJTjj1kjYKqZt37GAwyFX3zPLrFy7BkMq8nXXZw3FLSew8V7vpyjUz4
WLlHAaZbyuZz6SiEsJ5925Tzim6uSR5jm1+683XPGqu/9AnX2JwXXY38bRaLYZfv+jRG9kTEbV1a
Msal1+vqtNlal6yhz6r1D7uEww3O9EqX2p7lbXkPfkIo3P4qsQCrvsxYf0RbLIvatwds1Th4DE2N
4QBBW/+DR1s5ztNJJft9q+ofTo9lNLQnOM93EdkOtPf+F3vntR23lXXdJzr/QDo4wG3lKlZgDrrB
ICkKOWc8/TdB2ZKstrv/vu87j2FLJqsQ9ll7rblunG58CCx5V6hqnYzVcfIG7FlIdGFYfIyMw8y7
WMl0FwunZHTqrRh3uZ6dBP7RxVDDPE7Yu5sdyIPRat+mBNm+NWyM2qglbh7ay5j0IakQKZ+aAHtp
Gk1gByMrIw3EFmg5Zum2z4rHphKrmlT8apTOxm7tGydKi6XTTOVaDepVdUQPw/rWVfFLp32NRpTb
mA1EWXUBM5R2DbCKz6u5OH146zlssBpyGTqviMXkj+cmy15SNdk7CwDjpp2VGFuY+yAWO3v0H2fb
G5vSODz72iwTaO0lcuKtkGW/DPw+WYbu7AEue4wDBIrRat3HsC+beeHT3uNrwWbZARVRsB/WxFgx
iafWuyOSWy2QV61THKU9XlI2UCsL1OUunyJtFTvDMgp1kj5delBhCuEnrb41qN/rIhxXMuzVIsWQ
FGree2/aLYeQmLiP08XXftHeVk3bLrusTC8c4vBgjuLO9aunSHrXOA7CK4X+tipH75QI/BDQ8jA0
Ze5Jpc7Jz0FKqg4JaV5EltlTS+AFl0X7OkX52pLo4H2S73I7vItrTkS5a27NXg5b3dP1TapCeXbH
kB/TlOWuIT7gNvGVrHn9+DK+SQ0um3JwD5oHU5b89rWqMamOogpZI5PdGrin8ENH66aJE3zUBZuO
aXgZhuy5N0S6NJoqWTS+vLf04JZKvXaVWbhjVVNBMe230HCTe9OKwJqJSe46J+ZFajEPhK3OusTn
11Ehx4uCgJuboylRkKfOQT58KD8/YAF5bnJ2QEg0iGnZ2rGRZkLiHFZvcRAo2dHx83KjDmJv1qc0
cPptj9Sy6L1AwUxsT87QXMd9/iQjr97DukJ4VRCwertkvVjchY7f4RdvTuMI0DY0ChcDc3RbeLqJ
fUU99GWwzxxx5TlVsMHyUi9SAQVZRCxUckI9LDGwqUf+Q1kaMR5azshdscMk/DXAA73op/gRhA9j
jeY7a6OfsmUaMbOMz54YyG5Z/jOrxeiC7h8vtJiFfYOb0GoZEAo9gOpbcjoBe3gHx+g+0TS15W2D
jiyN18LxZ5pI+Q0qTbXIDe8FY2h2SXmELwb2lCPPeQ7kDRAZEJ423vbesMrnViJS9fhekPqCy2Rq
LcitGqaj2ESsODGZwN5jI7zQWmVg9Nj7wrhue07eJW9eItnBqrWYICqDV3xMrmeMii9WmBg7N2ND
j4H81cQYQVQ9+1rG8txMplxK4s8EUconUpv1sjWL9mA0dhIvPJnsbCE2MvHNkFccAw0CfLL2C8t/
jAe9OxNxz5fN2DPTmg5rav8GVs7SyUmv+HpXvmh6wJuGKOeeMZYTOJFweMn1KLK3fgDKUZt1sJ3s
PjIWus1psZa9tRjH8lInnLVZtWi8WTIFkkAVLEbMbNu7OCYiKCd7Q7CTiLxH4eQ+41vfLLNSfC1G
zo9hnzov4eQ1L5Gys6XfldUlxhJNtkf7yjF4Dhj7JbltcdXkfMa+jkFcQnxOPZReNenY2TzwTjwc
dpiYLRxJxhMTIhJuHh+N0PD2Ze1O+ywjEDYl5ePoZ8ldIOK1EcXtyhGlWA8snFdpAXJ2wu4bYxRu
SepigrW25JmsVeXE2KU17JWclYNNkfBt8X1jDgydWak4+0nAM96q3vDKFa+j5HQwcoBIc7J8ffWE
WUdudavCrenLbpfP7uS4NT1Cr5PY5RYk3wbcpNs6yz6xdq2QLoEW7ruyMPwdFn+SmWkTbaA4t1gt
BHvLVknuRq1Z18pH0CntlFTc4K60qJSrLDa09YDnaTXhD1x72MbqQIeqhltx4wr7S+bHw57xnnSc
mQebzASsG4zZxYN5s8D7+1KO7P1xs79kknvYSNrVUJr5ym2nYg0BlHUlYOH+Sz9x/rFnDa33eO5Y
g/iSs8a8xsUZLBBAdijqj3oAflDZ/T3OvPtOyXtT4N0y63XpBOex6E6Ok900ccHCJCXdrWeuvepT
CLVGVKmdlKG3GyKtzRbpoO59376NXJdYhS4RbTB/w6PAjWaYERuJrgmufKtRS8/p7nqwDwzB9n0f
Eopfl5wBVoXhVasw7qxnNzDAAciuNZ/0Nr+LB0udW439WO0hdXkNE1fRceMSc803WZU8FFWRXWKV
9zeOGduPedu5Lyarx9s6dJHW6wa+KaD5YqnJOFu1oDq4edDJUIPeQp1ANeaU/rYTCbMHsftU6Pm+
1pPiXutDnglhYT37LDxg0eit/QTTNF6F9pQCpQ7kDhgAQnlqd+cQ2+YaEodgUNSb+6rs2w163FQv
hcLCPU7l2avCchOWfnVQLLE2XIEvxJ6u2VLYK0d1tY8eJvRDX6vgmLtBiKNPTASII3WO8oGTkl/0
4qocDKydzPTJAruOKFe1J7IVOwgMvJPt4ESMQY0oqxrvNKP1EY7g/dVtZmzNVHmLzG3TdcC0fpHY
8tdczcXOnvdm5BnludUTncNefcI8wCVZg4nl2ZHdiIYNksJTfVIsDi7ujEKJldgyH4xrJhUCj2WV
9+ui14pdowi5e46ennL27afBImKYpNptXAIoAfrlfejCw9c69Ezkyo61haNPmEZmNDImu/BssuLp
1XAdNxMaU+QcBSBnXi5nOiVm8FERE1brmvtUb7tNk0T6B84n3gpdZ8KVnlHNZiGfdXwEAIPLVTHj
nAHFdkdT2gAhP2nPwu3Jqc8E6BkFzfJK30cJ8dWKF/+eDY/1VMqSowA+qJjwzt3nAzYgXrMi1xIx
E5W31YydFoM78Pj2ek4yQKkBBG9rG6Czm2QsT2Z0dT2hMiw6nVzEJ9lazZDrDocVYhoGMT8nJidF
Od3En1jsqK5J/Je7JCvAl8zs7MGYOdrDjNQ2Yq9YV1Pobgi2R5cxDMhqqBnFHRpAuYdPPneY9/IM
1MRYBzPDWzYMpZjYDtBynK07k74JBX4ruwQr3kwB7/PJ2TufaHAfSLjn4p8wfEB8lV7fBmU7rIze
Jug408WzpLefSUhoO5k4wMcFjvgWGmbzUnewyRPLvvfNbI+HrrBWVo2rOMw5KakEqrmDG/qRa7pr
SRBj/bfKAkE7Fta+Cr6VvE9ZRznFNoeUPhTZpmTuXhoV/uMICsxa5+y7wAGH+WX2RuFCOHRhm51S
bJT+QPQcbBDxBqEfg2i8rXGwv5G+vOUT5AjjaON6ZKrdNokbrWVjJXexjbitRSy9sj5L3mhASPb4
8JdqxsX7ZMCW0sHbM1jRdRS1fHqffHlbb+q7LgY6L8L53s71razZ3dI0scCaeFObaisKvzlpU11c
Yf8iyIjNpZKMtBkc08dStISfE0zt6772/S+lKI419PhnK3Wsh9CH60/CEkiExdGQZ2l662sEuBLR
j7dpIBnPLN2/1seIkxtTphZ03gtE3nKFITpasbdlxOzM4cmzWlgXFiLFOrATexvDjQj4eIb0YgHr
+MKT5iWPy+TFDMuRvW6n3mtNY8MR8Jj2HQLrpOjwWObNE7acZtsORcdd1xyQo/h76gx9YIi+5VqV
bn2EvC8xTP4l/RBcvR2bmi4msbToldmdZ0sej38V3vdBynjbEFmBnZVt9LJM4JokwSZqXW3FzF7d
epbd7Wu6azh/kPEH0b1CYYnWg6snVxKP2P2nePo/pfk/KM2GNNFc/1lm/uf661lu/v6nf5TAgBCd
0ViYavEPOT+WjZTT6YapawQiNGXrSkeF/kNrpulFOS47QOCBmmsqVtR/SM0WfwrjIiF1QzdN/iP9
v5GaUa//RWlGAQccDtPERnhzfkMdqWA0xzrpzIUwNe+pmYBHbXrcPI+ffpKJ5PYyYz8HNUHgo/jF
WeLwzrrJnc64uL4jv46Nqa6kxyW4SNO+2BiVFj4AAatWmSHZ1NSy2gEcwAphBfOxcSiK508vSj2m
xZWTif6ulSp5qkKOrsxN5RbLiLf/9KgYgsPPlEcRUrWKX62i0O9w0qe7UnaUAWh5cPQARpfLpo2P
acJ020Ebuwlql26IIQgulZl7tyDJ6aZoDGsfOC7wN39ww5Vt8E+CldFdhYF/VUAJX2lZ6zxpzfQ+
9crftF54S9FIsJyS6ipyx26f+eRHsd6qc81pflPq9pAvugbCf+E271hhIX/ABHSM6L600m+qbub5
/q9mliRU4xdr8Ip7EscGeS+e1xBJ/PVoOOZzm/dnoivqqq+Qhw3EwgIkyp8+lzbGWpJi3zhCShpP
bVy8fvpdxhBPhRHZ7VJmNinkLCoEE2uinlKPdxyRGxMRN9vbUwOMO/tpgEFg79YO9O3TEPp8QSUf
TMspHb44hQp/Z4Bx4u49ZSP83QAj2hmpYAXt8RcXDBR7Psk82rIgLRdOlf/hhMnc3jmarb356YZR
oSBYghs6LplOOKKl8KbJ5C1M5fercXJpGeLUREXPGoM608Ok+bTc+IaizgEX7k5TfHJZkpFsm/ya
IxCRwncvT5uLDJV5l4EN6i4kWpqNXeT5gxgdi74bv7JWs6XGSyRe46SdkLOm9vXzL3OIWrJj6dxg
OaRdkMAdoMvjFFYiiud1orumCYHVicFxKIVSvzBEZqfnoPY43HiOtF8NHITHzpJ1uwMin1ECFDXT
WYm2/5DZ1H01MrYkC9xy4Zownf4xhFCL+LDjmyD1XtogufF0CRmgyLGeG94pNr1318oVKJRgK51x
QSCErQKWJURraoVWVeq/xx0VCQ1h+S92Qv6rKgQwJHjxaCsB4IXcsqp16JIJsdgQnQnq5Nt6EiZo
AsNcsFzC3tqViUFOLez8rwS7dd5ZjPSAaaEC5XZwq1VW/Vownq2MiJRvoPnk+CDnP0ZFlC78Rt9b
5E9AQ7HFAFDU1sDmemasnRoHjv7aQPGFb5AzZMU1Huy61S560OhbI8H010bGpa2MJ+Sg5kL67clO
fdZVBSC7XCl72deWu/SkjVESTgZPGNLPppZyOMSjbU9jTL6N2zAxAHw5QvFZBIqeIJYce9PgDCgn
H+0Q5hRUnDg37qU9keSkmWeVB329i5184oiL8r/SCmlsSN5gfSZBaS2UEzUd5+CxTeG6S+sk7CnZ
iUklb2PdYROzsjkCNZs13kdKqZap09jb2s1rXF/N3TRV3jM2PfOJdgw+cxnr71Km0Wqy5XuO2Wzt
B5ZJctmMtiZZGsKzfpvzA1mQnKIAAP9oMxE79BHdE9VRamm0UIrGnHOhwBndBqyvrOBJK9GJMBXL
Z2DoYl+KTNwqjmzE8yHZ8wwWJ80mTwbEByWqzF9yL52od8AT0WPdi2dsas8lo3G28zIsmWOhdQet
nrTNlGRPGN4p4ung+y65NGz4X6zHhYvbF6Clv5mmKbiY8OFBJUHDX8QhKj8Ye3GfGE1+IIubkMqK
GEhZG50T9olMUSgHUaK0L9gxYOyzFjRucuEWS0Lw2rNT989JXtHcUACa4SNKlnLU25c2HHhEJYPi
ssrO+kQgTauR7GYu/I4UAU4Bgk6nVLr1zp5K7WgpipzqIM/xjtfBTZow89Von0ANuERXqWdWJ9+G
XNfS2XJOXdIW5LjDA8eE6jnv4nJrSSCSbVp1V9RVzDsZLAN1ahan0Uj1RyQItcv0bpeobuQvDSNu
blLa3TXtA94bnHh6lwKwLyQ43nF56Ftv1uAcrrAlFB+0tJ5DjBeIAQoGWfGwbY5TZ+jPJRlbknWW
gyuj4w6jXuM4NhmqikhYJ+Il3XkN30IehfnKxvJ4HLuw+cLUPfCOYKYV4RzuBPCzSntNbsZJY+EJ
VWHjDRkHXAefyWiZ5jLym+IY6mzK7BHQiFXSD1JGaLNtpWiC8LvgCpad2udFYZwgWTRLPwmndZ6F
nMSzKDxUlWMfmEXdFU7E9soY6lNjKxpvbNalxBfFSbIJPvN19lSopESKhig+BrSNLvqUbyyG5P3g
S1W/OnaVHfBgDWvWwmKRCzGD/XkM2ajGW41o9RHxxVwCCvIu8JCTJ/BAXHVOUtlf2qox7xCVp6Ph
D8VdI3NEHVEo7wqHTLaRhEtPaZE8u6V2msgTr5LM0FAQSeL6pIB2WsGniWUMvcFO+RdkWta228cP
5pAT8mpIU2h+G9z0A98a7VPGErrojZKKcqs88FbDlBzQV5e9b2k3vsYaiO3GlsKxHX/gMUp9Y4nj
880L/ZbSExvGYOTQV1P5XJCWvPLKGqoc2BMeO/0WVR8qeFuEdyq35tSapiGE02m0nEwU2xxciAim
+C3WRxNimJNv2tHmiJH5FalZjPWJZtNS5e5NpiONdcTaZJm3JKWKWSDWp1NVtt4+8fUvWRSkBxlH
1RVPfoHNlodeBTZ22U3ZeZicD3/0juWgr8mcVEtPz8oN4RPJprZdtLaCxB71xrLNW4xpFq0z4JHl
TeqMxavQevOqmZrmGUXlIhyc1JoXDlfBSNlMz4W66K2OjhzBTtUgariPrTKi949FO3Tw5qwcMwIC
VsZMWqK66RLk12yI8nYRcgg3Weke2zJ99K3Q2bR5Tdayz/Qb5i21HKGhnay+fzfxdL24FlyafCyp
IvOIfeS8Za5NTNXbKpwOwhzN68rxoz0Bgm4mzLBaEi2qZO5pVEXZu0TzHiPiimwVRbaAkVrwOQbj
9SSs605rBRxN5Z6ILVJ4UTrq4mVOfJEmigoAt7uBTqaXxo8cJNKyXMeJm+w9BMdFnaTvZIrs61E3
odCaVr3rbTS+3KWSqOSVi29ehoDzaqFH73wMEyJRm+zLuRORVIXNJ5fvhpi+xI7ixAbGyFpE4Vs1
dyqGCT050GD1g5+nj27UmIe4o4OxYZ9Npt+kmRGEynRiOdytSy9Ceu3diu1mmS+jKkw2zEF7zJS0
D86Nj/Yo52XNvAExHJ4dTbLuKIi05/YkZmj3VrFlp5wsIweu2Xiu0Mqbm4jsik2v4KIws1Wi6MSQ
A+0YlKYMBGRozCirsN/4JS0a6dynUTGW3I0VzXC5pG2Dnhq2EXMDBzsY9y6eWzl4kPMMTpQznVlW
UmTUpvZ6SkO5dqn0KOduD3aUD3rZ19uOfAMmNkc/sGWoXyK/5wbHGRjtOLBRFqLxqkQecOglEcAX
i2LqFkhUwQnmZrzqOzu5DoYY9hpvKpLKbwzUwSo0eGhoc1eJR2kJ9J/xw9Ib64Gh1lsVFv0mSIWA
Y2VEpofYTP7RhtqwT4NOX3lEvDVvrklhLCUgoc3tKUQj2gPePh2WAzfngB994xvs5skoLZyx9W8K
irEeLUsXtzQp0VsSDtT1pWrYlHH2KLU0Og6RXeDlC2lOVJ+MCCE0XG6QEcmYsMqJBnKXLW62lAVK
ae3KjJkwYjXgBI3cNEiAoG5YY7l2SFHNNOnjIlOsPxd97xvHGMbIle1XUGP10j+6VRM9Eu3SwMKG
POanwSuPtT62J62TNtIGqlne9LRGVqMf8RgxaqRp8MUEObBxclz+FpCNu2LZ+vQPSRAjfw7JTOOj
/xEG0Wu9WXVJ1773fVLjAyrVg6+3w4sdqKfPZEjvmMbViAC5RHitzVOaZdx0Vh+sMB/9nhHB7lsd
HfwCd/8mIzLUiXjSg8o7/3NOZOipDg0txZBhTpG1+p4YweUVbgyMNh/A+l1OIKq48scyfWZv5zwb
DasOg33ibWqRsO1gxbRLzW3YxCVhtvcDDklR0nojuw1/2vxduIQlnbbW0cYYrD4pPGESgwgODflC
lKfak8IfXnhS1ftf4iZZBetnUXjCuf3MnATQOpd1lZukHn4ET2pmO+i+cYhy2wZqrzshOuwcQVHM
MlvXTaP7HzEUjS/jgCH+PeDtev2LrvJ3BuDZ3/sX/+93pjmdOwr/Naj4v3rh2r8yzfvOHQ5ohjo9
FZ44f4LNsXucfbrRzqzccn6xIlgNegyqSMrt/+Swz1Ll/yCHObSgIEX98s39q+f+o+Kq/NWm/+MP
/SGEUS9vaw4yGCZOU+k/TZc6/nkc7xje/zBW/tKGjFMTC56kSUMnrkH3/A8lTBr/zyTAQdcE+HRp
G/9V4Y75L1fZHAkh026YEkFD//0qsxMlJNDvFquBRzenZB1tKY4HPMUH9nJA1AiWhnhADB0AMexR
wv8c1z3nYkcFwCLoKKhFhxg80cypXGmWWBMYc1Zq8hPKvJxpQzmFuSDMCq2u7l4cHIeHMpB7gmO3
epniOmm2Ea/+ZTpiGyJRv5uj2798JX9zM/0ONode/Zff8rdoQdOOFTS2uGXfw9xXad4NMWe8gh0I
Qyrhyt6MaLRIjv/+/2r+a4kHlHvyNpY+pyMg2P9GOe+d0BuTFoSJCsdnvy6ggUE2tAs+USb8dN4h
EwovUxQ4jnaboWDpiQkCtlT5FOh3I+M7b53wwW7MB8z/nFNnG+IQKJJfTGxOARAk2dB38h6EE5MJ
WIUqi784FgpJVwYGVkzktrbu176Z3PYAQRacyPHixTGnBvdrHSP5x8bTZNb3Vmfai0xXr3YwJ/jN
9GzFY3htaAJCbO696EHw2BjGt8aLDQiH1IGV2UehAgv/qEZZrT6V21HzrNUnYwT3MUk7HY6eW6VH
3uPPehwf8AWu2tGt2QJPbD+D6gsO9Of5L0onTrZTFDgr18TAoQtcTbX9uT8reVNlwU3sK2dZ6nV4
QkG2rsdQ/xY5dreWZUBo2J7AvOu1B5QUwC/W4PGGkqnuRoJVYWg19LUbJBSvNc2jpsEbgTkNhjfO
nZk/imYoIWyIiUV85FkeZwj/2SNwu5w4qfDDJFQktEFwhe1oQHXqxDoNNIPVZ4R1xMpvXd4+Qe9Z
8ANoDuQXoJQVTtYkO9yWOJvsrofsm/cb7jIsFfkYrKOEk1Y2Ff3SgyrNycsvryvO5yiq/r07XxKI
yKyXmy7dEu4fjk4Y+NuateGK7xqDRpccPn8caQnClta3Nv8G0KU/9ZWSAK9D8h2N9lqlprWyFUxk
4Rj2GoL+ngtyfA2b9pw6knSnq5GHHcx7p4OJJ3U7ZKsESyOy8U9xokQpKtNoZwXscVhehXA7sOXV
NPhawO2MKLmhvKU6Vk5i7Bui5luTO3j+RumzBBDogioW0USbK5cZIHz0BROi83zh2a3ZrmIPh5+d
oLd2ei03FCLh1ijDBiBXSgdsknJi5c6ShPemUy6906iLtyavgFgYFGiMI5WnHIB8hIsaNHTUeSfL
Ma55FN0NCYvkzgzRCcvkiw8IKHWDR6hTF91t3hwvRLz1kCsklHIUCefSW/aj2WObUe6ui5iWZed+
MG7pC3+s7WWTdlh3oXr6MY6QzqvkTGJaW9H4xJglll5Q3mlZWVw7ASbiqqaZpwxYHmgIYTwDUVkR
c7MmKjaxss7pZD/HWJ8WY+uda9Pdgbh87IX+zUysK9l1eIa9AIOJt0SzqvgFcazTdH3qCz4gBz/G
8Il/AX3rYqiJZI4KWfHtDAE1i+0hKKjTUP6UwAfKnEUUcseLKtiVI3pL5kGsBrxyNZawh4AGndqw
CK5CiqiOpdbR98o7j9hl05ymJnC2RoFnOvdJnvghcP9oaIaLB9/LFk33kHv0yrDKdb/S0mjvsQr5
u76bikUdESBiBdFhMk8e0WOqJ2Teh4m84MJp2u6xK3gVYBXABTLF1bbNbUF+FnTLwun0YW1Dj1qA
GCk3smvih/lqhoBXv5NWxNbc2vQ3x/ZB01t+6aGiPSNXNw28MC995jDK0tcvm5Xt0cwJXPHad0G2
97l/zgBEL9WESbt1vPp778r/9ob/aVBitjEsRtR/tzocP6q/Dkp//qEfg5JD/5J0Ld0kDufOIcTv
6RSCi4o52LXImMwRRefnxpAIiiSmi6OGlqH53/wclFgZGuhPLA0RZPT/dlKaR4Rfx3GDPB7JGVIw
JmoMP+Jfx3Gl2RACLYfQfFuRGnjohm3svItK+34FEV79+xikoX12n/z1f0UHizEHcixNk8Ru/vq/
+tmNYut2K+aqkYyy7c+GFMRK6xoXGK9spzaAQtEO8XtLSqyHcl9AgSZQ7LYrz5fyKDrP/aMpxTZ1
ItUZKmpWWQYpteDDKc0BB5gSXzGZ4s7+WZcCzyDolvk0OV9stLEdJQQ0pXiF9hSZvoRoGhtMbzZY
cGHEjI76hIjYNsFJFMwzcmiqP/pSGkvvrhtSi1QhjXDTFWQrBLCoPlVxg0E9JHi88NJ6XLlz2bNT
mDh1sZSTJiHSfFvW81aJvYJ2ED0h7l86VEbP7t76si9XqmsF0QtTwx4eGtP3MpUMzNTZnkJ1VVKm
Cqs3wxLqTYG6tqEvoqXW45PfJdklgLu71EeAlkJJbfPZtiLsxFkXemoQ+DDAyTSsfb/3rrjsRtct
UbivHfB5fv3fGliSwAxR5Hh4Ym5ENtd1ohs2r5Eri0FhJKBAFS1X7p+9LFFYxEy/+D/XdAyZZ71n
nKJ/IzuRzS33heYZL3hgjYtT9vyTU/I21vASphC2UVL+fXsLJ/moWjlmmH6wl0s3QT99+W9rXIIo
H1e98Hu5JgSwMTXc+XRmslDU6r8Wukw1Xe7c4HLR9Za2F+yod7/UuxRuDoLODYYVulR5IY7xYWe5
PHx2vfT9Y6ehc5tQ32cffHuE35HvU+7+cuFH5s61KYoAcQMRIsQ8Ixor/ij9PL8q6t58Te0emNc/
9b4QOUbZI3i78k18cp0xCUBhRXvJBgotPgtgYnjOG1l4/1QCY+guywOGze7XEhhWsrpOPlOU30tg
0CnDtSAtubEns+K69qf2o/tRBAN4T6ysZC6yDmHOIulV36iOMF+mcmTRl8fdGJ7hP3z70Q3j8lrf
SfJ0m4p1LkZaIxxvfq2KGUe72bkGLaar1NLwwDaNCe1Ua+5+FsbETQmQNQw+qh5/YwTJbw325+W3
vpigL5iECrJqRGfzW8cobj/LYwyjQPUWgm4YnrgjO06JUfC3BhlEw7Up463DKUNjQ6dxkggFQGHg
zhEAWXPGz3SBw9z3/9UlM+QGZWXs2a9+65MpWzc4xhOBuh+dMjbAjNrVzrmhHcs62AtVbnqH4K5X
7SnUuPxtw8zg2RulqdfedXeyevrZM4Nl6Umm1U4AsP61aibG0HkVYtDfdqY7XdHz7L6LKfSeMt4a
I3htu9+NHhU+E0vMy8/yGU+Tr2Gn4fibR0I7vKAKBOBuNp81NMTa7AcncPLfKmhqrXnQWF1cA9gY
lobysYRi/l8nQ0tqLKn3aBHdImutAVTG9zYawUmajvk3NVnhvpW0NgXDqL1G03RTN/W6KHvO9SHh
hdIomiM8XjzRrbxwRC7XqUfob5g7atLWPWYRGGzrFA1987OmJg3zhyF55vREBCDeVqToGyc6Uloj
6n5fNzhAKa4xfBtMRjXMYCHMAskGUOZ7kG7VH/U1QTrdYr7g0s8/PltsQtoMrOhNN3EGApbQwvzU
g+VCpO6WRRDheSbOTICQOM8aR7SBF97L7ieKZyxjK419qz1nNNTjNufuFupU+gfXf7Nzlq4m6/Fa
/zaQ6NH1F10Th9HbKOj4SLdwyzgn0ezCWZNq7vyj5j7T6nXTMaDLN+XVpxj0aGcb1cIYnOMAQtmN
4ncvkvd0HQEdGFRMDFFs8UoczZS+B9X7x5/dORlMdOwHrBfMW7e2jsS64cX53pq9C5nUEvavIVaf
NToVB/E13sKZ6AUr9aDjoYZVmLMdPQxmswOQhbfRTa8ygRM8mizydvi/A3veCG+rP3t1qlLfdwqq
ZJ0Yh5QewJ2hsAZPxPwXjc6c3NawX8JBrrweN7vg5x/acVe4pGTKbk084XUi3Sf05EHobwOOFwyp
w7UXE2vH67mrYhIrrXcZPH9jwDRi4ZfttAgmWZ1cUjudVyTs8QuMfIGfvCWZ+uLhEgRa+JeGnqQI
nsocwDH00psyOXcGRRrqgejpLz09UeUCVqQfKdHAvfMTd7gxYh1SWvotH4Ct/dna00Pud+Jx26bX
roYrnX0JOQdKcfihY7fzcVahU0SECsV6LvNBD3BuChIkG9vmsxKYOdpuIOqk+SluVXnoeQzu5uPs
WiddtIy9tlrSow4BoUU8QMIg12o5D2EW38zNP1FoUcycJ9kmK9X+R/uPm7J441+HdGKdPluA2ohT
ZZOd5yagUce6G7TuFT7rdebgO3UcSLRs/TVZbzPF2TAnLxfo2iFmHew45l1C/i9KXTQ5ihpS/5KA
llqBdvyWmxzHCFotau82tPVF7etrTBo7w7x33RsREqCDldGRNggAQQVZhyOfMJLP8gDew9wnxKto
laQVbUSi/kJK4lHOtUIDlqoVdhHrbJRnUeZ3PEJgLRjHMC7bTa5YktBI2CNkjfvO9U4ZztNV6Loc
NoVzsG130wXinEdcyz/qhsCAok7hO13avfM18ftznORPnFX9Raqpeq3CbZdBvrKvTPCwqpQfWuCf
G9+7LvsntC9tZ7bsti3aATIH23EpNwYKCvSfGzgJ0c4j50GCp/qsJ3JjpQ6ys/YOP3RR24fCmPaD
w7jbo1SGQWG/2gMEPyfquPvmpqKoU8WlhNdNilIuvK7rbiYzXVaBHdwHMaHpi78yqcBx5Jm02GEK
BMmBdJkPhNOJ65jlTQMJKHD59tLF6T7M5bohHC7ucnNDCND4XnZUDmSPHWttAInnufxYp0/9BL7V
j3Zz+5FuGEAqk52uYfhJil1kHsEGskdzt8WQrob/Y+88liNH0mz9Lnc9aINDOIDF3YRWJIMik2ID
YyaT0Mqh8fT3c1bVdLW6ZbOfTVtZlxXJiEC4/+Kc7/AD2WLimrrG7vtQvo39HeKDbQLCnY/5R6G+
kXFwzHIWUlGHn6oi8iUdHxUM2KPJUwqAf0l46PHwUL4+wjtBvthsu/73/KRmmh8qEUCVvxQZTyXV
4q3lDmvw4He4cX/WEmuQ2cpPO5iBvMdbO9bDr+TQLk825A0g+DpkKeBB8Rw4kWR1jbmHMqbZguhU
7rjXsUtmz1iORmqKZvTz/y59KbRhpfbjTcxJ8ZXAVMM6Xl5wAXnqbMnXcDql5tUJf6Vkr5bOd3iV
O88ljMI1zuV8yJYT0QAEhFHymsfBgbBJGArLoXPZnUTLoQ76eB37jErq4pb1az4lK7REa4SR2L3o
CRC7tfZL3SUMEKxL1O+t0V8ty6/CKn/EfLK+/QmNCp9DPWvzEMRqScaIzxj293ynsJ/fZ6m+Ip6s
wgQgycQdS4j3RtlHb+d3p7+KeyqkUZ41EjkjtUfV/tDtFrx8QF9+/UPqU8Y7jGxrZXdtcuzw7WwF
W7a1YxJgNGYxM7SIuTAS23/KgQqn0PsuReydu0xe8e+da/zwhLwwZamOgKo+s0nTxNRIdl4q7O+x
OR79ul+N0nG3dv97RJTQ5MrROHUIKbdGBPmbKm2gglpOfvjgw4o0g8sounOdBXcFcvLmxQrLS0yK
VGkxgw2bUO2nEsBXZ742fC+9n27ZfApvVOsiRmcCm/FCRtVbi2UcDBx5ulrjhj6s6T6kdPduNa0y
uCkVjJcx6G6qGHPJRi3Ij5rwY1Ez/L3q0gTOxQjPUSIxnCYMxn/iJVm141PiX8f6l3K7syPns9NE
D60sEOBJmDlmcALh36xEg9dFVhvBGFXUR6tNb1SUY+zFq5nKE3m6jvQB9o+vVUHMSEFK0V7G13os
T5n10hpMh02fYMPMeKrqN8EiurHiR4X7aGI6XXrntjU2+RBeeklAaev8MOz8vpQ3nAUk0MBOw+gZ
h2dLDzFbZpfA9dGgyceKGbia4JjlxDjDQQfUipLY6DZ+7N1Ld3moVPeoanHwltewQpFPIbEu1bAJ
/N6Ei9fdoSzY+/m0NdQpq36NiyFQ9S3vVh5Hq99isvidrkZwOA2zOB6/CXADy1FDQCwmNaslKYdl
/2Ycn6n4vpKz0vgyjQP2sO9xcLAZZw7ZW+p9F/4OXSgTQz7FWnDf0oH58X1nRB+9cfDnZeNV0xtT
CAhD4vGPeK18BtEsAauZ2WZQd0bIPwYWNY158uMPA6ZfEM9rUE0Qn4PeOAZAedtSvKkq2JaklFER
uRwOVvQBovtD0vvNQXlREssRQN3/DuGKvc9xrM5kK6xc89GB+opce7U05k8PG3Sg1UvBpVnIZfRi
CKPvI08uwnFSa3dDI2+iBY0l2sFwxHHrFOslYuVMom6E71i6WIIkytJhtcj3AceghzIrrN6JdyRF
ayCzqVnPFX5BjksTEMfSqRZjnidxvv49z2uerAuLkvXSjz/q0GcLkW89cXV/j/byIGi5/Wmcu3OB
4wq3zcXBjCGvXctePT3IcDnKuDr3DbFBlrGN44fAmL9pzFAyAWJ1y/tkxF4zS/89QXteDwm4AOHA
BQFAmRn51ormS5aQQ1fV7bUFZDtHGKhmdJ6E3XDlfAWChaK6Terx7Do/dSxYT9DVBaMTtwcu2bmI
vENoUMk1VDh2+MNf8qcCMHqLArzqfnq0FlgT174THxZm2GNM8ke8CZrw4GO0M3bOdNPQ/nfJFmo2
B3JR7wtvF84v/cTcWm4k9eXKFo9TE62boP5BnAnF9LhQZoShBapj4vHuJRqcAd0Zxh3WaiQZ2JfR
rfJDWhLmiXe32yHfSSjYa3zpXo6nPv4VxX547JDlEDnsYXAd4U2Rm4QTslpM3O2ozyonS84ZbEGI
DuV9LLJkP0HGyCTrFgdWRqyhGZ1c+o2g0pbwNNjoYIrViA17SC6JpRicZyltWAnZpUAnzEAkqZmn
yd2szYkqL6xDrqxvsAvxVhvZOH9yig+XMBQzE5cwh759dnJcSsmsT84g/sxERCiQQbhLn2f9UQ7U
lCYIX1hOYEXoCF1MRH2LggzoSKPxI9FiVd+QPIZ3sikT7BGgaJ2smM85/FSsWQGNdko6VZp1rBk0
4iSr8vpWTmybYA0HK7cVJFGViZtDq6ghVTEfAIxTIbT2NECF5JdxTweb7dBF5hck2NUnVie4ssVb
R818DjWJBY2WXqeAXQCJbG2VJAJybujwsEYwGVR9tosC/yb7QrxEfdZe8aOiTAYA08Ns3fUgYcjv
AzKhKTEdvRVqOIURGYLMhPOaxSQ6UuAyJg08A54XX1Nn4KHjzCZBjnVJm+zDofopvjA1ZNY8JJpc
Q+dwGBdn28hya32xbQg8kpp2g2iabUzqkYBoWb+WjijEIh/u49q9lpqWM+QFql5N0InU/LKQLRG4
y6Nc0gnlCrwSntZu1Rgtbl1MnKNm8gChpvr0XzBqVfkppRMuPee+cUD5WMBtVx10H6ynBI2wTYL6
Q1AL6+CRu02cM6hAswseSDI6XfUivgvkr2SofznghAawQsEIEkIMRXUjhzC8tmGS0cPCIVqG8loy
Vl1VmlGE9eLBIDKOAEbYRU6ENa9H5Y2buHS2s6OVYWiNdrMqe6KA7YQ1nwYhdcNSHGH63NmalITi
9NrmdCrVzLIzKa1mzd7tMQawFFgDMqFsT3cfbtt6brfYecen8gvKxKDHPkE17HcQOFisxY+l5jcx
LWAxFgJ1ijXdKZDuC/KxaJX59squoudyGG/hAbGTKxg3oDrOMAvfO5oaxSyTVjl5MuL7IJjlbvoC
TMWdVZ1dTZ0qwU+1JPKSUoS/bNZOM0qudNtr95mrbWjaj0b8wHCU2qOWabcaqvB457Kc3fjayzZo
Vxv6Cnr1tEqfwi/PG3nTt+OXES4a8cQluKs3ufbJobRI32oT7xwK0M9sUOQwal8d+y9Sw1L6He25
MzHf9dqFF2s/nqmdeW00hJuwwq3naN9eFTv5a4+Vz9WevkC7+/Ivo19XoM53tfuPlg8j4Igl0Pky
BzILJS/B145B7R0EckhUEHbC3iXltLCQZhdcsQ8gBh1yQvEfsp3FD6o9iUj0u33VDM63VgTJy1xX
l4j83tcqF/YJ9hb7vMxsx2/90hGQ6ixGe5wJ6bI2kRVjqh4K65YFcbx3JMEOgeHoGNESXahXJ0Se
WvaekMSGMCiJvAnSFed0w9c3E6G/C5x0uW2Tvnn0lGE+KH43MhL7jMLDvVhiFLQcASD62cDSG7vo
WhbyYxj6N8XOLfxr62CfZpvOCKmZ3j0vJrYw83NcTq14XURRb4SNkSK2Z3Wf2eBtJ1H0R3uwf9po
g28K4LMo+zOXjymKN+CHx03NT4FvzViF4O14M7dzdjIchbSRyfUHg4Np3+DdMA5lOfnIFslnf0Ek
Hh4qk+yFOW0JJYnc6or6l+uwzGCwDJ1mdDQltSv4wLvUyUz207Z/H/RZ814DbTLSfFgLf8xQ3HDc
LwFjI8Ncsk9GAtndaHlEy9jlwYcizN9RTJ+xaMfvRFSGzLa85Q7WIlkDMgRzU40/6/DFbRp73VOT
fvqkV2+BP8uLxcpma9ZhvwrAb56wZGMmEt1AQVMOm3ZArTAPPPhGRIVGHLH5zL4E0/UC/sEAuIvC
upUAAzjNFJPQX6UXNocCWsFaR5AdahRu69qbnsY4e+yLmnlcOmZHt2KR4DvzuPs65xy28LzlrXkh
OgAEZJKNr2YVvVf1YFKlEP6CK6lEXEQIF1k90V3VB1w5g8cksCghu3Bj3s9W/ZOh9C+OsAWCQj+S
6l1ajI+M5ezbk8VAzubOmNP+Z9zoOMsiua+dEc9bPzqf5dJGt62RZT/zL4Hy3E2o1R1tFRq0grno
o+4gAUChiELf3MrqJ9cFTyKWhiO252Zr4epBxV1Or8DTzEfWa+tAq6aBjft3qhQTPTqaajPkvLJD
/61QZnmdtPIaphUTLa3GLpBlW8izK63TLgbuIx8fymoe+0GnU6XH1Ajsq7GYJ0drvWut+m60/rvW
SnBELgaqc9ThVYHhT+vF/br01l6T+w/REjRPhUkWawCdzFvMrecQEkzdgAS9FojRM/TYO5ayKUZC
I7sZuc5KcL/rbuzCdap17MjeEN5qbTuEPZ4yrXePtPJ90Rp4TBcApXjwOBOgKMNApdiwp7dejN2D
rXX0nVbUQyq31k404NIAr7lHADVxIo+bYaIDtH0ImRIKgCM+kzC9ta3UxF/JWk1KPHi54SfnvPW6
ExzT97F05LEtDCTffE7bxOzzNWuWfrs01RXjPMPxIEDCb2RQZnmWqHOqYpdlmJN4iNW5Zu+1KwXI
FpIzSKvTfgT5ZU1wRJA9JmmL5lm23T7OPNQ71JToiM62djdANjBPQTqlP6rGRHbtd9NL3TM9K5SI
d3NjWmthRy9BVBeHOCVBp9BeC0u7LhIzyL4lM8hcti1OdtHn+rZkSXoMSgwrCOCHdcEJux0GZkUW
K0gchhy4vAOJcFb1ZPlPPlF6bxUZrSW5yFhGWs8M79q5tcH/sGhztbUEeBt0FCJNNjjyBhZtWLOY
AhPOuGqHGByhx1mL1hy/k9+NG0f7WRoOrZussxkOFV1gnCKITFewIA58e1wxpfbHIPufyQhArVRq
9wxEdO+YaUeNRX7mqdYuG1v7beYGN2qsPTiFbOTJItV6a86QFmceCO50XDtNVMv7XDt5lPb05LPm
ydYRY0Dt+Jm+vD/aBcTvBnyinUHw1nCSfbmFJDQWTs0L93Ja6NG5T3fIP5V2JV4SR9GlzqxwtQuJ
k55Bh3YmtQ4dWdDhVnK1b0lZzc9IO5ninkDaULubwmkZeHi05Sn7sj+lMeEFYvYOk/ZGIb2qb2Lt
lwJ0olad9lDZ2k1VDviqKGjVC4K35NR7I5M87b+K+rGFYt+pm8wAlKe+jFohzM69p91bTC2rnWPw
Wbj0o4TN4vIim8O6MQE6IAHCA7a0uMHqqSfjxMlvSePyDpY2+DraPRZpH5nKedMy7S1rje7FULjN
HIGPIdUONDAnSN1s2ZpvU905h0J71aJi4rjR/jVOB+3uwtOGFN54yrq2OZhhiuXN0e43YL3xXWTi
iItCvHEmKH2GZ5TiFHhynX+Z6EqZPS/aV0eSzHAKtNeuNYN0Q+YpBrzhy4yHR4i9jjA4kL38NdPf
yUW791pmrTci4aoiFLfa1Nrl1/eVcZy0889nMvc0mt97k8Db1Is2fIPUpkdVtmpapsD8PVn+VJIJ
RUuivYW5dhnabVEdVELHuxLahRjNOIqcuhDbGYuio72KbIwBNQKZ2ovatJ4RicCjVOpRaZdjrv2O
c1/z+rQH0v6yQ05f1shQuySXqs0PtnZOxl8mSvllqOy/zJVS+yzbabZ2qfZe+gRdhetKVe1hsnl9
MAqji1o88eRFpX1wvkycCCfqbYmxE6aHt2PPOvJpat9n0hoYTLQXdCKuY416rtiVCOR34IphU2Ie
HcsgAKKJnzTWzlJXe0wFZtNkpqjosJ+Sy3fX41Mhr4YHfp6J+aD/nU+GAc4SOWKlzlCLWk70YjjA
+MXiinYVu6sD9YKRNyZYTuZmG6L5uk20Q5aQhOy+0a5ZU9bte7HQQaAAwuCDsXTja58tHgoDe482
36rYIjWXz91mkctgSway3DszLWWsvbst1jjFwh5Hb+ag6mu1y3dW4Fj4ullvufYAZ7H6CEIIYSHy
xNUQLtl7skQ2bxHTrS8XMXbiHFtx2QbeHVQiGK9xet8yR9Fa2YkpUZY414okhn7vs1K+l7yG75xc
NDdYLRHAMZJJSE9+ch1lHnvsy0TzMhrgTZ/2FrhYYQfGw2CiCRF1OX/LZyu7+4oXqLNQvGSB3Z0N
K6StnSBhLJVvb4XVcZ115XQdqrK5S0b3eUAiiEqae2GqLWvdhYsFQMcmcstL+B+YjYdQWdVjM9vT
77EDHWEs+9ryituqjj5DtMf3HlO/hwh95CHKlCDWmhbiK4dA1kTDUt77954F6I5acpOym9BZBOYV
nThBMW2VMiKhtYPFmPS/0c3/Vyb3lzI5B3EE6vT/j0xOvZcfv8ofvYr+wVRg/f5f/q6VczAVWFi0
pOP5liccfuZvWjkh/sZkCqiG9GxEb1+/7Q+Ss/03l7hDx8NQYqIuwzrwB17DFX+z+f/R3EHdCBDT
+f8TvAYxLf/iK/DxPASCH4RVgT2fVuT/fH+AUN3+3/8j/quREwImzrq1Qw+6ItWOk66GOZnQ4CHv
oli7C2vy3uu6zhM0ddn05KA1PmZdSO+TWp9FolJaGsc694sS+7zxWZK1RYQCF0fsZDivU4Og38PQ
TpYIabvYgeIXaIdQZOxlrer+xdRJc45u+k3ySfZ9+ZFyKHjpWG+7DrmZzcLqjqK0Xzc0bhEQoMee
iRR1McnqRZXDXlJTDh0SO3ch2uAmMo3iSSEaP5Ai1l1GeMJ6hdZwZdZCvZu1J96pdPt4XafhsqFl
a9aTYWd3XTAv7j6L7eVAVuSybmrq0dUyG+4+lkr9gqJRb70x6PezT+pMkKXUtmXxHhhVrwfl3VNd
onXcVF3TPeW5rt3z2nnEVlZtqAyT7wObP/g7Xh8D26rDXZT2xALb9vSNFBP1VFA0rJE8eNuYjDBj
P0YqOxiMrvdmb/BCUqu9l1JJlBc2RV+Ca/IsptLeQDsB/BAvCgpSHPqvOZFabGm7CcL8LOu3uhzg
dKFOeYtRxX9vhg7hL6ps/oJwdjNaBvXJWW8xC5+AqRKmldp0KlW5IPLOx5uhhCpFVFsGw8q8IpUj
sC6gV/JGIG2JP4sbEm2uKJGAO6oMab3JHlso9d4qIhDnibuQQpMxXv/2pyBrRkfJmsD4dh2n8ioM
6+23VOtYehEalAKKVO89+1RCx5bNPmrBZtip1Mu3hONEl55c2yOiow/P63/LueZlH43cuEkWcZod
J1l7Q0mR0ZRrK2ACkqth+i35WvHTuklGNwsSiUYvZ2QhyO6jX60g0Z5dyHlv4D4eiRl9DrLxIR3L
swh7cHF1cjYURmadkJ3NFrueNt0WbJao80G9TRLwIVG/obzalHssFSpUCkkJ9cF657lG4G43+85o
zrPndGwZseuuCJxHf24TAU4XQMItSOefWZSXR8caq33ugXJ10R0osKG7XEbv/dCzPy5z2Aitf2/A
o7ksoF0hsSXH2reYSkfFJzo3zJvOUGzIB6fbf8WMuZdJdVXZ5O8xSmoNKHLTkXFmkppIzqwDucqP
JURXs4VCCSF2yvt9rpI3FPbnMRoe/T/CuY2k3jOPfgAXuv8K6B6M6WLVVHMGNQgS3HvwQJAELfRC
iApy7lorjLeVS0q3bxxsgtuW4PUrw7tIUWHZP75ivBmrXyfvDukZrDvP/PhK9K6pTTfR0l6SMN4M
i/+ZBPa91QUteqF0g+xoi8VdMVwrD6IIzlAvtl3EfrUuwiMN4IiSQ/xKaBom395Zc/9p9c4d5Ppi
77v+u1XP6iqUQRx1BP09N8HO+bspgLaHzuB9CZanPrABGhQ+vGpp9luAG1c4nT7VirgRXf0xeu0+
XsxNI2LUA72D34DVHcuiNIvrvTk7L/Hg7Pvos63kBWPWR18r/Y1mdGJ3xabVFqMxNMOb/veEceBu
jwNl3ZJnyzoxFhaT1MGpsndx3JwBUZyE6xwF2mCqlq1V1xc/Jg1laF4AvKysYtn20t3KIkETV2bZ
OpjyU80CAhfvxWjm8VAFE6QEoNPKejAdLKxjUQSfjnRK1BFVyxh9OKceteExq+qA4QwReV5GiR4k
RUIUcI/qpvDO/rAAIa+a526yqzWufUg6FjmFaUNFH+EvnshnrwRC4TBls5pX98USvWQkihIQT0ho
fYlGe5sVqUNOlv0tTMHueOHV6oPiwbMZKnDoP0miib9omAQcTy8jI5PMYa6AcFWcl3y0eZQlQqj/
kIVeUrKj6E08JIgNvQma62lOCZD2mxiRDcKDvviWDnCh2tbckg3cv6KBPIZlIT562MeYHPr0dpjw
Yy9N/R4kRP9CQ42DHXcQ7SIjovQzGQcaNmd4CnSkcoiBa0/SNYfk7LnaQd0u6X0CxmdvOIb53ciT
8HGSsdgldtw92bA5gTwBSjhyL0DXQ2L0gQ7R/1D9vBzVgiLMMJXNXMyOaMRt+1LlY2bhFMpkvPY6
pjoz7BKcR+64M02iBqNE3HeDASJZFevIYJPXpOIwduSApEgZwhVHwYfjFfZO8VRDe3Rznqye+1pO
/oewTOSAQyanjR0bP6oIKJ0RVTDyAFq8FXbEwkuHrowpm1cxMvyrHLarbQ/TbtXZlrxTNLPvaoJ5
HnXJcGycOLgXZppxJGbmcyhDEzsboOxVX5dPOKq+df7wFii5twAsnQteAxMyjsIddXK6zZIpW1c6
MqJ1CLSLW9/YQmPxt1BuGbEsDkwQz6g2owK1C3dv8cL4MnOOswpr89uK3vI0TE0Dz9uf0dSYNk0j
2MYU1P16alw0Wwig9Ehl7yU48lVfP8+gAfZcNeWu9pDus7SCjKjyayWgN7Lz9dfozQpOCBLTW6Z+
TirDd9cK5bp2lGD0Wg1Xyy+hBAYowAMW1aS8QlJis5IxtN12I/7fNlu2ScKwSvb5cHSiYi3tZd8U
JZ84+fKHKR8/3SpjwBaA4Y2TcavQHwEfMi5l4dJupAR3LeUTIFe1Q5l3m7lkmcFXZGYBuTAhIlcM
iCZElUMjyMOX0ms3gzunZ5jRA6GeDuk3vbgzUrBWgZxi2Oryu58VH6ZowPh1uyY1t65A6RgvZELm
jbI3hANCSQ8jphlYB5oK5Q0BGsW+UXoPhtQjs5RxNtPUOYuqlHeLNUISZG2+6pec4WRY47cCK7ev
AiVWIi4+IyhqnMtttOUZO/CUG6u89+Wajc3j3DLQW1TBrrxBNtIYgwcdaIC6wkBgZxNtvup6wgl7
hgnAspMd9qxL3plwMPMtnk8GeYjxNtnYDvsCC+2NKTA6MREtNxFjkvWs92qmCc7KqyXKRdblj9z9
Fs1aTTpOoOYLDdydkwhikvrE3onZWTc61WkkYvEepIu/CXviGJsBqFzQdNEGbnm1Q9lQfus876lv
4hbvGMP0bLLPoCKBrUS8gyPZWns/He1j6E68mYCvX4qcncZsxe3GXCCfmubMMVfWVbQH8V8+eql7
moM5OxRIxKICWXPPt+gjC0s+IDuQtxo4FamlOZuOmn6IxWvg34TkREHcxcApLkXRPodiya5jYPo3
Tdlaz6WT37V2nCCSg9M4yCK4FkhHZ6ZHa8Yv6VHYUPVxrSaXPJAX6HFqWzXlT8IL040TxibQPedb
NPN9ygTIA7bz+Rbk2LH3l+KcGeN5cvGuDbZ9dWtxJ7PWW5dtv5DPTOIKgEm7XTv2wIrXSZ+pMq2z
SzLxreHat8BrsOTCBLRvetYRq86ckbKCERryaseSnvxVRqnbhOmozo3oiFX3cTs/Ga7Cc+nPFmGg
8Cx6P+s5EatLjRbyjMQR0ePCTcVCaCVRiFw9CrstW5hmRZbor0V6nwkIAfgzHb1Qb/C6poUpMl+9
WavkABt/dxiseeSln8H5eOdQzW82Q/tNyKgIKD3DqR0RZu5BURfqD3RC2Z4qkFJe870jUthZlU3C
AHcJvHO8WMWBSraIDnz7hxv8FQimzOwxCvr2iSD7iSincdoRCZjcFqodmrV0G/cujOMXd2DNx7gM
OYoymmJt2sWxB3JIWCih2EnsD3ejBA3tRvONHSlQ8gWm4NhqBt4DFp08hdDrzJEc5QhBjTfZ3Ilz
qzAW1sGaOaF5YYwX3VPXG4cegAkuCBFE9yppoLn2HVKiUHnloYkseOuAaMOf0xRF58r21XMdNeJa
MT5hFwF5aQR4g3w8/2ja4ArfhBZMFuZmjvGoppmRIAXjDwwU5J5gnIZvZBP4vM+dfcxiL6fh6scH
pu1Ns6p7JzuJeEK81NanwYjcw1xytKjB1xJKdzgu6SLfPIn7kh3zbe8BWBF8DUNXsOTLy2g39xXY
d+Dk4G7IF809Rl/klD4YNbEKQegwojPZm7Zu2N1jpHbpH8CI01ESiY7t6Dhb3gN4xOxB0arDsfNe
4ZqMr2KexdEFtHPNnCkjR4FOum/FiIXRh6QtcZnvRttVt73KKM4jYLlPRuF2VCPt7eBAoIcvlTxE
dR5+Zg0MK4y8cKPiwd8vRjDcJBmQpdFBOxc17QSdbzZ3jaXi15Q9OnO40b0ZfCtHuTI/gcVy9mM/
Div4Nc0eBEC6RcPHosd3Fpg2EkmHjyBAYGnfWB3u6Cpwhu+L57HQEAFgaC25Ae1oENUeRzsnMtjg
mepcLY53MK1IEB0TFzuTLXOxmWs2W67J6gFdHRIOM/yRpNTgfj4AMYLoUnBMabX5sLNMoIQkIgSH
WWTm3QjGbmemi31KIbwweHDGvec5OdkMAXexjRbH6tMbrFT9xZGszmxsRc91NshT6tV1AkaDVGG2
uO34MMwl6jWR++LRAvlMaFFPowe1ATtzGVxDf4lOsHwFRJl6VQrk6p5nuWcmCv6nSO3ipiyVHe14
htHtduHMnqU3D5GqyYR1ldxVHcO2qSdtqKa42eMwj59zN67ecylggMa5OtnoPtd8fg+tldFCULxT
BNlZue9CNIHMyLtjykbxh9PSD6csmE5gGMhEhV79PrYMdeclGVd2xhydROD0oCh9b92RoM/M4TvW
YWfWObAoSdzsWUmGJlHSQ4AKkDCAPAMLNXe98WMc52+pTLujH/UEKrYEq0gWWTsroZ7yrPiAboN0
PTrDU9uET40q7kNkCruWrVnjee/cgcOGlAKgZr5dgFdlrZC6OsY+7XDlL+IzztA5yoBGBiLlAWue
te/IE9jF0wKmaRrrFdEGwarKln4fN8G4rw2L2qLXyyMWKXY0wR1LizkyVgDZiZZNK3sTZMP3dGTz
YfMcHmwpq22m0qfFa8ddOOj9KyodygR0Xxhdny3Y/ateBf07yQggapQHf7FZrB3J7jop16ifc7Q3
TwZt0s50GDBzkX/Ms5UeIggNPxOHqUnfmv257uOZR5wgv4mc3mMfR0SKhAlSS6N/cJ16hWTiXUPO
tFBv102xu2dyK1C+DcRJ2wmJhGA7D+gcSEBTMtBkcifcBWn7s26yaef5iK95x2qYcX3LXCIlQQCn
P5NwC1ohQos9uha1KaqUa4ERMnLg6Dm3p3mFLIdk7hrBFlHNbOhIfxcDA5s1Kbvvwk4jQmH8DsxW
MB/aHF+80+Tq2+R5atU36bKKTHzYblJx4JC74N8iImgB9xSs26d2xLVl5QezIeDMzM3lzBbLejZ1
nkfX1fgoTHfc8FyPq//i9f5OySAPPdiXqWGt/SK6QFKNkJE2cgujv9s0JrOE2FL1U+0LxdPpG3cx
JPefZGi8g8TOvkm3Ckh/MO0zDy2qk6HCUD6wd4tQbPfdydOmc8wwTPFzu3nhZk426EXDjWPRXCaG
QBBe0R4Sfdjb6jvL6+nOKSqP4Gys76A6sp0hIUZU2hiftMzQN+xrf6R+rJOfwKeQXMTF1aHA6LxM
7BPuJ+SV3SkOw/e8nLSB30CQn6Zrg8JzxsBv2oICDls/npn4Jgt5xf1ik1oTE8WU+8/0OjM5xQQ2
BZo1MYukfzJ9rKGtZ7yOJUv5FH3DA/Au9y4ZetQ7Rm2R+eA4J8806X7bbkYfqAEMyjWTdW3UJTJd
jVrwIri4dlIlD35gzodFYxlc1CtEajWglzR9ofV1ASOKhEQkP147S4ZjZR5Fe7Qjy7kmi8OKxyD4
S0lkzPTw6ojFj/keIgqEnuh8NIaiyg2CQ5rIvOkI2yPEzCOWs2cyjAl/mzui+jWjiXCHOHql9n3C
aBG8WjUOtWKBjlFGKPa9qrY3i9Njd2KjJcMJ7S9rswDksV9xnZmkBTFPKt2TEfvMLPRbVQQdPk8+
bFtDOxqyGs7WaN83rvq+zLZcS4o28Jg2boRnf3LGa4PpYjX4w4UO2997Vam2gd+1dzzW91FZy4NU
jn3PAi39pQLR3PY5y/qYUM4tlfyvBAbMtdZ4kjgqn70mSb437FF4ocaltWV6HXOEm/CPqTNUVlMy
u8QGOhKXJIE5BV9RN/NvCM6+M5fZQ57em0/5YCa0u9RTjJxsWhyKrC4s670wgbLYGs8i4bQQxUWR
krjvslHH0kwxpLCOq53luQOzkfY9G+zxtgG0xkEx6ebGXJutea5t/3UCGZNodkzs8lm3RnycmRI3
LVB8JDgsxdi5bul9PmwCFS7x3LTrto2Tjc/XAS9AHe5xA6197sSiDaM1KNCXr+3H/66K/mJVxBhT
JyT/50XR4b345yXR7//NfwPY+a45bKMd23VYH/2xIfL/Znue8NmgsjA1kcjwb/6+IWKjJPiXkKd0
9PDfaQqEPcNZ8aXvSpOcZlP8j7I+Nbzsz4gDAoYCSb4CJAWPP+ELgfCn9VBn23PCkkpnPatHP61u
qkCuk0Hc/Okd+Tfcp3/7azzXsgLeTEmeyz9uoTIAcoUL4hTeh/gZdRh7IocBG+E4fwGYsvRP+pcX
5PnYTGydiO3+E7MBzxYbOQfB/6zsLeIl9g+CywCb50UBIyCimhuXW/Id6hxjDgcEsNOTKFLelGN6
MiRF91Lfq9SVWzTFeL5S5nsNkF+/yvm2xvaTVTfXSlInGqTt/MWf/y80fP1xACjzdei0a+qU8T9v
62rpdTMRQcW6d7u7HvhMiDtv9skqQWf4nb99+otfKHiQ/un9ogImfcaEpuGarvynT8agMouE7SEZ
C8k4kxF5Qk3VMeWLT4vNQLwJjXlbWCZBqxEiyxJT/xpC5fAb2O4/0jaEji//xz9E8Eg7woGwB0SE
v+YfX3pfe05ZVlOND46Qmw4Z674shnJfzwwHa8di6JlPLB3C6mhjqaLuaMAEM3whOVEBNxaEUNgT
sqDGEMg3QwOPDhEy0f9j7zyW5ViuJfsrbT3PaxGRetCT0lVHawCTNAAHJ7WMVJFf3ytxyddXPD40
56QZaTSCwD0okRF7u/ty6ne20O2nvXahq2V5p9etBqGVwYWZaiRQjklVCY9P8am2suAyC90ieeTx
uZPufKiN86Na5uullvBssza4yoTxk43mbH3TTcCcDB/nyY+shbl9vCRDTHiH58BFRoSFtUquGkvf
+Aklr0PosLDX8lTiJIvjeA/ByDqymLhPM8mdra/khSVLgJOBh7nQfXtXr4zo2EuTU2Go8VHz1D2V
TTM84T4ep52SEkGgy8EHBWNd3IcNMSKrWKbvQQC4UcTR8sljlfNh62bl21aquKQu2t++qyngadIg
P8mo1j0GnWS+YpioKIKhe9I1zAJenHVkAMxXb/JbArOq5DtDh9BS742hJ88SFhpTUQCZXbWBbVGM
H14e3LlwqRCcvXnvR4iPXs/e2htt8bikOA9tOBWQ5lJr3+d8mjrMzg+uxuNbd8y8yjQBp3mXncww
lTes2AQdwPixysUprhBNvC/5MFRAS4zxQR432b2ye+i3IybsChJ+FGVQJMoyHl/ZCn4Zec/eNAW9
0sjiZMp6+ciYtr7iPCICRBVXsV0m1zr69vAYNHV+gIYEVBsa7BH1iWD4pJpLzRaNe/pcn2cEbRQP
OzrZFundvplfBYY/HhFsBi1HzBcaVbnwS4kxKYHNUTui3P3nKP7/oUASsHJ5LPzro/iRCtGqwLdh
3X98LZY/+jb+8Xt/P5KD31ZGRxi6HLrYgDiQ/nkme7+thy7/4kyEjGevzdj/PJPFb6HjQgJSFHbb
/k9+pK5h6Pyf/+0ARqJ7W4X8jjBw1r6Uf6N/21v9H39+FoJGAzQaeD7WjVCuAKY/HgPrt8pJ2AkQ
qlvMVR2W0QfDU7GTi73mbljypxOyKKXDjjjBCQnOuqUDgCfrcAMspLvGCo/q3K50XNYa2WtPT8K1
p6ZkXZO4V3HZquvOdkmNzzaGa7J8HXjiATDusFJ4w2Tl8a5kXiiG27CG1ctqpS+3NhmiaxRXmN2s
QDYdnS1nv1zs78HK+43Niv4taqvZ9emUXaMivlYrIdhZWcHNSg3mBLAeKf5NXjHMZG91WMcfuDxv
CeLcwTho7pOYjdVSXaqFyjY2EjbcfSFkdN/7Dr8TtanjKbY2IszuGn70S/UQrlvbJM3SH21hWYwm
g33psiY9h0UsWJ3qet7P+GQ4Gxw2D4FFdeecyVcsMPaZ1kB1m8qmvqtlY5ME7hqKcq2ZMi7fbsqF
9KH3CWfY8EbOKv48h3n0QIfl8C2qnehijWt/bz9GkoZkV0vQS1Pk1nvZJvO1HB37wHYROS6vJ8IW
Q1qeTRV8DFkr6aXJ/KcmoHTA4YUZopG1nJe5W6SXixEt0MnmQ0f1Yy/ADmXJZ3YT+PLZB2yjXugr
m+wXWt3kXTeIsxuvS8Wta4YKtGAkd6o11jlKB4Uzf26/ezFG3DEAgORp7wWcjfwSqeW7m/TVhuJQ
f1PGC43Asw53U+79AOpC32uC+9y1MRIzdpzdtJi/ZrZT3wPaJmfFktgO/ZhKYuKj7WL2QFXajeiQ
Ndos6q9VPlZX1RQFt9yZ6CtGMTz0bYr9gm1Hur5Hr9Rt2hsX/fYSDYP/JayDmO4Rf7qKPfzR0q+9
uzovkhsxIgx1VZifJ+og7gYKxrgfuEAN7ZbNuhsHbLX89laaQkJkwaxLvXsfHPlKTFsrsvu9EVyc
Gvh8Z8LUznU7gu5rCoPHIG0/dw0AC6iJxJWj+EUINmy9ZRWvdpbEj5OI5Bm/+VenhHvoq8Y76sLW
8Fri6UaH5kfv1ehrOeSrXLTXvLr5Lb6o9NrrWamYplvbYGz3e18WGFVw526ZpZPHJuzCF80c+4P7
SUeuedDeAzCMntOHO4Casgy9Oir8W6/x5vdcsugTykNBarr6u14ivSdxHn5oWjreoUJXX2vuH3fj
1BrkKdv63EAcy/FVq4JdTVX/sCtRHjFmhihAMRv3tAKm6ICxkf10PQQnOxTWrvNU++RR7+cQmgNo
nom6vYpyBLogjmmZ9u1k2jhREBwA8UdvaPc+NZySYLJooBhxo6rc3eTp+qrAa35nZN/96CY02AlR
DuCjSHYNfZ4bJdfMKN4R0+4meGNH/LbeeS2wOwuq9lBHUutRWALAko6JAEbdqGhBrJ13XSuk22yE
ncjQbZ5YQOp9nfvTzu3sBajWnFBMk/rT0eEzfIHcWz6pSZZ3oJaKazXij6+nlnRpxMKbpnR2iMEU
0VdAgTzRluLIpRIsK8gbrMldsYtXToxJYvzNubEfg87w14ztNn43Y+18UpbGM+YZXPhWTQH1MOhH
ImvDU6G7YAuSpttPVHhyt+Imwy2DdjwCWKxDRqshDcSKGzLALJ4TcOE3rcW+yetal05sogQBLTZ7
CtPrm0JP7F9tXVzDqgwwyrRm2arOF2ccbsTD1ewTRBvT5UHgMbvmXbU+D7atT46Li8E4Qt+Wcmmg
WvGZ5elCQt3DYpq6efmGCVDv7I5WXT9ywAdBCruDifKa4KX9ir3xu5WDdIEaRsKkWGu4HQzRmY+k
DrN33poIX3bf+9VD5iX9aYHHTl9E3xS0x6uvtjHWdyAMH27Szeyuh+YGYFe1GzG3bDho2n24YvOy
pKtvO6ui2aVfIPTbQYv/S94bVZV7T1G/LPgBtqxmSsxA4iuX9OAMhe8CFt/DM7ZkWz2lyw6R+5tl
gf+olwmFtUwobh+EC06H3XauMcz0JoXjC4LvMQ2KrxFLxC09C4gYOiVwZLAGuUOAjd9l6+KoLDqM
Sx+AgoLzI1oYXZCPWM4GQWGeBznHW2Q3ku42FYzpVJl7XIKvKrDYjq1aA2YGL7+K6kLvaBR3aFnE
rXzhDhliDQr0BZdA+KWhCoRMOMkW5FbvxNJopYoMA6VKTo8lLW0iLqgoNfIydnNzsNOEjuUubtdw
GsIqfvljQdj5RUZIbBs7AbpDDfACKBp/+ehao3spbc9cZ21fBJsmnRJOQF/UN1mDb2gAVrXvO8t/
YBAM3yTXDcoPsYOwLkBBtTyuwtEym0OnHXbkbJrX1SsJxTTzzOcurIpHBwvpFU0EgoXxDL9oZows
fVp+gdX0+UbhFSJD4PTfnVCgt/KlmDdhZMij8KXHz5GZ+L3XRf4lSBW6C2lminlpM9yS+xCniB7I
HyWpwZ01sNiPxktN9ovI6MA01fXzNhFt/MlLqi/AGX/4SdtS2dmmZbX2rFo8++rORWBiI/3C0dKj
GlchW9IqZ1nXdteFh3dtSPQj2+XxnnOVDqXIoT0ir302adXk35FVCleah94ajzLsEED+1gpVt8u6
8moCG+fVrCw91PQ4Cp0Tii3bImnd8GXDyJUvJ+VZ0SHpg/tkoS10cXVDwWt9FYXti7P2gyKX5XAi
CLQWTKObusGWP9pxv8+ktI9JMY2XGcfalVn8fmsPk9gn8YIJLsOBlvoxiTUSNHPKs6aVxbgTrT29
FUNOCg8n0MYle8fHghKhkgpsNSJ8Fl60cRowHSn2VQa7rU79+7SPA1LATDIlunraOY81nVYZDyKH
3rlhnN5l68l97yjoUhO/6oNN6Iy1XBCMJKMbOrpVVvK0hvAOOpqck4gJlAfxNBzLln9ISRVKAC4A
xsjGpvZp13X9AxfALxlY9pfQNeYz4l5Iy1InrkVqy10X+eeB0rIxNMbdVwLO0qxi7LzOsvUbAkGp
Y1jhW653LTSbA+6v8oBW6HHwesMlw2tgqMJ+A2TJDae2KzIsvQ+qwoaOnanujQru9hxzKmabjBKa
45iFSCJjmYVc7HpwzJhB30wN3Fp2Ho1UAoPlvH4X/angnhnVgtZQEq16tsjXe3Wlr201y+u80BpO
ScbbF+v0vjMmuNT5agEd4hNXtpw0Q6Z31TyFuzbxk6shIdGzK/MqfKKRDcEJ3udM7ijvcDHZmPEo
pN23+doDp7jMtn7/zSPgsyOJ4Py+ifnPnvcXe95AwqhVrAv/9Xh58+N7XvweCbBeQVvXZflXku4/
/5D/Sgc4AqZ/SLCX1Zrj/hdJV4rfPEEdB78iPObGgF/555zp/OYxQwa+Ej6y0zoc/mPMZPUr5bor
FgyfgcfX4t8ZMxVb7D9PmcQPfBIBTMCkELy/LhsL3NluIZJlW4ugxacckuOO83stFGw/lOGt7WtK
qQRVBDWdRlunjjRxo3brRAg8Tei2H9osT/VMcnMan43n3EuXzdiICH5XrDsRpd7mTp5FSfLYLrBS
z7h8SR0gLX6jzR3vliihUhW9+cVa828DNK+qkLyCjlCs0d2/9AyMM430SYO3diZvty0W962QFktn
+nx+8U9iU/DXFxHpX0mbClWGdvWXje2iiHePDRXiuRTsLun63RIiy7bo46hJXetsx0AcycB+/cMn
7/73jfb/IspJxKnq16jG+gf/adHtsyclKyKUy79ZEvDrf9jcL8Xs+eOkFvJu6aODBnrTrc1v2l3o
XUwLf98USPRlBlmmY2FQpOPtr34C928vc8BnkUKNdWci+AD9ZWcrh87pif12K8yhu11WH5QtyMKO
qzeqJ75xCH8apmCa4J0KMIWubqpWX8V+2/k4IZpXgMAO86Nb8g7hwgoAFhD9wpmVYdFiBPggO/ED
RxsXcpmPe7gY831DqD8LdLtBaF1x/gsCoo2S1yDDtpaQO3v1hmVaFBd/9Yulq3OMziAmoWtOOIKk
q7fMXV1myNi7xlsOg8Z/6zIs3izRSN6U1S+jFz61enWsGaxrRCUArf+0s421wNmW28sFR46/9bC9
5av/rUhJxLGw4fteXhVY5KacnLAwFKfiGzCbqPZfoG1gkIh6IA+Y7NwpBwUqgmsT05+kVidevXry
UFZx52HTWzIT3vtZnu/ZyAOjxcyHDKrextXfF65Ov2ge3qa2VteJZ++Q8O0tA2a3X1aHYDwELdSR
6uCs5kH4cYy2q6OQHgW8hVH/ZEaP/AnuLdp46CD6aUUUqzuVwkgG+Smgnm71LC6rezFcfYykduxz
DQbsqEMMw9XqdxSFezWvDkglKNF00+iZ+AY1p2t+XP60TNJxiXtyLPfamYLd5HfdA0xt+ykSKiDi
LVgKR0gCTDVYW9KyHy9Ow/yGOLbeStxs+jSvqWdKPSEausvkXXomnMfAhS+A6aiJ9wMzxj7pvJoH
UydZfHfNM3ve9CroptoFeCctGr8cm9hjI3Ypd0u61imO2gRZA6uPQlf/oq1xOsaF6161fkefV0bX
WRzO8XvhjrcQO4KX5qd1t8+Fd1OCu6AhQTZsyFtn/mLspv6KkYIbHa1z9/Qdeee5EaDg8Ke6NDzG
bO0YfI54XvgogiAr9kR96FB0B330qD/e2ZEZT2EbGB9GlpwOra/CVwKUcMqw+l+oH9BHp8iTUwBq
bHVCj/AAZb4VFrQXJi89AH8a5o+m9tueyE8vvxDkEW+uGPJ7o/vwYRLteG6xNoE7w8GtVy933iT8
RZrV4a1Wr/ecueIJXAVtaD4jQoQlfIHRyHu9+sQVhnGw3PNO/DSRT6ufnKYoSrtWj3m7us0hoNqH
AgN6+tOKHtugW1a3s7Xe7khWltsZSgrMh4ds+KbIl13786fUJ+Flk5jcdCRjky2EFRzwajXDM3cy
JGo6osfSI6+0muajrKHnoPOjdxqZB8wPmOvVT599slruwxkPWJN6FN1R0HvwFyNwAcw0ZiY1Tn23
QNSzrd6aj+QzM7x3VDYFxGWfm7bhOqyzj/6n+T9bcwBjPJNgSQwcW8fNT7pdbkovw1gUCSnf4Yf3
974T6P0ApWk947fSG5fjZD3BLzrngm8TqkqGpk8QN2xNu1EsMeESj8U2jH3vbi4n2W0aVVhnrwPq
t2DHmoJPi5Bqq3kkXE2+nN7Tpg+/+XhaX0IKtLDUUu9glbRGVg6FKNL26kPRp8lnnFzujL/aUPXl
FsmVXYQsHevewrmJZ8p2+vmdze70g/2GOndJ1ePRHKz4UlY57ht0OHZ/tT+VZ28Gucs6dIt0y+Sf
ijc7CkEAU5l3TLJOn+sx8F5J3ZE7t/pY3UblrBifureREvmtivvH3hOMIFZOr3QH6E6O1vWksyeZ
6pjYwpQdTR6+DyZ6rSI+x6y3seVhJtz7s3gjcHkfU7S3reXgcX3nKWrAX8C66f1DX4n8hKtFX4kh
oy6xBa9CAj651IFV0kgHbalKs/xJtcGjDqN7/LLNXnseWm5v5HUfawq184IDcq5eGWo+AoiCtIcO
d7QL3jR8/7e6K46Nl5i9gypMUKUYgCLVgKOU3CYry7DiZTlPllftEshMeIao/xiy93hJXoDmowbV
XAO6yT2qPCwukYwovuhkj8c5Gg3AGVWflG9hp8fGkZN23vJBIxap/OJZCK84Jtq9TQp89bWn81tp
m69YW8gyDGCVEKEdIhPtswFDxv45voniYHjM87w9Oxo81AQFJOub4bozs3wbcUzfLySoeUx49rmD
Ql+sn/uwweS8hmSKtRvJmPGOGwxCQgANfqM6/POQ/skhzvJ7zz3yLYYrh7maSabouOkNdWQ/lFjr
tsz2zwmZi+0MxnwjRf4aFQ45gN5KjlEZMjb1yKKwNfifFjBWMYojKVjgLo4FRjjgYTj3AS/k5Gws
mglOULnFJc0c3PeWPV0Vnfuosmw5LPVCrkjm2JAMz6SyCctDueTTKeV13M4zO4aBIX9rE+HZ4Dsv
f4yxVi+rt3BDzhokAisbZUpNjpFLAg7hOxBSiOxDTRu7i0Nqiv2jk9BAVFPJfcnNdB02I7VCOg+R
NaAEEDXFAZkZgS+dpcUNOgDFhQYkYqwh6mZe+5IX8qvhoVjadnczkub7FiFFINcCzHm0qqhINnyB
5HdhQbYOs5AUhQkse5/mLhGbJQmXz36fhwATByqF95H2ArA5zRppSlO1C0ob2BaVtO5d2FHRyfHm
AgsndlXcZcOs2CKMRj1MNqTDmbT71o8GeNdg//CpNd5hqilBpQrh6PYBb5LFAeixdAJwW54cfvuV
5S4O3myjPvWuNTwwP1N94xSB97UF1M/qwx2QMwzl0EH4kk0DZabDdpjnDz/3601mEdDrx+S5Mjy5
qyS4tSRW2dDv6n0JGXjXteFHR4ryxMmB9W9aHgHlYDzAcrdnafQMCwfIcdV9osP2iD31E6swAroI
YqXyOAbs9MNp7BHzuds/c/qF+9Qz3pvrcc+DvOlvlVVGIAXRE3TxmhKzIP1Ch2iL/5EiG3xsXT2s
rfdG76bBfynmKcd2LSneZIV5clYmM74cIhMY39ywtoHlgqxl178FrPPR2vJdLeWPKJmehyJ8w4mN
bj2wU42JMmEpnW7CKr4bomJvydzdhQX9tvTxYO61m13ulOqgedp+IXq4CSzsfg2lSpc4dhSSmhrn
UxU7IOlCWIjWFFZnMwwFQMS4+UiHxb8dSAORDuj66yiDJbi1sI+/uiobJhY4fV1j4ScSBnnNT264
QjTnAqvL3gcmcs1KqT9XnhzPIkzEFb7rJ+6CEdiULIQVWHMuz6oV96yQVUj3Z2ufS+3XZ3JNRGSb
uHgN5rZBS7Fa4KuW6vt3zq0CviKkE6uaireBOtdtYrXB1i5nrMjFCJA7dtsrNyzCL14IND53PC7K
fT1RdCpN2X5qnd45hqOwsS5GdXv2Oa3IQnt0gWhhEwiPl1OeT86VhZ/h8yCbbOeS7bpLrUDsmwoL
40ym9eiOi8+U0WSvMFxSbmVputdSsw8uFvuT6gQ19PPUXvwm0FfkvOb7kFzgp6TO1ZGstv8pJohO
XjqzLiGY9rcyz5ub1Imn40oszSEnjqulohpoahWuLAC9Uf4mmyA/ilhN+1qU7tYOIGKMAqQgyN/8
2NuqOkg3SJZd43Zi2fWoPneDcpzTyPXkOYs4PqRWoHcXsnH0tWb6yOKb6gbWlddFnQu2ofh/TJ8U
GIdtpA5GDf97DitlpzwCRHlFppws33JtF655JgCcQPDjtB08ASk6zSuFcCbkkS1p+0SPeX1aai4g
fZD6rxYlqnYyWC+du7xKbCSKjIvyCSFMFotnK/Lae7dO/Z3bDm+RaedrS1rZY9+G/jEHtMTe37Gv
46aq9gTY6fAt3GrjoN2eHNX1x2IZgm8j5Sw2bRNvHSz13eB4+nOuAxrIES+OVikLvg3LK7Buhyhf
1516V6tvxsxfNQF7jqGA+MrGNwn77agsMPaX5LQesznq72Oipri5hmLnjNz1l3oCscRDgE4INF4X
Il8VT+rQtIXpNi0POmCndXlsNBZaXDND/77EQXKxXR2dWsqq1qiHDaLbFeYen7PelcRHuKvhNv5B
0UkF9N3nElfkT1LZNHnNpSjeqNy9CotxZk9f6fZliMK3lsMIri/ZAPrZJHqGyjMQbJ3Lus5LW47Y
NjIYmCFePhqWIPwl9CjOSc350dk2bMDS5Pe2LlleL0AyX0Tdrdk6xUCB1OvRZwvH89kvnPg8RxCd
QzpZvqRlMNyx1ka0tqequJ38qkRZT6gKA39YNMANp/nzKEN77+MwJWkfZbuEA/UDS57zEbU28KBy
HSYPLrlGchlOhZ1lmN+57wwMMnBcXoH3pTetlsWZnD7f9T7V6hznotvxJbDl3RgOQ0KiLx5OVT3V
lyGo2QfjekcL8OziCx1wzX1gZfOj0VVBZ3A/vDjLYn0xbtxJ+u18gOyN7fK5iV0fS7vATryl4wNK
KIYgSI+hncZQjSC+8HAyFtcNyBcHZXXBvlvvGzW5n9sgqHNDbDBoPnLXFD8mmdgVXcSW88U3tnNl
xkyhmpcSx189zk29x6FCsfLgsmXAzA9JDjcejzqItMWP2aYDesn5NKbZWP1IYr/kmJZBgd3LBSUt
bch0ZVwJONbREJ66zEIu4RqavqnSh/ideyElTXxmrwiRyO+jIiur5qq6jVzmbZbAy3i7fsWvpzEl
MRvp6MyVeKX5hrM8d0PZ3gjf8g6Fk8CuYyt0AXyx3JX1MB7iEvFrmOv6uhIDdvuqW7zbyaM9uW1K
Hg2iLm5mtIdrJ+rBtvFlqZZM05XMVbQN5umRvXJzHZkIIqKgDRjzh0Mc3rLHO9BCy6VPuTHP3Zxf
kmzpzv7iBicWb+IIoJYNtxe5n+lupAO8JiMedNqcqt5bbmdyMnqMvTNPv+HWENZiaGm6Q9b55Skk
ynkVz3mwlRi+Dm4AK/vnm+fI3DsvU+88ZyIKaXC2l7MZu4hqdzOeId+Vt+tOf08uNd/TKTi8tT1Y
Vy8kO+NPS7TV0XIP89Y+DUnD9a2sA6ah1k7An+qgv0ZKoW/A5jGSHVx3DHZ93vPKeDFdmmPdNLu0
5L/mNsm1NM2SB6dJs/u4AxMHamI+EuppPrFwYhg1LDq2Myfusx1Q9byJpStxtUt1xVdteScIoYm6
JII5cQLzQBElFQ59PIT0/y3etyLJ12VJLAg7lM4csgkrFkFgYc2lTdUkb9yJwAxvnj7EVqYPvWoc
LqC0zmB8BcNPtd5ypV2HYDSaGOp2hH4MJMLFGynS5VmraH7iKpw8O8NqYhVN0X+PBsUFMw9m9UBI
UJ0Ah6+zVbMgzVmYZVOTtlfd4nDbVuz2iAUruPjO1CL+ZbI7rLzKI5dJsJlzysg5xuThE7/Jn0VV
wrSF4LFLxJiDOwgRUj2PUYE0SPYgPT9/ywb47IzJ3KFtLb7WMppuEBqzc0L4DfZwQqR9jujW3Fnt
4H3ugqqB+A0rM3S5QYCAm27s0WH6C1P1xfTjk2aVvPdd+66I6Qazpsh6XIa5fIOST4IKDgA6au75
7evP1ed/NJJfaCQKLzyGuH+tkNymP95/dPrr90T/+FPF4D9+5z9kEYn4gZEmxOYmJVAilInfoUne
b4gh4I8CVvYYwH7WLf9TFrF/wwyHVx1KDe48bHb/TxcBtQS7nIJf/pM19L9niVeru+5Pm3WcND/N
+jLAI8hY++fNuhXxxQgLQODhUqUnzynds8tI80W3dNAWrYrODuc2DTGR75wgx3ufgzC/j0e/f68n
l1xv29zYM+6BGakP6B004fBu7uC5DyyOr0a2H7fcJ5NLOpLLHamhe/BaOX3/wwt//3eBQP3NUC3Q
lkLfsfH4u8DckLb+KBDoqfKiXqbpVrYgCqowRaVtEqDITWMfeVKGFwdAzcaKuISNrX3HMt/aUOmZ
P/RLwe5auV0Io7Hyd0mTm3spJvlqKWWzY28qWoHJurlHgyi886QDJKbv0qNkmrk11qxvynaU38aB
LsZk6C7/819NrrrCn98hG3oWiovvIb6g2/35r9aHHj1rA1wqETvdfQlVYKeaEBs/gjTJQmekQDkh
cYWTp9LbvivkMQRvJ659k00YZuwlOCcyfBd4in7RNf13XQZvKBKdlD4fRxyXq2byB12mJHi1SP0T
oQFWU9t2RMHGRF934r6w8jrHVgjC32QmIWSU4mu0yEj+QpTiA/+3F4g9EecAPEE3cFcX6x9/CD2W
bswyPt+mdY4FEzN62QG+GMtKf2p1lNBpsYT2NdKVxeacggYptPPh9QO7/r5WFAkRQ6VZhr/NR9/a
+Yn34fSLN3H9/P3lTfQdD42O/Ci+Wv8vb2JgJt1mnHZbeNndU1VazGcl1bzFgQKCZjPVcUvSsZPh
FpPMeLZrFXyXvRr3WU7v4Zz24lcfq//mJ0KJ5SVDZA2dv0lq3K2nLDRZwcgPDTBt5pb+mtiPv8sg
tW4WSqJ3eA2cq6EXnHW2U4IIGCLTHO2Y4NdSCfWrn2h9n/78GjlseT1mKIoV+VStEu4fPky8xXUL
G5E3pXe7g9dPdIcM1s5LXcrQ8uhrOaXxIfHz8ZDFuqXwafGPbtH9Ir3zN42T2xwbbNflMQIp5een
7Q8/hV/KdDQe8w3ogAyGd5fTG17GtybQzc4Xbf2WQRz/No90Uv7iQyK8v/3DGUdCLNrouAHG679G
hwRz3YDLIcNrFmp0CmaqW7co3suh/2gVDF8m8Ym/fhe/gcKNzxQrw2ZqSutL7Cf292IO3HeXamTq
iHFkOiGGOVEvxaP2K4MXZpTHfII82iNreUHx0Ma9u+MiMT70DSVnq5eWHTbR/nRcNlh3sUTlJ8g2
I58Me8JW1umLZc/0lTtdxwWcV8SEyyumczI7PO83nk4D3EgN95NwqvuvzaQMFH4jHllHXRy7Vzec
QeWN9unPCPOgOZkOh1Odp8Q9NK3MmOR865jATrDytrmjh62/iQd32vuirB8CrdsDahbWMKe/KZtW
blXkIl5SMHmpVdqe2P7wZzDg3eHgLvZD4pN97UN19IYQaHsi4wO6p3ny8txmZCMZ73g9WzzmHjbL
XKnaHfZx8g9k7/XJggxLH9gKdehx7d4C2Vwe6XZNL6P2E2gStbqEPq7ozSzpGwwkHc8y+TxUXnUI
yCleTCzVCWIwiaZhRo6grIwtxuiiPGTzVZJote1S+gTTZgB1Xgj3Fm+PhMVVAwxfDUofDob0Y4sg
+Frj4LzpoB3E9GTgZUqxlhUyvLG0wJUzhZ5+4SzAbzUG/iNtZ1StT1UEfYBAJd5f6y0GU4yvQU13
sdWYs98r4u5+2GzRNlHGwoX2TcwZt73nTDtUq+qoZ2d6iZEOXwKtHqu4o3gpZ9DfNo3J452ewHlg
paTRh4cYifBxkoK6gBVTlM70dFZu9qhd8cELCnPfzMu5r+OoPASl6AjuU/mw0U6PIU355d3UFtXO
BPitsXzGpNSQUradU/GbZg1cSZvizp5y/+RnaAaWM+2nmY3QgB0dLhiqKMuM5Nx4yrov3fRzQxUP
eNi5vUwzECklgUUoXgph+AmwM9HqomqYGlUOVaqCmssSMWOZIDshz5M0yVs6aPcmahyaYwHUyjcf
R/PGbuz5Iyvt4OzTNrrBBWnAYQOjbjY40KOnenCLfb1EDXyntGqP6cR20C/zqefbbMdUIS3BYzPm
PFPzieNxI5YV+0CDyvBuZt5nEIUr2B7fOBTJJnlQQVkevHCEbi4MTKu1eL0uTbSLTdkjN1nkzC0P
TwbePZzCvs9bGyE50ENYMzdU0tv0Bic7RtCMqH6YlS+27Y67er0Mbvux6Z9anrw7t+aknlQR4yke
DKehpjPNUsEXBSovYL8G0EkN4Lc7TenNMAjnlJERwOVVw6/BE3OC2VB/Yb/TUh/kzVj1PadnTh5u
kawFc11XDm+KZ/ydiUPIbFzYvL0y07RXi6g/DUT3t236SXj9K5mQhzlWI2wGv0Gh8XmysB08NEEC
wac8Lz/5MBxWZN5dfswSg7a/YmQQjSHKTCtcpuqa+ZA7y3yehlQ/M7/lT2SxNnA6xxvzk1CTrrAa
bpXIaoxR8cxAlShuiGOAx6GALeHV/RM7XvXFWQcx4FXzDY8biETrmMY4xpzYMbqZn1Pc+HOiA1M1
Htx1zGvWgQ9w2ldYVusMGLYIyutg2FNZz4i4Tou8KepGjpwx6UyQBBlEsHgKs+es8vxt/XPqtNYB
NF1H0WQdSrOf8yl0zv6CiYCpdSRX/5gJgPmGCNAmKWzvjv87P77fKZe+6FST1lI6RARoYsvaCxKE
uEpEuPVj3wGf3w5n0Wf3khX/0RpGSXEWm/ZeB95TCvUZv2AzNsRCcDnZuUcqzvRd/m1o8OJ0a2os
pTDoaOyxOHtOmwD+GR7NRMrMRCuUKl+zZ/maQvMax3yoNZlGLn6bWVP7VhBaq9b0msvOpabKgVwb
hBuLuxxZt3lNvVVDnVCCFATdy/B/2TuPJcmRa9v+yrM7fmhzh8bgTiIQOlJF6pzAUlRBC4cGvv4t
ZJN87CJv83JO44RmZZ0iMgJ+fJ+915767GQnw4joPP4sykhc2crOr+wIdyfzXQ0vA7Vfs1g8lK4V
+MmYOlBRWvlRTwmtFujuFL2Cw9ZwhQKQazcmT9SlR8EmnTuHXQ3xYbDowRjYTHiT00DzDOnE8cNk
YkvMeKigPYTQibdzx4ax9qKS7S8guB9FmMGySEzrbh7S6sZtZneNWmPd9W46PDazrI8ZzQgHNMH2
yrLDdM9ObsQ71WJVlkBhoxptx4Rgs/WqblrxJAG6w1YOO8q8mwUdVxWAibteq2F9YEcm10+9Bkwi
47qXAZ9LK/4whHVhdSNuDYFqMtQIszMANxsOfZpk2UWGyG6KWL89hWIvB7u/UKvjcSebXPgXmv5F
wQBEB/4m4AUnDf9tEcpru/HYX+SKN13MOnKF5J+cZOLeknjq47UBefoG477BorWKt2UbP0GptA+O
nT7kpfk2hGW2CesMZmMMdlHkoXiho6T7Ep4MqG61vBMsNAuCbSs9P4EGNPmdTQ1uwYhe9dSYwR5+
kMKubntuNRvuIzOdpCFV6m4eJC9OUzV3rTW57+VInws9mG62d3N4tkZd4kEgYWqvOm00LjpM7wc7
tK5aPfvZuREalKSuD1NsRgdGZb1L1iLsgE22tWhIrrfOCjsibZPfS46ltZI1phzbi/SvoFPlHdcj
jHZOeg27ZToM1mC/CjEubjgvocaVu8mGxc1M4LY2bgqB2xpQLaOChaB+NZoTlX949xUpL/dBBljX
EHr4mSbtQ4j+WhfQ9fPK0KELV9admlK6fvtEGZgUe5HTkmG6kEKr+DxmMRlucLi+kGRQWjeL96Im
15zVxIfx+E/b2aAymvOjOetuH4RnUU7VqrY0E2sxSXJ2xPEIzldnC6XtbbA62Py8ijdQmPUZhQh5
X742FOVwLs2Nd81GZ0ZvAry/jlKJE8asRtNfqFlPM59Ve9Mi/5OF9baK7gDuz9pHGsp6z06+ZvWN
y2lOQ/1Bodi+DViUNs3UG8dGRJxseSZeB/gcIDNjDXgsR+R1MM/D3qsn69bj/gDHMb4toqE/08Uk
8oMSkTzHUxb2kPOngbItI1kB7LOITNkPKVLvlV6W46PutvqnpTI2IKxBNpBlKbkxJ7CbZi0BqhTD
S1953DdUGX5Ohd3cYNwAmeJajrsubOKyvlHRy/HUeWxeyJJwdjM+NfsciwORYB6Kt6mo6n0zArdq
5uGpR7V41zJp74KKxFmnVViCsuh2WKpLuCh629RudhXHCslB+6fnzM+uRdae6QxrVm1MN+SR2tMY
6OOJJlZ7N+MJWrvjyM8zxu6aHxRK5CJ77DSCF4eIZceqbnT3ZhopvV27UVv+mNkHbjMvCl6aROrw
pYgcL0d8HA3bZsiGYmMl4E1qoL/JrkGqxthKMcCZQxTMbaOXLxTRVTeFVuAusNt8bzXUJnEb7xg7
IhMrmO1dU0pFE0XsNv7ceQl2PqsINmMCVyjjTbUMuaF5hJnTPdtBRlNI53rL/JUFoCexAGZfGNxG
8nB68p570biLY0XfVJpH4VsQ5PE2lHHqg6oCbTThVV+lXmSQMckJCcxDl5/b2GIdX/Q9SRh3jyk+
WLUDEzZQCuuk4/HFTbIEO8Absb3GwxBGR17C+NjmZv2jSLxM8wczJhVm10xVY1RhRnNdNvOi99hH
Sl6jEyvFsPbdNJ7WpPsRDKTefIQxLZiZR8eZHEcK+Obhx9yZ1a6xiJvysdP3PIgZRKksWhPAwHbB
w2jdj225A9ogfCcpyEFQheOwJCZEQpatS247GFJUqFGc7eayfMeYId6mbBTKr8wgxx7AkhA5uphq
H02KCpR0yGGk6IV5zrTBeuhj5zlwOdJw8wFXNjEF78bQTgf6lCgMjOlS2hpVoG+jJKWgj4SwONgG
TVigLcs3KwXmXcCCfxgNlkegbedm5cY0tysDTE7cgfhfvF5Mewv6Zg307D0wibODEyKL0phuz05u
Dr/S3EWett0gfAjYHxe+1pCjLyu91Qnx8m5wqpbpuEnrw1SF3jaJ5EcWDsNRC4ZdWRr6bdA41jnR
WK6ziq9POU+rx4qKBJ8xO9kLOXdcNJdjc3bLU9sqdddwTflhD7TY8OMsVQy1TOEns381H1nEslEZ
e+0JTiH9vR72qdgxmz3ZEnsbaYRJqlpgmKCDGOxoqXFdYddTKcOhCWlktYyksu5cg+t3q9NzjHJH
FWeHk5ALmOE9lG0l/X5yWBLVOk2AMiRc4sY9fONIHV1pRx/m0tirh3nFlCjjNbnBeAecbtqz1c7Z
Vmuzdd3FVrhu2oV4Uwht75Cv+WSkFoAK0uDSA3peB+DSNyGFsgezzoPPyXBZLHQFVZFtwDLWm418
nzu1dojbDCeuUpXcAaWQV1hRyba2NoylxniJYidp910CD3B0GhNoQzLfxXP94SWOfprpZlyRiqYh
sOlHPxfhtKdLslrpZUNRn1LZhTmTuJhNM0bJsb7tS71jlsXaZ5UASMIyVQ+U4PYvY0/oyerGm8Fw
7gx7SE91myye4qp5KsZcbfu4Hi7uiFELcY7cH1kqmAT0/mK5Xg1CfGU4wK5YoGZvg2OInRPNm6Sb
gAzGaecjXYSbjKHjykojebTrwdyFmjX5WPfKneGkdLBUpnVe+qmkWzxAWf7ZmnZZI29h1tJ6gLqW
11NYGnUXYxpZVAt2mkPxbI0lVZkmwkqfNlzybNqQikoPnwAU2s/h4JIVjaup/ayROCi0anvztcYI
YPd0tDa9VjK6GfVR17LxnvdwZfKE7k8uI+vB5nr6BSEPb4OVVdu2Cl+yWZsOqjSTAxKhvZLmFB7T
vo63TcqbQ7BNusMlCYkXxf0MmrZklnYYc6x5BPcnRus+kMV0v7xAVTcSn+obwl8Wyp3Gya7z/Oef
Q/q1pvlKTRG9JaFx4/VUVDoDkXKTP5i9FrwmhJgTY+s1PGGloXeHuScP5pmx3FfccPAq8n4Y88LZ
94x8P4Zei9axHseYh3q1N0qv4UlV0QZbZwvdVcfQNsZk+kXernVi7uBGai6s9ryPFN+8wWZHl3Zy
E5eKqnv6c7yzdDS19pTq/EGa+QGztHs1kTg7TLQR+albOxsrhr+hYLIdbeKDhxbnrW8uzgUjNd2N
hmueVBeBraD2vOu0cg3fCqb0UBHf34vKohFBDN31PKcmZOS+KChPiPQ3iLQ4f6i+O4W0Te25VSG2
m3W7tZP8qspIdMHwnNbDWLFdb8svS2MmXv1fnG0Y44E4Us4AJpjgPkTJ1RTjsRpjNfqt0QZbDM3z
prbMYFN1nKAhSX0MHJnb8BkkwKYC1gwVTv87aM31rezG4JnZ84W0Lip1T2SPjjPn3PXO89SHFJ6O
HueAYmzFWRidMly9POzsUx67ycUbJu5VjSWbyE+oOiBDKoLpPBehuiYa7x3HFhsMt8foYa6RDnK7
ax6x1mg7hQTxY6IzK1vJ0HuZ5oAKb9cbL0ESQATPQv22FZLOv1IPtlNoYg1whqG9que+ecWZbT5Y
OvsAMauccGEzvkuMtrvU0INwxbuJQdiQ9cM4VqD6mKXE0Hb0NAzNlpLDdxE6PxB+eTViQ9FrFhv4
9LrS3ZgRUdp1bzSp/62+/mfN+S/WnJw30Lr+fNFZ1l/1QhvRnjH+ABv547rzb1/h94Wn95tpE+gS
YgFSLasFNg+/Lzyt31zbYtvAtpN/lZZg1fXXhaf+m6W7+Cg4fTiBmKb//8JT/IYgRQaM1QDrTr7A
vxMEcxfcyR/XDCasBvaqbFENSQjil7iUyKa4DypksZ5B8N7CCX/LlF1dZUYQP4NWNHxsoDg8FUYa
d06yc0PtwTiWcs/0e0UtGVKmgSKt1224wSFjLWJ9t+EWpgAfOdMhSWLAIPBB5s2QKXUT6O5zoZVv
yP4e7Ov0w6294FmnEvOKQozCb7NabKPB4hlQA2zQHYJkmPt6g84E8FQErWyoCaM9kpIlsO9pWvuq
StG8DulE7fs4UAg9lva+wlO40aPAuCguAZdoifN7Gs+cZEg4Y8UbK2hunhGuIjlamD5pUFkXZfVp
QN7exBn+H07F7CFo8/DULAwBfLzFDYDC/B5IKXPywhrI2oz+9dxzgSaT0snWjYaMkiyAAspiUSB5
zdQzXFrzC/g5k+8CNcD+z61EOR2ogzgB397oCYIwIATORhdz3czTXA8ETEtQT3x5rcLYocfVE5BP
wR3Hq384g0UfDIznlRqtZqtX7C7makExmGa2VLUshAa6w7Vn0068rdnV6L/OwnKo26ZgvI11rqtA
HsyqIRX1TX7QoEfe0wMUb/SQNp9kIUWkVTMf3JmlE5sG7HO5+lI57cYrr+gW0jRhhNc6w0ymVS7m
Lra2bxhdyq+RYflnM6btpsMv+jkvBAv8v+3B6hsPU5mcruU36qJbqBe027ZbmNiQMFxOtdXcNcYP
kQxiq+m9A+ECwjMd69g9FUSNsVrYGmmgykclQ3UFt1qdg7T/CGTb3TlRPD7RuRw9QL0Nj9wwJKb5
UR/yVSpBNCB1GdzjS+SsS06JX0+4d25GH4bdQOahrz7ClIo8znMN1zZ+r+3Adu48ZclAKIOkzd5S
w1NVDeaV3qcbL2nDHZOtojxuivgzofvAqNK2wtX7u5yWG767oaV3Jf4f7KnjI6gI7veF4ACpl7cn
WFICUj1YC95VVicpLqBAlbDTwhERmKemldWE5TuKurYOR4pl4C8Q/ZG9fmVXRnpRlpvSaNhRYKsc
cJwGHT+mESACBpwRGMgTyQ/ey1fFQwq5ZpLsQdwSwQvyN2bSz7Sv3EvaOmddm6kTFLhXpVr+Fln5
KJpGO+kOKMtVOMeFX81CbDNDwqkeF9pEC5dlquD20FcyU0eXOxasZZv8F0Sximo3yNdT6ErkE2N6
raTDDJEVg43pLoTrm4J8dVbC8igSYREA4ceEQpR3heezAZupyg2yJ0kDzorNg7Mm5ADoJXHRPVL+
iEOWqmxjCK1sfVYLPxNMt+uaflHUXj6CrhYnlGzU43kwguZNqyWSoomxfGgKfTN0gfkAVaRc91Me
+WHXMohhRVwPCqfjUtyjPwgusKFVlIfJKZwbc2I/ZEJpPee85qdmNstHO3bZUDMtX1kVePaNpCWK
K3+i4Pu3BkdBqYV+EYXx0U3L6T616uSFEEG47QdqYNmyMLCKZXQdBpvbOcywu3YZbLNlxB2hiB91
PjzwwBmAR5f9T7fMxMtwbC5jsqIs8ItRvz/QrH7iWaWQErJpvFfLiE28gVHeXAZvPnXUA5uvzfdM
PuVJ+zlAYsPuuwztXEDDp3JMUe2WkV5PkXrtZczP3eqZStZnh+EfrvxwYfli08DK5cBcrglsCrkx
JPnwc9Szhzqej+VyqTCX68WwXDQGpU0+WS7cr8s1JF8uJBg7QvzxeecXKbI5DctctZjPxXKVyZdL
zbjcbqq5Ar9Qns0aqkXXqRm+SOussOUOF0pC1FYVbv3ULJcm9sjZCUkHHSBAUTBScmWzFxbUfVdQ
HxZLuzM4HA3lPG1DowjXsVGnXOS4r8nl5uYsd7i8JX4S6KG96eVg0sXdyJOddx/WcgVsnJg7q9vF
9HosN8ScnnO99ojO6VF1m5hBsia4Iknoew7xPvLVsOe5bUaFloNHkfGPPurkOeFtxtZ19C7YHbXD
YGMy1p0aeJMYKb6lVeheth4kv1Gmn33VRAej4zCMY0KWlCNb1+b3pRihadprCDS7crkzE8YoD0Pe
s1tAEP+wcd+aVHOt7XQmvp05NFh4uE8e9NFonvKyEY/u9z091hxqaCOzAl+hWdq6M7gUq+/L/WCt
HR7gm2zpc0MFdzeo0iYuWBqAg0UcUGNIybIDZjwEwnSoa5E8a3avb0KMlo+FLVI0hm+9gRY2BDo3
k/kPgrbVnTWC0laLSJGmWfceogdTS9SqTd7NyaNaZA3WIbrvLVKH2erdbdv0+2Dqm2vegnfjIozU
KCT2t1biLLIJ908UlGARU7xvXSWepvAh+VZbQpGGX/UiwdBLiRoDitFd0yPw7nI7Yg06tUjxCOtP
YSAdf5hTtJ2MMuRVQuXXg71IP+EowjezGby1FjfjgVJtLjKphcGcrCJGmqAod9CMg34zuWmwmyzb
nXaWorXRqqzPKm7c+wTp+0hNXkQ7LADxDcEatKo8BUWtvhUs1XRS+aYSkpyfcH7Oi9jVL7JXYljJ
rb5IYepbFaPiZFHIFrEsqjpgcCaJQN1mkx4qqPEGSf2juQhtFnXPpNmM4FxhUtjS7xrfmJHRb7pF
qDMWyQ4DwrRW3zoeusV4kt/qnrcIfdkgDIF51eGOMi5SYPmtCuqxmJeO90UxXOrF2Xd/K4kdfdyr
hgv3yXIK5F9NYD63bNzMVe8DDC+ZkLL8LBaJUnSDHKnFZk5kgEHEDOm/9mmQirdgCbRXNWKvYg9s
Dzv2l8m7vYiheWWlX+W3Qkq4D1TBJAdhrnJh9HuIcOWmp9PhadBFvQYDq190bXSPGqCXJ1au0QFf
vHcoDLf4HJ0JPuUQnMMgTT/GyVR3pD2Du9zJeozRcaWuugxLbFvOD0NKplKzBIpr4NDgbEzBl8rI
HuhZE6wn5TVbkDT60R2Nfgn8dqPDnZkbo95lPzLsu75lk0iKdSyzdo3Qm2SV89LOSXl0OIvOFR6t
W5Za0ZFy1zcPNf0+asb2DU7XwF0Q1aClupGPsEXLax3hrvDAmzt+p2PEw+K8I58TcFtlAz03Bq3P
kpi8gyHg1lncQ55uPHsECNcdMNUTbu/qQjk6c4SbTg9V7rGuwxK3kyEaAEGCkwkT70CPmHwyQ3N6
THhtVzOP9ks/lP3zWFXBJpROzxitWZuManaCTyBfqHQin4n2MF5Sx31L3elWk5gE89TuXlPZeeu6
bBHhpyy4qkT1OFmly/jEYm+AO+sPWdlmfmkrIDx5IKhXtVPvYyDHvKv4xmeJme/aCLBaBV01rdo+
vsqlpa/siNWlrqInKQLj5FTdBxVJGfN3hT9QUfkUjOdpVLbfCaO9Tuc6OXh195Dbg+IWXlfvTpzG
gS+VDmMlRvVUYB5xOM0DpJgq3pmJ0ZM57EJjY0Fwxy+R84Qn/Gl+lI5V7rH1kMqwREioLqt6lowZ
1MIbldl42m2ejLrwwqMsiJzIvMlWrR2QUOkl7EGPdQCoWv3Ytkl8q3khxh09L9dtpKqXIXP7Hcu3
O41vfQWXkdChs/zRuWoR5I90eawAzXog1uf0eqhohGlgkn6ZlmruijlqbrUaCo50eKQbUzqc0ZJp
U/KwdxKFlPYLKAJ0h8QyI5pPZuM1Uvxy7URcJa0x6MwsIXeNyVK0LgPrvoxjQHDc3ua1ywVm29dY
0YdGupzp83QUYo7emLWo8bE8lAwM2AEQJsKJHu1gt0JnHzCpvns23Q4CQjUi+UdQfcc6OUeRae7g
NqN+Rznc2bB1umv87WWxLsATQ4Vg5xJZaronoSI5f4Npp7RwwOWSmY/8/Wd27V3OKcvYQiuyXJcU
TwPWrRgl5zk5St3ch1pffzhNKH2r1pfCzcbZZKatrjXPqm5zO393QVQxTULY7yI9LNdNb5+kNpaA
iMvxoGjKJo8XdKeWmGzMHzuYBY3gQ1IuNDpZb+hOMu9G3RleA0GCUxZmeW12fAC4q9SXuQsThAnF
WiRnkV5XGcCmls2Q5izxDaSktAz2vTXvgfYibBLaX1VivLiJoVGXLT0kxRRUp5W1m6BPbnM9LrcQ
NzO2OSLZukVnffBUqLalohYeBZimbaIw1HyBssK8bzyoyr4huQKRkMQinMiqoAE0yQ65G+awCQj0
VmPg7F0RVG8qqK7rMiqOZhINa+l4vHsTAIIYOUZxpZlB4ztV5HI8cisrOju56BOnRSjDd4mr51Sq
+SZxc8tPFswclXf8NPl47DLtJ+jv/hSz0ITu19XXeBY936DGHALAm7Eg6/RWa/YJNaPrFrbyLqG4
YF1H6Y+x7b7SStv+R+X6X9F0XfhDf2fH9N/b9//z4/u/vH7Pf/z3f92/v9cLTPcPGN3f/6PfZS3n
N5MDGIu8ZViLCIXV+a82fgM6keU5HCy647qLb/Uvqpbp/WYbhlzkJhNHK/rK31Qt/mkRujz+zZQ4
8IEx/RsUXbLM/6BqsSrmf1x8HGkhmP3RPBsMOR8twkyYpaqaJEsxPmLcjPeqd+n3mfBmkkJSADlF
uSqG7lJkVD15YYvXUsQ7i/08JTSdzmGbE7jxu9wR634Y1DZNyk8s6O4SrJV+bBjFNV4Y9udQWBpZ
vWYDO51KTgSUa+3InXx5NFAC0k9ZeQHN1q3lVL8HTQZBLVO+0dnMzc21abMsCKzuvlkEZpPl5ppS
GTigdXCFJXuZvwGlsNuiyDZmAWzoz+yJGXMCkDZmW7/RpLOqh5iYlrXHo0TvTsoVtoj0cwt8jbUU
1hCj23GgLoVV7HK4Fx0GM2TRxqe7VH2yDXnQ7E2FjV5Iyi9Fap8dJ1obQfgaSnq18jn2lp9+74b9
pnTELpfuraYPjzqUVywbnr7SZ+iZJH+Cle1Mp6Js2ODVUGignWcsQyLrCJBzVRC+H4vq0wzSbVyx
Qk1j7zZfVhstmsUw2+iL+WOqEPWLnHq3NnobbeetpOk56dsXe8HapVZM/1Ae35RZCcCuf+pLV99V
xPA2Ma4nn3JPPJXs821N3FDdSCFW7l6VlGKt7MFu9owS1wA14NfiO2hZvUXOgOMskcyg2UUU4TOS
/TPlvvXKjCD9xSJLQcvS7JMuaL5hgfR9qwGdx6GFQ/AYT3TsYb1Ld0FN00fkHvFBPsbg/go50XZN
/egqBgVo2DABs0bQW8ItcFXDChROT00MiHs7KI/U/LzYffPRpBp0rh5C5eLwQlAs1xa4Qfydqxj8
oJeIy9IW4ArxwpGDq9+GYpA6qE1cp/bFMACE8gqW26JldhjCTaGZe31woRq/UIeIbQiN6QrMXXfI
VaEdzA5D0tThdzZEdcUepFzxpur3KURF6DuBoOQwuAptkiHxglMUEZQekSXFeuA6F6/iDOMFRmLu
V6DugOxrKREZrFCoYXRCBRb7dBLaPzqtT5bBXb8FSPlFNrNasVc7YeMdNqrtjvTYRuum42IWaGIk
kD9YpwbC7Z5FKIV7PcukxgVvwc68zC6drYuV42XGNXqADW2Wzb8befFLsHAmgyTtfYqkmrfWHrr9
3KX1AlnytkETqhUDaXFQrqsdkbcSX4a82Ili7QyaP1sxr8idqWnNhpcxu6hUpncYtz5Dh5E+LKJ0
m+Ig3pTMUA95oLjB4EqigtL2sBrNBgiCgoq1BagZWpRfTTK6r9JiWldYYV7txvnIPYaKQLnByYIW
sxZ1Z25zRelDZRGia2SJScelnr2JS/PEq5YdNeFxx6F//BjFCJQ6gqtj18F9E9+MTdUe3XBKzwCj
6i3tWhFcB+o4PRwjPpk/8yZtJtDZmjyYAAOorcx+WLP1ThFbvuv04RiJ8hDUDU+ZmgQES/V6V1EP
T5kvsgR+c2C4TcAeXseQPTmgqNEcM6RAC1PxXSzIx6a1126KPCg3TQI8IYpneut6UDfTbGIZtEEY
zlMJbr8qPh20I9/qo/twyH82cXpBh1vW78OFB7NxCAEsshYL8UBW1eRXEuVUTQ+BGHChG9l+njr1
aAXlgNVhwiZejALLQfZT10FmtPYoIbAAg+ADJybfCHMa7+zeZcPKJ86gOPeMi947kd2q9nEw+La3
gWTRbhGy67OmuVQqdcVMfjq5nez0WcqQNAivIbW8DktLadyEctYOyjRaP9ZUeJISVks4T5LqMqXt
89H6oQrs2FhcbD/thvQ45Xm9nz2e2S0s9r1Te+/4v2oWGa36PQL0n93dv9zdMTssWbf/OaR4/0li
GyJwqO0Jz7Ys8f5+wnHlX77A37KK/CnZtXlwBOEuOizofh9ynN+YfSBwsc1wTRh8SzLyr6s76zdB
UJFJhl0aK92lVoeYwFIVAMOR7BoOasuzdEkTjvnvDDnLd//j5o7eFt1w0EUl/4+YzB9nnJAOVkZq
IEmpLO67eTQeqLvhkB3srQfjDZvwZ6DMW7bta1fDgA8gGvtxErV+hhl+1bVwYdgU5Rsl6uGnY7Xy
3VHdi0tkdx0W2XTV8mzbUYRRP9SNC988Kta20KnFMO0rjgBnG89jBunfqV+KXnNZP6FqRYjGxxYD
zi6j4eA6a2d9MwY0tEwRrWStKt6ydmGwa6PFZ0+fwr2bjHy8ZBaq88I6I1ziEpR2bG0dOP1Wee7g
g2eBAA/CaVtW2tLKVg7bYQKt59r53hjpMmDxFe69lMpUTN6ffSMVNFrnrYZhfyjapLhLE+EuNHLu
MKCPjeoDyd25iqLBQOPHWbOKDKoagR02FxdGx0ancYctTZBpm0pL9PXfvetu/0lC85/98WwTbxSb
XI8Y4y9r11yrSYLT5baGOi2eqMOkrdnzrjxTH/wBv+4qaqrYl0VpHDgqvS1CnvuqEdikgqYgC86F
2c9wiftN5l2JWn8XCCtGh011NQm4BsoInqsw6J+nyQwehhF/spdN4e7Pfw35T2JzhrlASQ2h89vY
v4QN2UMZAPxZxGghAXZHoivP4WgRARk7v+2a7jBU7bwaeopY2z4P1jm+7JVVdx7PXcAof/7jLB+7
Xz4Sy92BwL8j6c6gZfmPH4k6SEtPYeZaN3a21LC58o0VdnlWDYTx2hiA6mTz3obqsw5L6t9jCfnI
1uzpkCbtioRC8gQ9zXzqLadbEUTo9/lAGWMRK8y2VQHZObHiq6TshiepkHOq0HK3WRn4nQNLUpfc
h6elW0or+H07ZxzwZqsUL9PYJv8i4/sdRf5jPpDnjqnbPGosY7mM/fF3zezS0egbBrtAv+pK4Vqk
zqphhwEngibJjhc8snQ2UZW8j4kObjvm+7Whs4iS+rhPNNd++vOXf0kk/voT8X4WMGi4AYp/eDPE
ut5reVSt68KFy6aV4CGd7GjUqBmTlZUAxdwO/XTy/NmlQvfPv7v8Z99ex7whsFWQ1vl2OvxdVLFT
Qy/rpRjKEolNyTS7WSMpaEgPbU7vkjsf8YdGUiatnOehL36WWvEObM286c35Oo7oGBlG4fgIeMW6
p3TvpWEvd6mJNK+BZv5Fe/ifa6/+geIqHEE1HBVv3HwJu/36/O6KrsK7x8sSvPXCpr3WitXaSWfa
rKr8DLaOuo/KemBd/9nOONH+/PX6x4w4HxK8J+ABHRKW4pf3zzzZMkyiuFor1jJ7AjavPEK0fdgh
5oLQnHdOb9unP/+e+vIB/OUtIuHzOjaaAU8L95fnRWpJuDceb1rCtNZTUuNpt4uBB13Wx++DZsxP
kPP1HRk6ilOycb8Elr8S195NBVlbhly6prUfeZ4UzwaiE/M1q7qqxGPPrkGg0K7tAUJsCHs965XC
O6+uWFw8QnJJ/kXa2xa//DKYZZgJbBQLTj0+ieYvr2A76jMqVqNAQkH1KZgkNrao1QniU7zualpz
MGXjrAkyjB8pF8U7QkcLgqMR7WfJIm4B7tvBkyf0rw5Z7mim/fwQRmi25JVSfzDkcMo5E/eBh6Wm
WEgfbP0SstKeV93XArwlH0eCLyFkf+zPNRxKQCFM8+WqB3d5wxrQ8M06AX+cEUtUmQ5RMGLh7dod
bkKedTsntKx9r5zsTkYst5mprVUPWW4zsKIABlkYz7ZorStYB80x9fJpeU628WEcB92HTd+uHLOO
9tRIQzshG+ng2y+D1Vi5j3kSlzsV24wNWVc+ZzPkyFWQKnVux7l9sEURQKipx88mLbqNMifHp74n
O/RlOO74L6aNpSD9QEEqkjWtCsJPFkCLgbbo09SbvBR8rm7JDsFvoQT4bC9MF8X78aIZlbPJSUpf
hUnonnAxQ+irotg4FJLNGioy7TGNKICxBjGr80QzypuwnVn990b7mhtTfzLoW0FCnjDyWSoc3dVo
AMyLVIN7NdCNZDs6yXjABe8djT6US0KjumZHl7Ih58sRjdTje7hG5Hj6qLSO3gKSAEwVC750P793
dr+s19tQ5puZJC/RqmYy1rKep0PrJOoJiI7zWPejdlOpIrxVbe4eM440esVITaqdnBLg8OOId1rp
9qjQ1C28MPXoEF7WjZbI/1z7QzIW747TR48jN8ptTU7rNC4p2jluOOREqeEGqiYXw5ShD6dGphNW
iyA1qZ+zsq8BPf5W1JN4d9IqeSRRPcWrDiGk9hHVwqOJinAm0jVdpbkZbbTc7s9toU0vobDM2yow
krveGjoTqv9icckap+YNa08DkEjIZxis1GMLVuGslHQwl6ih3htxG93Go6vjFdNiXxNtfK81SYG/
PrOOEGGH68DpBG08dnONjCnNusbTjc2CKHr4CNl/AQNHw42iuHoTur2968GqXcqkMC45GxwKy6Px
SSsV7qlEiwh4Ye/Wimu8Np7fN6znqFDOv/g8fCpvDu/G5S2SdVTmGcmr1eRxBtu1hgVH6sd5QVgz
zyNxyAvQE1CNiTsyPKhcPeE1uIxhR8rBjH4iR+4zqFrXZWn3vgn/42nojHpvYQM/WhzfK0nbxkZy
oe+oZsYOy5IRQE+EIMEmXf6AzBTsEqsFGYVVacObot7q+v9j70yWG0faLPtEKMPgmJZNgrMoiqIk
SrGBKaQIzKMDjuHp+0BVf/df1W1dXfvapEVmRoQkEnT/hnvPxXA4zH68r5jCfdhx9Mcn1ivo5VBg
A/bSTUmwyhroIua8Ig7NVTKMO7YT9rboKLUbNeFxEum4krzwad7GAU/SjVXVxTZR5M1LgHA3sPpn
1VyWaNGmMEs3mDiyfK3Qaz2XWDJIZCFQg2gSWJkgtJ3Pfo4vUrXjKkYCwopb1XsHZcpO8zPtQGky
BUt7BH64tXaub32Yg+09IGuY1rmaH7tp5PTXPDTQdi+BK7XMrFgFsY3IfzNGKBBAmfbnGE1vkbIu
oHyvflMVj4lyEvQecXb3Zux20s/WEfzhGO1RyWJeU+9Y3fRV5DW/6V52PO7Y8utnylDw2HvCcRZ3
GhaFKq2xBL01I52LNW2xPK0tqzq7vI4Z/3eISlgpDTKKWF1i19/XPt0GKy+sjpEJoRNf/am2y898
mF9i1f/pMvs9bR2dmSt/R2iJbE/e2EXmSSA85tGuBow2y8DW1jC3UCcnfNcT4pygGwfCiQl6OaHZ
5vQBGQrwL02nYlPFtrdyk1htMNSiYXCxcVOnI/liFDgmX1H73cm/FsrNEIhbwdH7iMWLs13U20hF
zUV3NHEz4j5/8Vmiv/mj650H09GA4c1QDitr2Kg5hxoK9sY9tg57RzBRW/yAmPTNkaPa9h6HxgHN
lxPQvhFGVD9Ko3OOtHPFdtSqZ4qu5FsJu30tktg9y7Zuf4dM4J9CgjrPplt6uyLRy8Bx2mjrgQxn
LIQXdmX4IRxvyfD3rWzFyOzaa4nzipA2aF7Ywv6q2ePnxU4CgWM+GqrXOR1+41HgySh1YrfHOyLt
z6aObjXqWjzGsbgRsZyc/IIblsfguUrS+ohXjUEfboFVGhXlri9Fd6Cjn45w1CC+6239SsMZtKMz
31xDvU5Joh2zvEmuJcw0G3Cz15+YjUbYAqF9rkSTHJJWw/yNXeqCdBGbd6N+adIvrl7ZxF8mlt0X
wzL4siH9wn6KDT0QXRyeDZjPG8XPv8rjTtvEPqdjvxzgibA/fMOYzgBji492dknzs+rmDZBzFGT4
Yx60diDGTg35aTA6bJAQHa5Df62MFPBx2ytTrYfCnP6SKCWXw3I+xabubmMAX8dZ87WgT9t+TfBf
DePQkUyBxzDdaXbvXlqGlAc9ZOa5CkH8bvRRhLepkyENsvKI4Gn5i3jT/WM96McIA9DFTJX1oCyQ
he6kdwePJIlDoqCkQ/AGz2Bp9tGWvvM5xZUTgkHUisOIXOtxSUT5Q49C/HqlWf5x8nOCdgxrm81a
dE7muD26ke5vNRnqDBMXQgEPCJoDrAN7157+sIRGB+vJ/sMVQ/bmaV12hHURw3EgaIi4+9Y2DtIO
48dEI50Gkpw4CFiy5w7IAYFZUBk4a5R2mo1e/+UXYOIrww5vKT3YNU9x6scGaQI87SZyBuwt+p90
Aoe/Em5CWnBKGcbSaBQwxt0ZLGTcV4Bzl0HQuexT9xLZrnopCa4D8RaOF01Lq8fSscYP0NLiV0+i
HiPPpI/zXZZrzLejUs47pxhSqganTPhAUDF82qLMIDQYLp2rSzzr5FftxlkSWz0+e08uHrSjP5Tm
CdEnBtpOT/N9MnMMFFMfewEz434H9d4M4rgegT6RVvZbJ3bnHfPE3K6iQoG9FfpiGRXZyaocJtB+
PAEq7OIovIdd1t6QOLKrMTQjyGL1aqTS/DCwxm5YJ4WnOCXOdiLXFue+Og1T2mwjiVGX30aIZINU
h4xAcSylzPapKI10BZsa/Ksilx0vfUrKrlX2OXup8cFRQ/YQRZ62H3SSecslo1cZs39Sse4+FH6N
uuEn0NdqBhD7TcelqbP3wpGPM9jzUel0XMRbRKjzGikn+RJxNAYGrMZq8f4bPxgAMJYgAZwfPACQ
O1AB0UIN+Gl9/nso+58PZW1mpf/UJ/5fls1fCzNO+x9l/Jl3/2Eg+69/+N8GsoTguICIQDA5GD9h
2P5jIEumju36DvGtcODsZS76vwey1r/odGqk8NgeXbazLKT/MZAl1tW2Ta7FxfzADvu/sHOmLPmP
ve0yPjYskEUGS2xQUv9+IENeMlJfk/lD7g5Y0sFAcIbmxJihnqHNCKcTd5+ExtbcKZq9Vdx6NhWF
/WjO5bfgEV3Stz/Dhd1S5bG5T/T2l5aS64LUv1yZE9b6gbA+AlWgSpq0h6F4EgU9WWQFEzhODo8U
vgGRIgGFRMs2xY9foQWkuAqI71g+WsiNKeTydVhO3smcLf07UqkdlJSxAVOt+QhthVQy7JhH3WcH
5oimeGQJ9BZ2Zrgzy+oj0UYmtrJQiE35hiJVsJWWyW4a0KojDTJWvTD/+LKXNCVnFaX1Yz2QQhL3
E7oUT90HCycwS7ubsPKOikhjOFn2QeKZwdClyLYmLw0mGn1oompddfZHDbaEMBQP66RTUCxkZDxM
9kvrdb+mZogOmIcrGp5p2korupgWuRphOeYBMbkXYGzs6RL4B1IssuXI/nZa0MWNLu11OFs+7uah
PcXG+Jx3rtwWWYFLoiyuEAQmqvA4v/QcaEcJQBNCzRwGXs0CNmw12CB0Fwgu++lV1uzB2HL2D5lp
i1eUYQ814/dHfBKkfxgsoPV6/PTclgDHOL41sMb2VWtagRMpDlP5u8rqU8M1G2j8dCuV8Y/GmvMg
d4iEdNC9rFMPc8IEtG7VmJI5uj/6N8+yn/GpTOR9N4rQynI6GpQMB+Tw+GV871tvxQC6xeJEVKGn
QTaCi4thA/yqkS1mgR6bdDKit49BwSg/xBTeNUrdw6J3AgeNM0gM1IP+jAwqjvbQT+hSzPgTi0/9
4CYVA4zButTsVXE7EITQQmEOmiyMn6OyN7dQObRgsuAFYGvZuD1REugBXfBQst1qgvuAO9Fb+DXJ
I49t/FTxUHjnkCk25CukYn5tvyWNP+zKbO53hBv46AyHesUHcAx6VWrbmDdhx5jG2Lt+u/OX0bfb
ib9j2uVoBLgV4XTLFcpb2iENl1zd9cxB+vAzSxyKyaTfti212Ri9okeCd1tP4hipOTk24WhsW9kS
shf1FiRRrCtRNbw6vRb+jiYiBUwfxA8/Ae89W161trPyXqSYu3sAemdJVC5SAzc84L9IeBR4zxHs
N/sp4REbJQUJI1FeysTr1paeN1RFnBMZq8zf+CO6Qx96GL4Nv8CarljhVD2yClANz4iXYSwRN3Ms
mLC9FHZcfWYTjG10tMZuwpCx8phXreOyxZgQgSNP50Lfdx4+bIKsaN8NIue2ZpljhpgSn1wI3/tL
JpkNGT3nh2EjX7u9QYfYRkevdJ8Qc0wbcDA91mBnSJeNunEbYIKxo19WtpHD3nSVuQu6qSHZ9Aim
a7rjfpgxujf9gxhFeq4tMj/cvns3cq3eNRkzngxhI+EZrnUcskYSE6/0C4M2xmhIftc5iZtrk2mR
h2F5rfxoi1kAwjghIeyexyev8zHb1/3fJBHNwdFZrTp2bwc61TaatqwqmI5J42Y6UX5A5hafxBD/
0h2kLL3ea2uBYJJNNqpF2vp5Q+6itq59oZhMZPWzibo6yBI+IdMEfUGWZDdWQBQRzqLzcPq62VUR
TiXpZgDsE+NlrpLimjiFfc4yzyIx0o8+ZDXp29KBGMfkzNqg8ofFCxLpzOzJ27V1UvI/pm49sOD+
67gSglDWtvfU6h+RGiA8HZzxyxyFNi21rnjoIFi64ZTzA0xstxl4DvhtEFumgnm6ANj5VPuOgecu
J+SqLKczsHbCrcYwe06S5KZjIj3kFc52y+9JqUWhu+5GYnEsg81BGAq4VHjpgiixnwt34gx1Ofcc
kjIgTnXkUxe8eMyzs2OeiF+MaLY0xhcSeOoNwAPnV1HZ6iAVP36jE8g1QP/fL0Nb0sFyPnWCuGeC
ZsAfxBhJMlIMd1WHFtZXmfeGkUm9hm1JubikcCEkSQ4keOE6d5j8ZQ3ryUm6T8w+su8Rxt66KxwW
8jJ1n2vLa+/TGEWnGuDKV0sXXkJadkuQA6weVypm6spLHF3VXFBI/+yHUzqNqzHP+kM0ZgvYpiIh
Z54Wt7T4y84tekQJBGomnMZdN9vsMPSC9GkRQeObnWY6i9h7SWNPXWas+ADV43Tr4MclkFonxqMA
NEbKL5IH6F06HFQhdbG1Bz1/thbKF4wXZ+NoNegvY6GAVaHo7kbmTnLrd/KxcaCFTWnlPGTkUjAD
LcLylzvDFcu0uKJ5WZhkkyRKYAQNbi0kMtKdKbCHBU82584vkAegwGYVkRs5aqR8LESzhNzbIG59
eRNdAvBs7tHnlPTSr25FiBRCJthoSTcSMRURFG4m3FlI6GCotSlmRlXFcHAILeEvxUDEQwl5DXZX
skZllHFtV+neWAht1sJqaxdqG8+4CsYflJu/UN3meTklMHYDe6t+wG/OwoCj5Yv2ijOiY2YEI65d
aHECLTIDa2PON/5Ck8t/wHJcJkDmlMVAJVvIc21Xjn+1DEuiKWf97v8g6uKFVqcWbp3eQrBLF5Zd
8YO1S8OiAIw1yg3suHDv+T3uegMUHiqPZK0WOl40NsfqB5iXg87rhlZ7ohuKD/ZSmy2B7wGmD2qS
hbrHO/jSoifedwuRTy5sPq0HWJAJps7rZGrhYiREs6uF55ebkP08/Jqk9Xg+5tAafWBsuV6xZeg1
H3SdyI8WRCD+jvS5TKAGul6cP+Y/KEGC6WNWWi7yNr3UUSXXC3awLbuQhGQGzYvW61kkaB2l1Q6v
08IsHIcZF8HCMczo0IkcWdiGE+YRZ+Ed4sWZDmRIjZcIRyr7dj28A9TyuNZhJRYLNZHHyX2OdL3e
cHtJtrux1pPl2PpnE6TtSqPQYZkzBVXoNef6h8zowD+LF1pjWg3qirUSxRAXC4lGC9eRIV1DJgEG
kW6hPto/AMgCJMtn0wzMl/Kkf/FAPm2aTEYbhgbqUdqZDTMG+lPszMXZzeIs8EikufOuMy6aXFO8
6wP+kdbI6xeIPNUhLdNTiwT6rcGa9hxjKVv3eop9QBAHb85qgseTlQFB6qwrETqQm+gzQTMJ4Xke
mtj/cGG7veV6Ia7hpGmPRZu/toNVbf1lxEfwk0FYxlweRo9dchZBw4T8d+s017rHXYFFM86UeAcY
zQAnYsHFAlwnf1pzXtSclkEhuptmkVEBtUtd+jwfTw3GvHflqk2WDDB4IQOdEx/2Ehm3z8sakCw+
VSKoh9TYxzOQCdLDN3rpOyy50nH3s5hwvRJzFEC/BEIrqnS3sh5gHb2MynkhIOBFj4GF6m70NjX6
vloCO9kZZE9V5P+KSMqktsQeq6jHcEQawy8o/C3C8Lmrke9bEEH7aIESxM+ZmX1M0BADOSyC95Im
YCovrRNX5xqK0pY1BWNNAksOqN1+uSOYf0nhBTujJymYgJY8h/7AcQqrKCUhDzsOOvAsQnAR5fla
7x3SCnrXfoqEw5CLEIFgRMu/LV12epNNkq6myCA2Y2x9kY3NaXbXNTqXEnrdim9a25PnFzIvQEce
R7baMzn22SYl9m7wunte1Q8+fdnVqWOMXk79Gbb970GAG6TUImnRW5HXgiIwo/uCBRxvm54I0cbL
8i1wGkE6otgVTcrMpQBtwUY9ZOy8AXSTBMhYNczwNVZDLduMCGluU968FXBCNxCviKobw/DQV9mD
7/Rk2ynz3odcZORjkZoxc5SWKCjzkLn8bJOdqunJhz3YED9KjUhwErVDJldBM+vfKWnfDGyM9pK4
LNmmidFXPBTeRzUJGzyd9o14sluH3sLJEO6boXVrhb7+UPkWEkbbYn0UN+DrHAI5daxeOD7mDuvU
eOY+4T+RgBYohK8m2gkZ7zCPTWsw2+XvKU4LhNMKq8TSJHUHPcsxks5+8+FWwIjxhCEGSa4SxWic
GMMazS4uV19TjxrX0JveEI4Zz3X030OWf1Xl/38NWZDT/z+Ub/8nmJ95BdMV/tS/TVdQrlmQ25C7
wbldMPv/a7pi/IvnLmAMhAIgqcUit/+H3M0gsZi1mMscBYsMfcU/T1cMl4Wn47kkDJsoQ/4r8xW+
+L9TDgDCcC0GSTgKkPZ4P8qCf1J3kDcyEnqJK0jjNtxShxMbB2DP6f8TWQTf4rK3/2eRwvKl0MDy
2iCOWER2/36Q43Popf6A2m10BpREFum2FXtZfePKbK305tlztBetxxaAd6ae4QbKyPzr+1YOsdXa
lg00iUxvblgaN3PNgHiIbjZ+ftcaPge3of6cNyFN+Fy+UwfBKPXMvYe7W9bjkybGqzlJ4jQMiIj4
543xvR4PhNx041bZ5pfTmCvb789VhC3e5VOKQ2bLftFGJGAPayW1C7gbhH6Rd4tjEjqitg0IpVxX
/iPv6bXADr/RuWUDMroOuS841hSRq8MuLZqdObDfsFOyzdnoTBrDlYp1jKKeN6sN39vO7JpdHgM5
1B/Tqr4VMf4xjpDa1MO1N3UcmY9FVD9p2YLCCMecSDyXjqNfBgh/BNusUuPX9bvQQVCBPSZc59q0
8fMsnC/kY1QWn5pZMcVJLlnrBdVoXyS2QJC/9hW34LqjLinFt68zLUP6AJz8jWShCzUgFSH7ZCd+
Ik8xKCLKrgk/A6uGxymq3+r006QEC/iN9y5jzZ6mz8LIr36I0DhpyWh3yK0azRPutsz8FFP3nQus
5ca2mervdjEsFeKgsTlbGctpzLJhXPVNrxOK1dFHO9NXWPnXPIzYYTbJw0zi5ioJzXUN/xBew3wZ
3BTbmDXdiVAEf2Q6G11op7DukMuPG9oP8zy7WgBi7VG2mzbxQB9NhYu43fy06nJNbtYTWVuYhbXh
amrZX1u6gT84+Io7IpFM/8L880jb1WH91cUz9u51VrOYLDGKh2UynzJNvIPD1tY2WSt4ysLir2Nt
QRqsJiZ81RPh1asy/DRoLUqwnunPotcqMX4wKcAISZ6Eysrh0OjOxU0kdJXeAx+SbLpMyZPGmgaL
d3SpW8QKfnGk+e22gKar9RzrapW4H22sbSaMMyvGePn4HvN41V9SdW8d6USpCDKLfcmLpMdpQbNP
uywk1aZ9UJjvlf2GXARrDAZatEwEp8qgKd9khTOMEZNAo/Hum5vWgdV5GAf9rQnzZDV6kOuViy6m
/jbSDyt7R5u7hjZ/CYtj6eTr3FqD6QhGrKKSZdG1qU/18B2ZF0RfKGrcXW/gh+kmosr9ztsglt/M
QEurSqznibrF/S5SeqW5f6E/+S4HuK8zrK7SIrPAO8MqObqKRC3WtMC0bCDtvToUY/fsVz4i+fId
a8+Z3eax8rDq0vOQPpk/gpO751bXkmyYAsO1FbYjlDw4710cQ/zbYqyvMP/VXMJGbrxaYMGfeZ8R
U+Xazi9cbHnewHJNqprey9xl2sy5JJLXomlvRJ2BSmVtZfSB0b/7+VkLz+GAzmwDtA/SLmTf0l36
fCYTjVk/jJxGGFxaxhiWk/yyIE7Z7msIFDIVv8VwzKrvZvrsa7LzMvk8hvlvNdLbimxrz+0TZJAX
yB1v9bgfjFcdp/iBl7NZ6aTjieyViMUuwJk8xz3FsCTt7G8W+mfZMewqQK51prcKga2hKttUwMtw
CF9jrM5JSq4UfdSQ3hK8KR7WRl1LjggsVrpqdg7zP96VeTbWi9OpYI+oMmOlWXBIav0bnitH2Hs9
PYHzPFIsnj2SW6L8ZhQg+cC3Em0biHIxeXdr2+S7lc/YWGmvrSNi6JVlfQn2735JFQQc0Q+9s4WC
g2Ufb76xYZbIA97BJTX24XwGuzmuFpEFEuQSa4FxzcZiW08Mb9oocPsXVt9nf8bs2td/7YH5yGSe
CGM7Wk14jBYJhe2OqKj1U6o1TEXVzZI8iJV8M9seqmxII6mtcTwwHHKx/OjAGBMq+bJmQv/hs4OX
bPPhuB1SvyT2eIahBE2C9IQiQES06tVbQmCIAZXJay1vK5jZ7GRD9OXI2Yb1flePxpk8mM2APX4S
U+ATf8X0DGGYQfEJmMSJvvSELV4ovjJ0cKqqbgxQd8nIG49/Hj5fsva6+Swxcc2yPBHxwfBx2sJI
gr9KnIuVGI+xrI6jYz410bUlD3PQgPRJVnyIEKre/3T9stmgjSBNNGN/J48GrpL5Hfn6OYUGNbLk
2Pj9fEjiRZDjtEczAtENdw79ywCISVQHHD/W5+z8wWr/aSHWiarHiUmntpj93VjQ/0GxqY+APzCX
IWYZtB1b5Y1Kom9VRPZmhoT0wfbdOqSwGEPz2qU+lF99J5JvlsWMMAkLs3JtBeMPYJ7sHx1LyaPo
ZbfLpE26smdLCcyl7m8FKR7X3DU/fekfCxcwAJxW0hay6xDq2tGKHUEsRfXcWrw1bX+dFOTdfrYv
ZKIFXcth57VrF/FQNk3P8LNTd+LZZzF6q3PP3k9T87e3EUWNA3RlDnY1Quyw5mCYmuKW4wq+onyg
g8+KcbWoAhj5dEcUN0jfvS3wWszczIGgLxEgDAVHzpKZB1Pp4mlk678EFECFsJCO0ZSOdNzdDyOZ
h5DtNqXRH8u99PPZ8pqtEZ8tzi/H2KUOVMXpOM3Os9lo/XMxsrlgoAvlDwBPDhe+aNYTN+ZklwEz
xIOxbNIgTesRqUMCb1r9rlCQhXlxsOHOxPrXMPaLtG8NtOPRr0HLD0WN0jG9FKYaN7TQCCqyBy+F
quRMv5FzH5uOgD9psfrwXvEabEPb2Wahfh4acpPxpo/lyMC3Bgiv+/1qcoqnwZYrlEFLEMI1nOVz
O9K5Cu1ORuY2n7IbBgKUjePIBzkLJNINcI0Qn7waYm/tJQ/cuvWZKB4TXlYYKBhNc2utzMZ58cnX
9K3mobGI/Agrk5jJml+o/obAgTvxbW6ZeZsyROtFZcAw6ypQYfFzJhfT39QwT3peKl0bhi3AXs2F
DJ0Hjlm+WhONNJmzpaPdGwI2XjFbaPuxMOwvl9BzCLLFdC+Mu1OWB0GsN7Ng8dLNrTgRYVR8smUF
hq/utdW/92187xR8UYYtZa5QDcCDPNj6c8knHlVqvp5FD1K7V4Dp2e786WgWWOvU17YhkTfFjjWH
GO4wvH1kEqw7ASc00Ev1OhDOglDhHoEDKFh4ZN6+i7NrBsNa3sZ+3+XHuTtLlXPm9tMRIOwG6OnK
nUd9m3ooJtpq2Fujy0wn2huxu4Jy+WxV/s73m4srsfEytV1rs3tvbJaa3gSnxgKg72BDqMbd4KIQ
8rQXMjT91dCop1D58QrCb30mGwIduFmBjMtESVBoC3ggdB/SKgWCE/Hx16A/6YlLM87dZrTaIwS0
P20u7iZq07AGodpEd4vsALfhdA0pBNL+t4cGyggxpcGhpMtwf3t8yaNsi4JQD+OlC82bhmRppSxB
ACZWyczR71WSeydlZP0hwut4MnQi56Fh4uQZkuYJsAHT+87x7+z6+B3OC7ncayNxj7K3u0PoUprP
afGFcLZ6N/rhAJ7laBvN9NR6OfcRB2QqXiFThisrMVEXuRu3WNKUH8cSyMHMYahFiM2yic4eWk4w
R8Zvnu+3PpouokAcmL24LGXwGz67vfIfpa6vDcuyVjIOc3JkYiypTUmXxKfFPgl1bSAkD1IeWihh
VWc++zYfYryn4zmaRP9bjjxSKiqDWd54F7T1XGbOhn1wwTIFHJ6ktPUzX18NJMeuVVhVgQxLgpBa
t4E4wpnXY6055RMjJ6l7XyMJt0hP0wQnONGntR9oGn+XbRb9tmDSGCPiGsgylOO5ba95fvGUtUfz
cvKqguV4uiK+w+yrnd8vICcTOGd9cX7UsPU5sZ+UrgeVZQUh/QvTErLfNpkZBegMNxCfP1IWfLmu
3mZcnVM7oMTx7QvbPEZagrG8buLpUTzqKgkfevNd/jzM4xjwkl3btreCJB9hvRZcvXNBaxDjxj6N
MymkUuBftFoW/kmCkhuztkh7vMLYgvU8jjdK4zlB0xbubOTBynRWNsnJpSXJTGpO/nz3lfibkHke
iuQCLCY/d2gumO1r5q7zi40CHbjyRLynmqwu5EB5yOvqfgV0gitDQs2Go0il47LHmm3jBCAnSLu2
gn+TkXDgQdkaSnczFtGe2d4HIOW1mmvm2ne5oHOE2R6tWr1MxLrrsaQml68MJhfNjnuITZOxZbJy
OJTF8pV6B7QH9XpTVtle9+uMkbPxZs9OxoUF8C2ScCarqg7vli2StwEeDU0OMBh4v+VS/PmYjwb3
yaLznENl7AbksIfMaHDOh4lSL1A0yjWhmVwlOZ4zafVnuysu4J9OkR5+6E7j77VWtGuvHjJQXBFC
KgHsjxW8wAUaA+mHKLPXajYRcWZ91CIhnJyl2smBhRgHSFHAHy9Bqa2VICoH1bIRgP0CEVcaDOLW
+Io95njo4pIrqt0lQ8BoP01Lzy6ptlhQR43qiV6SZl7DsBzXTbQZTOu1KufiJVSJf/YG2ewh7k1H
SJlIutM2QpDRRAcVcYECftKepJ0LgjQm94tkA29FfkjNMgpPgfiSYYeGdQHoyLp/7xqHB6vUwj+w
j+Hqkge04lUFfcB2gVIWnUYrKdGLxkMLu0AFQZrSQMsURribDYsWv86JUqyRkHmpTC9NqQQZR5Iv
WwnKR6wNzFdz/jYR4sINe2zsUHr722KgvLMymLHGD6SAKzPfF0k9rDJWQAePrOVlDus9EnjNahSI
f78DodkdgD4lJ6+o453UYbxnE+cLUv3oVGDReO3LPPsle076rOu5uBrk0Q3evF1hweUWdfimd0gU
+oiratJ9Nl++QxQC0T9HT2H1HpCCQF/rCIHFIT/hx3gYtIISQcRNdWpZMe2SSuX3pqEvjmq6kn6M
bT5JbntgK4bQr6jNV07sgl1oPG2L0e9POT7lFSpQQkyyMN3bifHtd9BRq6raF43wXiTr8nu/bCcj
e/p0ZhvkWOv6616m7Vpi0jiLLhrOVcgSI5w7c2NSA691Vw5bUOUvEWLTaJVDsVtVoMQCdy6GTVZM
EY+cPiCi5JWJUfgjwcD04x2mUp94qFJg74tUw1tEG+4i3+A50e6AWZj+V+0Q2HIpQ7g7NrqFs5pM
yfohzrVfaWbBk1jUIpGqM9z2xmM0cIWsEbxoTAqINPahQD8Vec1bR+MjNpHp+ftK8NbFIHcC6nDI
lW3Bz6Nn6XjBDvk9Lwqlmqn4ARH/dPR6np4mZjnOzPA5hnrLfTO558m3XDTtlAXZopdJYtb8xaKh
SYBxBXkKQCuiaM5q5wH7q7+WRvtgor/JW14eziugbMgH9xw16kmv/XMP4vUzR8BDW2UHBI3NjyXi
Ht2W4rUAX/ggUYFuSYx4jYZFDGRmYti5i0Io87owgPNDVVM5+rGKrOzCBojzHnERoXo8yoveKBfz
84R6mge09W/1okpqwKBeySUDWIdiSWf+DjQWFdNASesvuiZjUTjJObkUGEa2BYXjelx0UFbb/rJb
68VGIDVYMTzORTNVLeqpyHc/oBioNY3dUZ9Yn4kM41njQ+Zf1Fc+MqxK4ll0xulG5VHvihwZUD4P
j10cl1vwRfVjI8+Ia+V6MbdrNkqv8UfzNeTJTtNI6lIIwigDFIm+aMRCkX/4P6qxuXoTuhnGxBvg
D2AfjAcwsuZjqyNTYg0sgrCo9G9/0aSlP/K0yS2aFeJlRGv9ol8D0vZa/Eja4J9xb6L6FT7agXKx
Rgx6AHHc2RR5Lg7KFM07+dCISWAfKLrlM/gvkzmHeShCDkM+7+UFkccHb3GD/cpkOsteOmjG1663
uO3nF1o3bTdO1q0e4hsZGTZLIavcWD1iCzn79zmD3OVWxBE5C56dHPZ3reAtb/xmBwb4YA3o57Wy
PKWVwbK3wcXXcieib9gkZrnpcugLetJ8Ows/zKMV85DcRnwOuCvZstoxTgebYUCuuVOA7F6ufK+l
bBnjhzDRDzKN3qBgIh7D6ORQPG6coulWU9WdY8gs69gsb8ppsG51Eato12fyEMpDOlR3+GcM+dxH
Q4RaoDJexjym5naTcyUq7YAf8alI+KMKmcLacQi2VqG1F0VBVJc7vpdDcTTwM5RJ6T6mMaC0lKOG
ylsjqtnI7k7BKHwQ6QL+RMFG4xMf8hRPFlTM7KUf07MzxoJiI2QMzEo6ELN2rW3zJWzpGoVyCzRL
5Qen8TtXBu8zNWZA9FAftEMM+KICfRyySyU7ip1zm7MCtYnp0p2HdvSP/YAzS4jkapqKhKQuO9US
MX0yNfumZQSIytd7jEtlbJnr9TsOwFtiGu6mMqPbmFd7NOfVOpFk1UMhrLBaZPeqE9s+VhB4koBN
Ppeyc/Y6wGnY8fcTTgNqtJEAj5wOBDYolLDk1Mflk9/Yv3J9vCb9cEQM9gt3YnGxNIryqpDPpZdl
T3gQEJWZ+gWzh9oPGMwFiTKhrvJgrI3tkCaY2vTwsQdRovmjQnpBdIBWJVtCv7EMODiS8/jnV9MF
bNxD1lkn3U+f9cH4cjDPYGueZjIIBXTPwh4PDjOOF5kyUPY98FypMfNTsGeYhvIES/UP9QFtXMMY
TenpzrQknMhwQlNK3pOtsXYUqXztQ8IJwuiIvjJb2048b1m2OntU+x9WPsCho46IcAbyUsDoQXv0
lJXlTuv0J6eX8aobPS+wJoeT+C9q/3eq0GfL0U5aKD5B0zWwlIt67fbOlZz5bUeCdICAJxB+8VaK
dJezbFr3dEhr4NaISCwLHnSX2PZdbxKJQu5H0ochCizC/n9ydybbaSNRGH6VnOzF0TwskgUeAu44
JrHdaWfDwUZBAg2ggenZetcv1l9JgiBs03bUp8Pp2iWSq0qXGm7duv//MwtNcSy95/4fftpAJPLJ
/SEcSWKwBp9zGSX5wJjM2tOZBOJhukKmD1oEdmdXI7sPphDS4Gwuio3Z2Ug3rk3PcefS8kph9Zxb
8seZ4ZHkwZo5xa0br+SP8FJ2bXMOyeZ6EHG9dOI5wakvyx8ma1IYGNxpHp/1zf4F4eDwFOTvksQ8
k7w5qMYvQs3qSSvVO5+Ogb/G0mfkDTAY+nPXjr6wz60Q1BGEuF3VWifdAGeF1AtoD9YRyOVMaWfB
9Ot8Cj+f5S/x1cYIiQGgVCDZVe/yCcShRhZdp2z9YXy1Rp8CEAxCB0jEjMlgETJ6/VPC9dygo3wV
G2D5HaKn6mjWQ3sXKePZ6JsFqyYzHNW8Vco5XL5UAsgaNXnldMZmBlv1LKW5fKYPAegt2mh5hGv8
pXAG/+4ayThcoSvLIjSW51AL9Z3JiChOfw1tDgqOsGqR/g9HtsJBZZnmQy/nmiCaJYQax9ats1Au
1qrG3csaTa7AQ6c389XvAFEI0vT7LqhO9QydOZ8AuNyZeTL3Llnw3TBWERNXJZUxcG5yzbwwvfzC
IwO2PQaOwxEm+j2cskz6ixGyYL71XTFgikEjtm0s9HsJFgDuYwQXkKbdWkE4uXA814h9DpMZJEXQ
1KGebNrZuR8FZJkZcUCIm5SLsQzeGDbrNAXGihNtEwduI68iEZxKFuuv4r4dkq7TINRPFpwBIV4D
v2efJ+hCKlJ6NTPnf6A9cmoa1l3Ud34DAIYS0vge2rVLJ7DOlJHRTayFchKyDcKXOdM5CqLqI5z2
0Ba5PbBLqdzmxJl5NSXeDStPMu6BpzHH+l1fS3tqLHhwxsS6ljhljtRNpcW3fJpeewB6Bd0oMizn
SwnqT/ncJkmCbJgPWd6dZCMc1oSctOX80zyKH1ZTb3IyRR5XtnrcIBPLMubOrUWHlutLP5veSXJC
uoVO8NKWPpGFG3d8ciA1mQwLi5QsfEK/A6OqdOvPI+Xm/wW5qLAjAg9xVnDvfc7dZPXFTWFhSzdQ
BPG0F/tRdhP/3EuHK6pY//4xv4DLfwewfi2/oOhW0edDtQSDzIecEVJBQ2lBO2g6EOM4RQEVEsTR
qHpstQxTRYOCq8qyAKCgvR0rPWeHw59YGvTwO7UPeIjzKBM/xMiPa/xAgqLhJRbYq6BmATQc4XsB
hfKEBUCxCJlrWSQ5FKW0+H9vgcEwhMkf2FPiP9QAObpC119mhL06dowAige6Egvaou1X7gwDuwVU
xzJEmkdZSqMfkREIYzxiz3ztXIDwUoMACgoQaH2KUpsLJsAkEk8M4ERlKXN7jskIhrYP6nq1DewW
SEIAU/Zmxtds4IDbEuydcC5V5RetB3sj2S3W6u7w3VubHKGC9uMli8JeLT/mg263HN20IWOpZj3A
sp35oLBqKo4M3g0RIVGOblGwVaazXa7WJf3NdtN6ze4gt0wZRhUo0mrfzzDQFIW0s+rzBQ3LL9kW
9n7AnWEg6wYkME2XRTSfZEUnV7n60L1hoMG4y/ZoAn8sy7GZQdzogK1sNBegyDN0HWlNDVSmKHtG
kFvYgDsIjZy9IxsEqm5bWrlMN5gEKqMdAI2KLlhR6i6SgnlYcUxsVJrn+NYCALokfTYfBpYq62Kj
Lb+TCneXRBVHUiEJ1N74CMc2GlTmQmN3WW1ZpiFmfOUsMrl2jABjtokWg21vXITj85Poftmpn58Q
+EmOAp8cZFvbZW/HCFZLh0ENAkKoyMvy8pHwAmdqewqDrDYYFucv302fOqY998Lm2PH4eXXkEH4E
54rae+I0VjZdbjLi3+9r209xKtp5uDklFc1Uf1593+OWa21tPmrznx3fTQbJg7cqHqyqXpas8O3B
EJj+17/+TLLMDe/dZLQL1lcLj/BHp969rXV5Z0k41EZnEN7n9YqrjaVpzR/jhZu8uR4s42hV63c5
V5tW/8XzI1dw5ku9gXDuokHm1popZ0PTZg4x8z9P/b/dlA+Zvp24YV3LsjruNe1zm6yXPabdjcvU
tOobD4E6QgiDXVPbCo65zJ7RtPaX0gU3NHw5Jg/yX/wrLWwMUpxdtuCPhlV/ipPMe1OM/kIQdQqJ
x/7PUUWPmv4cl+7DBLVVsT4UTb3pxSGrVbTfXOWCNG2u46ZpbQpvDzpNa27TaZbS/YXO3viQjesf
zAfJnlU2Z9XDdT+1aWxjcI+3kk1s7ak/q2+T4o2HwB0k7/8GAAD//w==</cx:binary>
              </cx:geoCache>
            </cx:geography>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7">
  <a:schemeClr val="accent4"/>
</cs:colorStyle>
</file>

<file path=ppt/charts/colors6.xml><?xml version="1.0" encoding="utf-8"?>
<cs:colorStyle xmlns:cs="http://schemas.microsoft.com/office/drawing/2012/chartStyle" xmlns:a="http://schemas.openxmlformats.org/drawingml/2006/main" meth="withinLinear" id="18">
  <a:schemeClr val="accent5"/>
</cs:colorStyle>
</file>

<file path=ppt/charts/colors7.xml><?xml version="1.0" encoding="utf-8"?>
<cs:colorStyle xmlns:cs="http://schemas.microsoft.com/office/drawing/2012/chartStyle" xmlns:a="http://schemas.openxmlformats.org/drawingml/2006/main" meth="withinLinear" id="16">
  <a:schemeClr val="accent3"/>
</cs:colorStyle>
</file>

<file path=ppt/charts/colors8.xml><?xml version="1.0" encoding="utf-8"?>
<cs:colorStyle xmlns:cs="http://schemas.microsoft.com/office/drawing/2012/chartStyle" xmlns:a="http://schemas.openxmlformats.org/drawingml/2006/main" meth="withinLinear" id="16">
  <a:schemeClr val="accent3"/>
</cs:colorStyle>
</file>

<file path=ppt/charts/style1.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31"/>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5486DA6-B1BA-4209-BA93-30C85F644BC5}" type="doc">
      <dgm:prSet loTypeId="urn:microsoft.com/office/officeart/2005/8/layout/balance1" loCatId="relationship" qsTypeId="urn:microsoft.com/office/officeart/2005/8/quickstyle/simple1" qsCatId="simple" csTypeId="urn:microsoft.com/office/officeart/2005/8/colors/accent1_2" csCatId="accent1" phldr="1"/>
      <dgm:spPr/>
      <dgm:t>
        <a:bodyPr/>
        <a:lstStyle/>
        <a:p>
          <a:endParaRPr lang="de-DE"/>
        </a:p>
      </dgm:t>
    </dgm:pt>
    <dgm:pt modelId="{534851A7-2D68-488F-A3F8-3D7E98ED0FAB}">
      <dgm:prSet phldrT="[Text]"/>
      <dgm:spPr/>
      <dgm:t>
        <a:bodyPr/>
        <a:lstStyle/>
        <a:p>
          <a:r>
            <a:rPr lang="de-DE"/>
            <a:t>Erträge</a:t>
          </a:r>
        </a:p>
      </dgm:t>
    </dgm:pt>
    <dgm:pt modelId="{F49C5C3A-83B8-4B3C-8C22-BE59D1AF42B6}" type="parTrans" cxnId="{1D42ABE1-FAD0-40C3-92E8-8227F72CA4D8}">
      <dgm:prSet/>
      <dgm:spPr/>
      <dgm:t>
        <a:bodyPr/>
        <a:lstStyle/>
        <a:p>
          <a:endParaRPr lang="de-DE"/>
        </a:p>
      </dgm:t>
    </dgm:pt>
    <dgm:pt modelId="{86FDBD5E-7A16-4B56-A43C-12865F8D8066}" type="sibTrans" cxnId="{1D42ABE1-FAD0-40C3-92E8-8227F72CA4D8}">
      <dgm:prSet/>
      <dgm:spPr/>
      <dgm:t>
        <a:bodyPr/>
        <a:lstStyle/>
        <a:p>
          <a:endParaRPr lang="de-DE"/>
        </a:p>
      </dgm:t>
    </dgm:pt>
    <dgm:pt modelId="{65ABED4D-7703-4BD4-B379-B17D077E8432}">
      <dgm:prSet phldrT="[Text]"/>
      <dgm:spPr/>
      <dgm:t>
        <a:bodyPr/>
        <a:lstStyle/>
        <a:p>
          <a:r>
            <a:rPr lang="de-DE"/>
            <a:t>Verhandelte Pflegesätze</a:t>
          </a:r>
        </a:p>
      </dgm:t>
    </dgm:pt>
    <dgm:pt modelId="{0FFED151-E934-4747-8EBA-E7647D75BC40}" type="parTrans" cxnId="{10F58D7B-B702-4072-9EE4-C541229E4D99}">
      <dgm:prSet/>
      <dgm:spPr/>
      <dgm:t>
        <a:bodyPr/>
        <a:lstStyle/>
        <a:p>
          <a:endParaRPr lang="de-DE"/>
        </a:p>
      </dgm:t>
    </dgm:pt>
    <dgm:pt modelId="{9C70D450-7085-4200-BA7E-4C1598B30605}" type="sibTrans" cxnId="{10F58D7B-B702-4072-9EE4-C541229E4D99}">
      <dgm:prSet/>
      <dgm:spPr/>
      <dgm:t>
        <a:bodyPr/>
        <a:lstStyle/>
        <a:p>
          <a:endParaRPr lang="de-DE"/>
        </a:p>
      </dgm:t>
    </dgm:pt>
    <dgm:pt modelId="{61987A22-ECFA-48E2-AF37-DB4210B794B0}">
      <dgm:prSet phldrT="[Text]"/>
      <dgm:spPr/>
      <dgm:t>
        <a:bodyPr/>
        <a:lstStyle/>
        <a:p>
          <a:r>
            <a:rPr lang="de-DE"/>
            <a:t>Kosten</a:t>
          </a:r>
        </a:p>
      </dgm:t>
    </dgm:pt>
    <dgm:pt modelId="{7D96207C-0D7A-4C00-A9C5-DD5E06D5D8CA}" type="parTrans" cxnId="{83C8D9FA-2F6D-4CAD-8659-845039D73A69}">
      <dgm:prSet/>
      <dgm:spPr/>
      <dgm:t>
        <a:bodyPr/>
        <a:lstStyle/>
        <a:p>
          <a:endParaRPr lang="de-DE"/>
        </a:p>
      </dgm:t>
    </dgm:pt>
    <dgm:pt modelId="{A06F8E16-F298-4170-92F8-8779FEB75980}" type="sibTrans" cxnId="{83C8D9FA-2F6D-4CAD-8659-845039D73A69}">
      <dgm:prSet/>
      <dgm:spPr/>
      <dgm:t>
        <a:bodyPr/>
        <a:lstStyle/>
        <a:p>
          <a:endParaRPr lang="de-DE"/>
        </a:p>
      </dgm:t>
    </dgm:pt>
    <dgm:pt modelId="{48F4D967-1F82-41CF-9422-039CB0B96F31}">
      <dgm:prSet phldrT="[Text]"/>
      <dgm:spPr/>
      <dgm:t>
        <a:bodyPr/>
        <a:lstStyle/>
        <a:p>
          <a:r>
            <a:rPr lang="de-DE"/>
            <a:t>Personalbemessung</a:t>
          </a:r>
        </a:p>
      </dgm:t>
    </dgm:pt>
    <dgm:pt modelId="{EF9FEF14-142C-472B-B104-9759B247DDD4}" type="parTrans" cxnId="{092BBB0D-5DE2-4FA6-A01A-8BA3CC0D8338}">
      <dgm:prSet/>
      <dgm:spPr/>
      <dgm:t>
        <a:bodyPr/>
        <a:lstStyle/>
        <a:p>
          <a:endParaRPr lang="de-DE"/>
        </a:p>
      </dgm:t>
    </dgm:pt>
    <dgm:pt modelId="{98637903-5E06-494A-9AC6-59BF3A0D554A}" type="sibTrans" cxnId="{092BBB0D-5DE2-4FA6-A01A-8BA3CC0D8338}">
      <dgm:prSet/>
      <dgm:spPr/>
      <dgm:t>
        <a:bodyPr/>
        <a:lstStyle/>
        <a:p>
          <a:endParaRPr lang="de-DE"/>
        </a:p>
      </dgm:t>
    </dgm:pt>
    <dgm:pt modelId="{1048BCC7-5289-4563-B4A9-20CE94D94187}">
      <dgm:prSet phldrT="[Text]"/>
      <dgm:spPr/>
      <dgm:t>
        <a:bodyPr/>
        <a:lstStyle/>
        <a:p>
          <a:r>
            <a:rPr lang="de-DE"/>
            <a:t>Inflation</a:t>
          </a:r>
        </a:p>
      </dgm:t>
    </dgm:pt>
    <dgm:pt modelId="{AB92FEE1-57AD-4CDF-BC39-CD7DDFA06AD2}" type="parTrans" cxnId="{461151BD-367B-4DF5-96C4-2DACC101EA86}">
      <dgm:prSet/>
      <dgm:spPr/>
      <dgm:t>
        <a:bodyPr/>
        <a:lstStyle/>
        <a:p>
          <a:endParaRPr lang="de-DE"/>
        </a:p>
      </dgm:t>
    </dgm:pt>
    <dgm:pt modelId="{491302FA-0331-4978-A4AA-8946DFD6C4BD}" type="sibTrans" cxnId="{461151BD-367B-4DF5-96C4-2DACC101EA86}">
      <dgm:prSet/>
      <dgm:spPr/>
      <dgm:t>
        <a:bodyPr/>
        <a:lstStyle/>
        <a:p>
          <a:endParaRPr lang="de-DE"/>
        </a:p>
      </dgm:t>
    </dgm:pt>
    <dgm:pt modelId="{90E87446-2F9C-4DA4-A338-B01A67ED09CB}">
      <dgm:prSet phldrT="[Text]"/>
      <dgm:spPr/>
      <dgm:t>
        <a:bodyPr/>
        <a:lstStyle/>
        <a:p>
          <a:r>
            <a:rPr lang="de-DE"/>
            <a:t>Tarifsteigerungen</a:t>
          </a:r>
        </a:p>
      </dgm:t>
    </dgm:pt>
    <dgm:pt modelId="{4407D78A-F388-47DA-9F09-4254A62FD1CD}" type="parTrans" cxnId="{253E106B-4E61-43BC-B22B-964A13FEF11B}">
      <dgm:prSet/>
      <dgm:spPr/>
      <dgm:t>
        <a:bodyPr/>
        <a:lstStyle/>
        <a:p>
          <a:endParaRPr lang="de-DE"/>
        </a:p>
      </dgm:t>
    </dgm:pt>
    <dgm:pt modelId="{C7A32761-B738-4DBB-B570-C2FF7172A71A}" type="sibTrans" cxnId="{253E106B-4E61-43BC-B22B-964A13FEF11B}">
      <dgm:prSet/>
      <dgm:spPr/>
      <dgm:t>
        <a:bodyPr/>
        <a:lstStyle/>
        <a:p>
          <a:endParaRPr lang="de-DE"/>
        </a:p>
      </dgm:t>
    </dgm:pt>
    <dgm:pt modelId="{E0D65EAD-9D8D-4866-A54B-4DBC2EBD39C0}" type="pres">
      <dgm:prSet presAssocID="{25486DA6-B1BA-4209-BA93-30C85F644BC5}" presName="outerComposite" presStyleCnt="0">
        <dgm:presLayoutVars>
          <dgm:chMax val="2"/>
          <dgm:animLvl val="lvl"/>
          <dgm:resizeHandles val="exact"/>
        </dgm:presLayoutVars>
      </dgm:prSet>
      <dgm:spPr/>
    </dgm:pt>
    <dgm:pt modelId="{34CFC1D3-8BAC-4699-B124-1BC6A744C95C}" type="pres">
      <dgm:prSet presAssocID="{25486DA6-B1BA-4209-BA93-30C85F644BC5}" presName="dummyMaxCanvas" presStyleCnt="0"/>
      <dgm:spPr/>
    </dgm:pt>
    <dgm:pt modelId="{18F8A297-8436-45ED-984C-44A04E3DE9A0}" type="pres">
      <dgm:prSet presAssocID="{25486DA6-B1BA-4209-BA93-30C85F644BC5}" presName="parentComposite" presStyleCnt="0"/>
      <dgm:spPr/>
    </dgm:pt>
    <dgm:pt modelId="{85AB4F6B-4913-4266-9ABF-C119D553D4A8}" type="pres">
      <dgm:prSet presAssocID="{25486DA6-B1BA-4209-BA93-30C85F644BC5}" presName="parent1" presStyleLbl="alignAccFollowNode1" presStyleIdx="0" presStyleCnt="4">
        <dgm:presLayoutVars>
          <dgm:chMax val="4"/>
        </dgm:presLayoutVars>
      </dgm:prSet>
      <dgm:spPr/>
    </dgm:pt>
    <dgm:pt modelId="{9029B32F-DC7E-4B6C-A7E1-A968471A7563}" type="pres">
      <dgm:prSet presAssocID="{25486DA6-B1BA-4209-BA93-30C85F644BC5}" presName="parent2" presStyleLbl="alignAccFollowNode1" presStyleIdx="1" presStyleCnt="4">
        <dgm:presLayoutVars>
          <dgm:chMax val="4"/>
        </dgm:presLayoutVars>
      </dgm:prSet>
      <dgm:spPr/>
    </dgm:pt>
    <dgm:pt modelId="{F94C8600-E7C5-4680-A730-45FCFB7B0A1B}" type="pres">
      <dgm:prSet presAssocID="{25486DA6-B1BA-4209-BA93-30C85F644BC5}" presName="childrenComposite" presStyleCnt="0"/>
      <dgm:spPr/>
    </dgm:pt>
    <dgm:pt modelId="{2B0DA2DE-D074-43E7-9A1F-E67F067ADD6D}" type="pres">
      <dgm:prSet presAssocID="{25486DA6-B1BA-4209-BA93-30C85F644BC5}" presName="dummyMaxCanvas_ChildArea" presStyleCnt="0"/>
      <dgm:spPr/>
    </dgm:pt>
    <dgm:pt modelId="{70B0363E-FEA6-4293-B717-B3F6223A524E}" type="pres">
      <dgm:prSet presAssocID="{25486DA6-B1BA-4209-BA93-30C85F644BC5}" presName="fulcrum" presStyleLbl="alignAccFollowNode1" presStyleIdx="2" presStyleCnt="4"/>
      <dgm:spPr/>
    </dgm:pt>
    <dgm:pt modelId="{FEDAE1DB-5F72-4338-8983-44C091D7C285}" type="pres">
      <dgm:prSet presAssocID="{25486DA6-B1BA-4209-BA93-30C85F644BC5}" presName="balance_13" presStyleLbl="alignAccFollowNode1" presStyleIdx="3" presStyleCnt="4">
        <dgm:presLayoutVars>
          <dgm:bulletEnabled val="1"/>
        </dgm:presLayoutVars>
      </dgm:prSet>
      <dgm:spPr/>
    </dgm:pt>
    <dgm:pt modelId="{50D38235-0E76-4353-AB5A-035BA6405370}" type="pres">
      <dgm:prSet presAssocID="{25486DA6-B1BA-4209-BA93-30C85F644BC5}" presName="right_13_1" presStyleLbl="node1" presStyleIdx="0" presStyleCnt="4">
        <dgm:presLayoutVars>
          <dgm:bulletEnabled val="1"/>
        </dgm:presLayoutVars>
      </dgm:prSet>
      <dgm:spPr/>
    </dgm:pt>
    <dgm:pt modelId="{1450C297-E58A-4789-B0A6-47888D5C96DE}" type="pres">
      <dgm:prSet presAssocID="{25486DA6-B1BA-4209-BA93-30C85F644BC5}" presName="right_13_2" presStyleLbl="node1" presStyleIdx="1" presStyleCnt="4">
        <dgm:presLayoutVars>
          <dgm:bulletEnabled val="1"/>
        </dgm:presLayoutVars>
      </dgm:prSet>
      <dgm:spPr/>
    </dgm:pt>
    <dgm:pt modelId="{326A993E-3694-42A3-A865-183583584044}" type="pres">
      <dgm:prSet presAssocID="{25486DA6-B1BA-4209-BA93-30C85F644BC5}" presName="right_13_3" presStyleLbl="node1" presStyleIdx="2" presStyleCnt="4">
        <dgm:presLayoutVars>
          <dgm:bulletEnabled val="1"/>
        </dgm:presLayoutVars>
      </dgm:prSet>
      <dgm:spPr/>
    </dgm:pt>
    <dgm:pt modelId="{B4487C8E-04C0-4AC9-9DDC-CF1F7971DAD2}" type="pres">
      <dgm:prSet presAssocID="{25486DA6-B1BA-4209-BA93-30C85F644BC5}" presName="left_13_1" presStyleLbl="node1" presStyleIdx="3" presStyleCnt="4" custScaleY="185523" custLinFactNeighborX="-611" custLinFactNeighborY="-41965">
        <dgm:presLayoutVars>
          <dgm:bulletEnabled val="1"/>
        </dgm:presLayoutVars>
      </dgm:prSet>
      <dgm:spPr/>
    </dgm:pt>
  </dgm:ptLst>
  <dgm:cxnLst>
    <dgm:cxn modelId="{22044A0B-7CF4-4BB2-81DD-EB49478C5516}" type="presOf" srcId="{534851A7-2D68-488F-A3F8-3D7E98ED0FAB}" destId="{85AB4F6B-4913-4266-9ABF-C119D553D4A8}" srcOrd="0" destOrd="0" presId="urn:microsoft.com/office/officeart/2005/8/layout/balance1"/>
    <dgm:cxn modelId="{092BBB0D-5DE2-4FA6-A01A-8BA3CC0D8338}" srcId="{61987A22-ECFA-48E2-AF37-DB4210B794B0}" destId="{48F4D967-1F82-41CF-9422-039CB0B96F31}" srcOrd="0" destOrd="0" parTransId="{EF9FEF14-142C-472B-B104-9759B247DDD4}" sibTransId="{98637903-5E06-494A-9AC6-59BF3A0D554A}"/>
    <dgm:cxn modelId="{AE356D14-B220-4E39-818F-9129BC7B1AF0}" type="presOf" srcId="{48F4D967-1F82-41CF-9422-039CB0B96F31}" destId="{50D38235-0E76-4353-AB5A-035BA6405370}" srcOrd="0" destOrd="0" presId="urn:microsoft.com/office/officeart/2005/8/layout/balance1"/>
    <dgm:cxn modelId="{8DBDC83D-3235-41EC-8AAA-BEBECEECF33B}" type="presOf" srcId="{25486DA6-B1BA-4209-BA93-30C85F644BC5}" destId="{E0D65EAD-9D8D-4866-A54B-4DBC2EBD39C0}" srcOrd="0" destOrd="0" presId="urn:microsoft.com/office/officeart/2005/8/layout/balance1"/>
    <dgm:cxn modelId="{253E106B-4E61-43BC-B22B-964A13FEF11B}" srcId="{61987A22-ECFA-48E2-AF37-DB4210B794B0}" destId="{90E87446-2F9C-4DA4-A338-B01A67ED09CB}" srcOrd="2" destOrd="0" parTransId="{4407D78A-F388-47DA-9F09-4254A62FD1CD}" sibTransId="{C7A32761-B738-4DBB-B570-C2FF7172A71A}"/>
    <dgm:cxn modelId="{10F58D7B-B702-4072-9EE4-C541229E4D99}" srcId="{534851A7-2D68-488F-A3F8-3D7E98ED0FAB}" destId="{65ABED4D-7703-4BD4-B379-B17D077E8432}" srcOrd="0" destOrd="0" parTransId="{0FFED151-E934-4747-8EBA-E7647D75BC40}" sibTransId="{9C70D450-7085-4200-BA7E-4C1598B30605}"/>
    <dgm:cxn modelId="{DE1BBCA9-9D6E-41F0-80E3-CDBE56E46B26}" type="presOf" srcId="{61987A22-ECFA-48E2-AF37-DB4210B794B0}" destId="{9029B32F-DC7E-4B6C-A7E1-A968471A7563}" srcOrd="0" destOrd="0" presId="urn:microsoft.com/office/officeart/2005/8/layout/balance1"/>
    <dgm:cxn modelId="{461151BD-367B-4DF5-96C4-2DACC101EA86}" srcId="{61987A22-ECFA-48E2-AF37-DB4210B794B0}" destId="{1048BCC7-5289-4563-B4A9-20CE94D94187}" srcOrd="1" destOrd="0" parTransId="{AB92FEE1-57AD-4CDF-BC39-CD7DDFA06AD2}" sibTransId="{491302FA-0331-4978-A4AA-8946DFD6C4BD}"/>
    <dgm:cxn modelId="{6CA0B2DB-22B8-4B68-9134-FF909CB5824C}" type="presOf" srcId="{90E87446-2F9C-4DA4-A338-B01A67ED09CB}" destId="{326A993E-3694-42A3-A865-183583584044}" srcOrd="0" destOrd="0" presId="urn:microsoft.com/office/officeart/2005/8/layout/balance1"/>
    <dgm:cxn modelId="{1D42ABE1-FAD0-40C3-92E8-8227F72CA4D8}" srcId="{25486DA6-B1BA-4209-BA93-30C85F644BC5}" destId="{534851A7-2D68-488F-A3F8-3D7E98ED0FAB}" srcOrd="0" destOrd="0" parTransId="{F49C5C3A-83B8-4B3C-8C22-BE59D1AF42B6}" sibTransId="{86FDBD5E-7A16-4B56-A43C-12865F8D8066}"/>
    <dgm:cxn modelId="{DBE571E7-90DD-4E5F-B4A4-715948260E89}" type="presOf" srcId="{1048BCC7-5289-4563-B4A9-20CE94D94187}" destId="{1450C297-E58A-4789-B0A6-47888D5C96DE}" srcOrd="0" destOrd="0" presId="urn:microsoft.com/office/officeart/2005/8/layout/balance1"/>
    <dgm:cxn modelId="{36D46FF9-ACDC-4C8F-91EB-97B951D341CC}" type="presOf" srcId="{65ABED4D-7703-4BD4-B379-B17D077E8432}" destId="{B4487C8E-04C0-4AC9-9DDC-CF1F7971DAD2}" srcOrd="0" destOrd="0" presId="urn:microsoft.com/office/officeart/2005/8/layout/balance1"/>
    <dgm:cxn modelId="{83C8D9FA-2F6D-4CAD-8659-845039D73A69}" srcId="{25486DA6-B1BA-4209-BA93-30C85F644BC5}" destId="{61987A22-ECFA-48E2-AF37-DB4210B794B0}" srcOrd="1" destOrd="0" parTransId="{7D96207C-0D7A-4C00-A9C5-DD5E06D5D8CA}" sibTransId="{A06F8E16-F298-4170-92F8-8779FEB75980}"/>
    <dgm:cxn modelId="{AB0C2FEB-E64C-4A88-893E-DC2836A27711}" type="presParOf" srcId="{E0D65EAD-9D8D-4866-A54B-4DBC2EBD39C0}" destId="{34CFC1D3-8BAC-4699-B124-1BC6A744C95C}" srcOrd="0" destOrd="0" presId="urn:microsoft.com/office/officeart/2005/8/layout/balance1"/>
    <dgm:cxn modelId="{006C3155-D972-4AF6-959F-30C2662F88B1}" type="presParOf" srcId="{E0D65EAD-9D8D-4866-A54B-4DBC2EBD39C0}" destId="{18F8A297-8436-45ED-984C-44A04E3DE9A0}" srcOrd="1" destOrd="0" presId="urn:microsoft.com/office/officeart/2005/8/layout/balance1"/>
    <dgm:cxn modelId="{00371ECF-D36C-4CF5-A87D-011F3DA85F2D}" type="presParOf" srcId="{18F8A297-8436-45ED-984C-44A04E3DE9A0}" destId="{85AB4F6B-4913-4266-9ABF-C119D553D4A8}" srcOrd="0" destOrd="0" presId="urn:microsoft.com/office/officeart/2005/8/layout/balance1"/>
    <dgm:cxn modelId="{74BEF194-4F8D-4091-AAB4-27C37FC54F9B}" type="presParOf" srcId="{18F8A297-8436-45ED-984C-44A04E3DE9A0}" destId="{9029B32F-DC7E-4B6C-A7E1-A968471A7563}" srcOrd="1" destOrd="0" presId="urn:microsoft.com/office/officeart/2005/8/layout/balance1"/>
    <dgm:cxn modelId="{20163A80-E113-4DB3-A4BB-0BFF0968C1BF}" type="presParOf" srcId="{E0D65EAD-9D8D-4866-A54B-4DBC2EBD39C0}" destId="{F94C8600-E7C5-4680-A730-45FCFB7B0A1B}" srcOrd="2" destOrd="0" presId="urn:microsoft.com/office/officeart/2005/8/layout/balance1"/>
    <dgm:cxn modelId="{F94A153F-2469-412F-AE5B-A4FE2115304F}" type="presParOf" srcId="{F94C8600-E7C5-4680-A730-45FCFB7B0A1B}" destId="{2B0DA2DE-D074-43E7-9A1F-E67F067ADD6D}" srcOrd="0" destOrd="0" presId="urn:microsoft.com/office/officeart/2005/8/layout/balance1"/>
    <dgm:cxn modelId="{E5A96FBF-F7CB-40B7-8A1C-7E51A8FBD253}" type="presParOf" srcId="{F94C8600-E7C5-4680-A730-45FCFB7B0A1B}" destId="{70B0363E-FEA6-4293-B717-B3F6223A524E}" srcOrd="1" destOrd="0" presId="urn:microsoft.com/office/officeart/2005/8/layout/balance1"/>
    <dgm:cxn modelId="{CE1D2CFC-3380-452F-A719-816A0BB8ACB8}" type="presParOf" srcId="{F94C8600-E7C5-4680-A730-45FCFB7B0A1B}" destId="{FEDAE1DB-5F72-4338-8983-44C091D7C285}" srcOrd="2" destOrd="0" presId="urn:microsoft.com/office/officeart/2005/8/layout/balance1"/>
    <dgm:cxn modelId="{35E9ED84-6CF1-49B1-B15F-3DBD33427974}" type="presParOf" srcId="{F94C8600-E7C5-4680-A730-45FCFB7B0A1B}" destId="{50D38235-0E76-4353-AB5A-035BA6405370}" srcOrd="3" destOrd="0" presId="urn:microsoft.com/office/officeart/2005/8/layout/balance1"/>
    <dgm:cxn modelId="{49B34DFC-1E73-4E59-8F17-7A64EBB05094}" type="presParOf" srcId="{F94C8600-E7C5-4680-A730-45FCFB7B0A1B}" destId="{1450C297-E58A-4789-B0A6-47888D5C96DE}" srcOrd="4" destOrd="0" presId="urn:microsoft.com/office/officeart/2005/8/layout/balance1"/>
    <dgm:cxn modelId="{9EF437DF-A8E0-4BD9-86CB-644A915A6540}" type="presParOf" srcId="{F94C8600-E7C5-4680-A730-45FCFB7B0A1B}" destId="{326A993E-3694-42A3-A865-183583584044}" srcOrd="5" destOrd="0" presId="urn:microsoft.com/office/officeart/2005/8/layout/balance1"/>
    <dgm:cxn modelId="{1B88DE87-09A2-43F0-9E57-B280485BB414}" type="presParOf" srcId="{F94C8600-E7C5-4680-A730-45FCFB7B0A1B}" destId="{B4487C8E-04C0-4AC9-9DDC-CF1F7971DAD2}" srcOrd="6" destOrd="0" presId="urn:microsoft.com/office/officeart/2005/8/layout/balance1"/>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AB4F6B-4913-4266-9ABF-C119D553D4A8}">
      <dsp:nvSpPr>
        <dsp:cNvPr id="0" name=""/>
        <dsp:cNvSpPr/>
      </dsp:nvSpPr>
      <dsp:spPr>
        <a:xfrm>
          <a:off x="397558" y="0"/>
          <a:ext cx="1604003" cy="891113"/>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de-DE" sz="3100" kern="1200"/>
            <a:t>Erträge</a:t>
          </a:r>
        </a:p>
      </dsp:txBody>
      <dsp:txXfrm>
        <a:off x="423658" y="26100"/>
        <a:ext cx="1551803" cy="838913"/>
      </dsp:txXfrm>
    </dsp:sp>
    <dsp:sp modelId="{9029B32F-DC7E-4B6C-A7E1-A968471A7563}">
      <dsp:nvSpPr>
        <dsp:cNvPr id="0" name=""/>
        <dsp:cNvSpPr/>
      </dsp:nvSpPr>
      <dsp:spPr>
        <a:xfrm>
          <a:off x="2714452" y="0"/>
          <a:ext cx="1604003" cy="891113"/>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de-DE" sz="3100" kern="1200"/>
            <a:t>Kosten</a:t>
          </a:r>
        </a:p>
      </dsp:txBody>
      <dsp:txXfrm>
        <a:off x="2740552" y="26100"/>
        <a:ext cx="1551803" cy="838913"/>
      </dsp:txXfrm>
    </dsp:sp>
    <dsp:sp modelId="{70B0363E-FEA6-4293-B717-B3F6223A524E}">
      <dsp:nvSpPr>
        <dsp:cNvPr id="0" name=""/>
        <dsp:cNvSpPr/>
      </dsp:nvSpPr>
      <dsp:spPr>
        <a:xfrm>
          <a:off x="2023840" y="3787230"/>
          <a:ext cx="668334" cy="668334"/>
        </a:xfrm>
        <a:prstGeom prst="triangle">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EDAE1DB-5F72-4338-8983-44C091D7C285}">
      <dsp:nvSpPr>
        <dsp:cNvPr id="0" name=""/>
        <dsp:cNvSpPr/>
      </dsp:nvSpPr>
      <dsp:spPr>
        <a:xfrm rot="240000">
          <a:off x="352390" y="3500841"/>
          <a:ext cx="4011233" cy="28049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0D38235-0E76-4353-AB5A-035BA6405370}">
      <dsp:nvSpPr>
        <dsp:cNvPr id="0" name=""/>
        <dsp:cNvSpPr/>
      </dsp:nvSpPr>
      <dsp:spPr>
        <a:xfrm rot="240000">
          <a:off x="2760787" y="2799540"/>
          <a:ext cx="1600444" cy="74564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a:t>Personalbemessung</a:t>
          </a:r>
        </a:p>
      </dsp:txBody>
      <dsp:txXfrm>
        <a:off x="2797186" y="2835939"/>
        <a:ext cx="1527646" cy="672845"/>
      </dsp:txXfrm>
    </dsp:sp>
    <dsp:sp modelId="{1450C297-E58A-4789-B0A6-47888D5C96DE}">
      <dsp:nvSpPr>
        <dsp:cNvPr id="0" name=""/>
        <dsp:cNvSpPr/>
      </dsp:nvSpPr>
      <dsp:spPr>
        <a:xfrm rot="240000">
          <a:off x="2818710" y="1997538"/>
          <a:ext cx="1600444" cy="74564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a:t>Inflation</a:t>
          </a:r>
        </a:p>
      </dsp:txBody>
      <dsp:txXfrm>
        <a:off x="2855109" y="2033937"/>
        <a:ext cx="1527646" cy="672845"/>
      </dsp:txXfrm>
    </dsp:sp>
    <dsp:sp modelId="{326A993E-3694-42A3-A865-183583584044}">
      <dsp:nvSpPr>
        <dsp:cNvPr id="0" name=""/>
        <dsp:cNvSpPr/>
      </dsp:nvSpPr>
      <dsp:spPr>
        <a:xfrm rot="240000">
          <a:off x="2876632" y="1213359"/>
          <a:ext cx="1600444" cy="74564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a:t>Tarifsteigerungen</a:t>
          </a:r>
        </a:p>
      </dsp:txBody>
      <dsp:txXfrm>
        <a:off x="2913031" y="1249758"/>
        <a:ext cx="1527646" cy="672845"/>
      </dsp:txXfrm>
    </dsp:sp>
    <dsp:sp modelId="{B4487C8E-04C0-4AC9-9DDC-CF1F7971DAD2}">
      <dsp:nvSpPr>
        <dsp:cNvPr id="0" name=""/>
        <dsp:cNvSpPr/>
      </dsp:nvSpPr>
      <dsp:spPr>
        <a:xfrm rot="240000">
          <a:off x="481867" y="1911636"/>
          <a:ext cx="1548907" cy="14826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a:t>Verhandelte Pflegesätze</a:t>
          </a:r>
        </a:p>
      </dsp:txBody>
      <dsp:txXfrm>
        <a:off x="554244" y="1984013"/>
        <a:ext cx="1404153" cy="1337902"/>
      </dsp:txXfrm>
    </dsp:sp>
  </dsp:spTree>
</dsp:drawing>
</file>

<file path=ppt/diagrams/layout1.xml><?xml version="1.0" encoding="utf-8"?>
<dgm:layoutDef xmlns:dgm="http://schemas.openxmlformats.org/drawingml/2006/diagram" xmlns:a="http://schemas.openxmlformats.org/drawingml/2006/main" uniqueId="urn:microsoft.com/office/officeart/2005/8/layout/balance1">
  <dgm:title val=""/>
  <dgm:desc val=""/>
  <dgm:catLst>
    <dgm:cat type="relationship" pri="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23">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25" srcId="2" destId="23" srcOrd="0" destOrd="0"/>
      </dgm:cxnLst>
      <dgm:bg/>
      <dgm:whole/>
    </dgm:dataModel>
  </dgm:sampData>
  <dgm:styleData>
    <dgm:dataModel>
      <dgm:ptLst>
        <dgm:pt modelId="0" type="doc"/>
        <dgm:pt modelId="1"/>
        <dgm:pt modelId="11"/>
        <dgm:pt modelId="12"/>
        <dgm:pt modelId="2"/>
        <dgm:pt modelId="21"/>
        <dgm:pt modelId="22"/>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tyleData>
  <dgm:clrData>
    <dgm:dataModel>
      <dgm:ptLst>
        <dgm:pt modelId="0" type="doc"/>
        <dgm:pt modelId="1"/>
        <dgm:pt modelId="11"/>
        <dgm:pt modelId="12"/>
        <dgm:pt modelId="13"/>
        <dgm:pt modelId="2"/>
        <dgm:pt modelId="21"/>
        <dgm:pt modelId="22"/>
        <dgm:pt modelId="23"/>
      </dgm:ptLst>
      <dgm:cxnLst>
        <dgm:cxn modelId="4" srcId="0" destId="1" srcOrd="0" destOrd="0"/>
        <dgm:cxn modelId="5" srcId="0" destId="2" srcOrd="1" destOrd="0"/>
        <dgm:cxn modelId="15" srcId="1" destId="11" srcOrd="0" destOrd="0"/>
        <dgm:cxn modelId="16" srcId="1" destId="12" srcOrd="0" destOrd="0"/>
        <dgm:cxn modelId="17" srcId="1" destId="13" srcOrd="0" destOrd="0"/>
        <dgm:cxn modelId="25" srcId="2" destId="21" srcOrd="0" destOrd="0"/>
        <dgm:cxn modelId="26" srcId="2" destId="22" srcOrd="0" destOrd="0"/>
        <dgm:cxn modelId="27" srcId="2" destId="23" srcOrd="0" destOrd="0"/>
      </dgm:cxnLst>
      <dgm:bg/>
      <dgm:whole/>
    </dgm:dataModel>
  </dgm:clrData>
  <dgm:layoutNode name="outerComposite">
    <dgm:varLst>
      <dgm:chMax val="2"/>
      <dgm:animLvl val="lvl"/>
      <dgm:resizeHandles val="exact"/>
    </dgm:varLst>
    <dgm:alg type="composite">
      <dgm:param type="ar" val="1"/>
    </dgm:alg>
    <dgm:shape xmlns:r="http://schemas.openxmlformats.org/officeDocument/2006/relationships" r:blip="">
      <dgm:adjLst/>
    </dgm:shape>
    <dgm:presOf/>
    <dgm:constrLst>
      <dgm:constr type="h" for="ch" forName="parentComposite" refType="h" refFor="ch" refForName="dummyMaxCanvas" op="equ" fact="0.2"/>
      <dgm:constr type="t" for="ch" forName="parentComposite"/>
      <dgm:constr type="h" for="ch" forName="childrenComposite" refType="h" refFor="ch" refForName="dummyMaxCanvas" op="equ" fact="0.8"/>
      <dgm:constr type="t" for="ch" forName="childrenComposite" refType="h" refFor="ch" refForName="dummyMaxCanvas" fact="0.2"/>
    </dgm:constrLst>
    <dgm:ruleLst/>
    <dgm:layoutNode name="dummyMaxCanvas">
      <dgm:alg type="sp"/>
      <dgm:shape xmlns:r="http://schemas.openxmlformats.org/officeDocument/2006/relationships" r:blip="">
        <dgm:adjLst/>
      </dgm:shape>
      <dgm:presOf/>
      <dgm:constrLst/>
      <dgm:ruleLst/>
    </dgm:layoutNode>
    <dgm:layoutNode name="parentComposite">
      <dgm:alg type="composite"/>
      <dgm:shape xmlns:r="http://schemas.openxmlformats.org/officeDocument/2006/relationships" r:blip="">
        <dgm:adjLst/>
      </dgm:shape>
      <dgm:presOf/>
      <dgm:constrLst>
        <dgm:constr type="w" for="ch" forName="parent1" refType="w" fact="0.36"/>
        <dgm:constr type="ctrX" for="ch" forName="parent1" refType="w" fact="0.24"/>
        <dgm:constr type="w" for="ch" forName="parent2" refType="w" fact="0.36"/>
        <dgm:constr type="ctrX" for="ch" forName="parent2" refType="w" fact="0.76"/>
        <dgm:constr type="primFontSz" for="ch" ptType="node" op="equ"/>
      </dgm:constrLst>
      <dgm:ruleLst/>
      <dgm:layoutNode name="parent1" styleLbl="alignAccFollowNode1">
        <dgm:varLst>
          <dgm:chMax val="4"/>
        </dgm:varLst>
        <dgm:alg type="tx"/>
        <dgm:shape xmlns:r="http://schemas.openxmlformats.org/officeDocument/2006/relationships" type="roundRect" r:blip="">
          <dgm:adjLst>
            <dgm:adj idx="1" val="0.1"/>
          </dgm:adjLst>
        </dgm:shape>
        <dgm:presOf axis="ch" ptType="node"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2" styleLbl="alignAccFollowNode1">
        <dgm:varLst>
          <dgm:chMax val="4"/>
        </dgm:varLst>
        <dgm:alg type="tx"/>
        <dgm:shape xmlns:r="http://schemas.openxmlformats.org/officeDocument/2006/relationships" type="roundRect" r:blip="">
          <dgm:adjLst>
            <dgm:adj idx="1" val="0.1"/>
          </dgm:adjLst>
        </dgm:shape>
        <dgm:presOf axis="ch" ptType="node" st="2"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name="childrenComposite">
      <dgm:alg type="composite"/>
      <dgm:shape xmlns:r="http://schemas.openxmlformats.org/officeDocument/2006/relationships" r:blip="">
        <dgm:adjLst/>
      </dgm:shape>
      <dgm:presOf/>
      <dgm:constrLst>
        <dgm:constr type="primFontSz" for="ch" ptType="node" op="equ" val="65"/>
        <dgm:constr type="w" for="ch" forName="fulcrum" refType="w" fact="0.15"/>
        <dgm:constr type="h" for="ch" forName="fulcrum" refType="w" refFor="ch" refForName="fulcrum"/>
        <dgm:constr type="b" for="ch" forName="fulcrum" refType="h"/>
        <dgm:constr type="ctrX" for="ch" forName="fulcrum" refType="w" fact="0.5"/>
        <dgm:constr type="w" for="ch" forName="balance_00" refType="w" fact="0.9"/>
        <dgm:constr type="h" for="ch" forName="balance_00" refType="h" fact="0.076"/>
        <dgm:constr type="b" for="ch" forName="balance_00" refType="h" fact="0.81"/>
        <dgm:constr type="ctrX" for="ch" forName="balance_00" refType="w" fact="0.5"/>
        <dgm:constr type="w" for="ch" forName="balance_01" refType="w"/>
        <dgm:constr type="h" for="ch" forName="balance_01" refType="h" fact="0.157"/>
        <dgm:constr type="b" for="ch" forName="balance_01" refType="h" fact="0.85"/>
        <dgm:constr type="ctrX" for="ch" forName="balance_01" refType="w" fact="0.5"/>
        <dgm:constr type="w" for="ch" forName="balance_02" refType="w"/>
        <dgm:constr type="h" for="ch" forName="balance_02" refType="h" fact="0.157"/>
        <dgm:constr type="b" for="ch" forName="balance_02" refType="h" fact="0.85"/>
        <dgm:constr type="ctrX" for="ch" forName="balance_02" refType="w" fact="0.5"/>
        <dgm:constr type="w" for="ch" forName="balance_03" refType="w"/>
        <dgm:constr type="h" for="ch" forName="balance_03" refType="h" fact="0.157"/>
        <dgm:constr type="b" for="ch" forName="balance_03" refType="h" fact="0.85"/>
        <dgm:constr type="ctrX" for="ch" forName="balance_03" refType="w" fact="0.5"/>
        <dgm:constr type="w" for="ch" forName="balance_04" refType="w"/>
        <dgm:constr type="h" for="ch" forName="balance_04" refType="h" fact="0.157"/>
        <dgm:constr type="b" for="ch" forName="balance_04" refType="h" fact="0.85"/>
        <dgm:constr type="ctrX" for="ch" forName="balance_04" refType="w" fact="0.5"/>
        <dgm:constr type="w" for="ch" forName="balance_10" refType="w"/>
        <dgm:constr type="h" for="ch" forName="balance_10" refType="h" fact="0.157"/>
        <dgm:constr type="b" for="ch" forName="balance_10" refType="h" fact="0.85"/>
        <dgm:constr type="ctrX" for="ch" forName="balance_10" refType="w" fact="0.5"/>
        <dgm:constr type="w" for="ch" forName="balance_11" refType="w" fact="0.9"/>
        <dgm:constr type="h" for="ch" forName="balance_11" refType="h" fact="0.076"/>
        <dgm:constr type="b" for="ch" forName="balance_11" refType="h" fact="0.81"/>
        <dgm:constr type="ctrX" for="ch" forName="balance_11" refType="w" fact="0.5"/>
        <dgm:constr type="w" for="ch" forName="balance_12" refType="w"/>
        <dgm:constr type="h" for="ch" forName="balance_12" refType="h" fact="0.157"/>
        <dgm:constr type="b" for="ch" forName="balance_12" refType="h" fact="0.85"/>
        <dgm:constr type="ctrX" for="ch" forName="balance_12" refType="w" fact="0.5"/>
        <dgm:constr type="w" for="ch" forName="balance_13" refType="w"/>
        <dgm:constr type="h" for="ch" forName="balance_13" refType="h" fact="0.157"/>
        <dgm:constr type="b" for="ch" forName="balance_13" refType="h" fact="0.85"/>
        <dgm:constr type="ctrX" for="ch" forName="balance_13" refType="w" fact="0.5"/>
        <dgm:constr type="w" for="ch" forName="balance_14" refType="w"/>
        <dgm:constr type="h" for="ch" forName="balance_14" refType="h" fact="0.157"/>
        <dgm:constr type="b" for="ch" forName="balance_14" refType="h" fact="0.85"/>
        <dgm:constr type="ctrX" for="ch" forName="balance_14" refType="w" fact="0.5"/>
        <dgm:constr type="w" for="ch" forName="balance_20" refType="w"/>
        <dgm:constr type="h" for="ch" forName="balance_20" refType="h" fact="0.157"/>
        <dgm:constr type="b" for="ch" forName="balance_20" refType="h" fact="0.85"/>
        <dgm:constr type="ctrX" for="ch" forName="balance_20" refType="w" fact="0.5"/>
        <dgm:constr type="w" for="ch" forName="balance_21" refType="w"/>
        <dgm:constr type="h" for="ch" forName="balance_21" refType="h" fact="0.157"/>
        <dgm:constr type="b" for="ch" forName="balance_21" refType="h" fact="0.85"/>
        <dgm:constr type="ctrX" for="ch" forName="balance_21" refType="w" fact="0.5"/>
        <dgm:constr type="w" for="ch" forName="balance_22" refType="w" fact="0.9"/>
        <dgm:constr type="h" for="ch" forName="balance_22" refType="h" fact="0.076"/>
        <dgm:constr type="b" for="ch" forName="balance_22" refType="h" fact="0.81"/>
        <dgm:constr type="ctrX" for="ch" forName="balance_22" refType="w" fact="0.5"/>
        <dgm:constr type="w" for="ch" forName="balance_23" refType="w"/>
        <dgm:constr type="h" for="ch" forName="balance_23" refType="h" fact="0.157"/>
        <dgm:constr type="b" for="ch" forName="balance_23" refType="h" fact="0.85"/>
        <dgm:constr type="ctrX" for="ch" forName="balance_23" refType="w" fact="0.5"/>
        <dgm:constr type="w" for="ch" forName="balance_24" refType="w"/>
        <dgm:constr type="h" for="ch" forName="balance_24" refType="h" fact="0.157"/>
        <dgm:constr type="b" for="ch" forName="balance_24" refType="h" fact="0.85"/>
        <dgm:constr type="ctrX" for="ch" forName="balance_24" refType="w" fact="0.5"/>
        <dgm:constr type="w" for="ch" forName="balance_30" refType="w"/>
        <dgm:constr type="h" for="ch" forName="balance_30" refType="h" fact="0.157"/>
        <dgm:constr type="b" for="ch" forName="balance_30" refType="h" fact="0.85"/>
        <dgm:constr type="ctrX" for="ch" forName="balance_30" refType="w" fact="0.5"/>
        <dgm:constr type="w" for="ch" forName="balance_31" refType="w"/>
        <dgm:constr type="h" for="ch" forName="balance_31" refType="h" fact="0.157"/>
        <dgm:constr type="b" for="ch" forName="balance_31" refType="h" fact="0.85"/>
        <dgm:constr type="ctrX" for="ch" forName="balance_31" refType="w" fact="0.5"/>
        <dgm:constr type="w" for="ch" forName="balance_32" refType="w"/>
        <dgm:constr type="h" for="ch" forName="balance_32" refType="h" fact="0.157"/>
        <dgm:constr type="b" for="ch" forName="balance_32" refType="h" fact="0.85"/>
        <dgm:constr type="ctrX" for="ch" forName="balance_32" refType="w" fact="0.5"/>
        <dgm:constr type="w" for="ch" forName="balance_33" refType="w" fact="0.9"/>
        <dgm:constr type="h" for="ch" forName="balance_33" refType="h" fact="0.076"/>
        <dgm:constr type="b" for="ch" forName="balance_33" refType="h" fact="0.81"/>
        <dgm:constr type="ctrX" for="ch" forName="balance_33" refType="w" fact="0.5"/>
        <dgm:constr type="w" for="ch" forName="balance_34" refType="w"/>
        <dgm:constr type="h" for="ch" forName="balance_34" refType="h" fact="0.157"/>
        <dgm:constr type="b" for="ch" forName="balance_34" refType="h" fact="0.85"/>
        <dgm:constr type="ctrX" for="ch" forName="balance_34" refType="w" fact="0.5"/>
        <dgm:constr type="w" for="ch" forName="balance_40" refType="w"/>
        <dgm:constr type="h" for="ch" forName="balance_40" refType="h" fact="0.157"/>
        <dgm:constr type="b" for="ch" forName="balance_40" refType="h" fact="0.85"/>
        <dgm:constr type="ctrX" for="ch" forName="balance_40" refType="w" fact="0.5"/>
        <dgm:constr type="w" for="ch" forName="balance_41" refType="w"/>
        <dgm:constr type="h" for="ch" forName="balance_41" refType="h" fact="0.157"/>
        <dgm:constr type="b" for="ch" forName="balance_41" refType="h" fact="0.85"/>
        <dgm:constr type="ctrX" for="ch" forName="balance_41" refType="w" fact="0.5"/>
        <dgm:constr type="w" for="ch" forName="balance_42" refType="w"/>
        <dgm:constr type="h" for="ch" forName="balance_42" refType="h" fact="0.157"/>
        <dgm:constr type="b" for="ch" forName="balance_42" refType="h" fact="0.85"/>
        <dgm:constr type="ctrX" for="ch" forName="balance_42" refType="w" fact="0.5"/>
        <dgm:constr type="w" for="ch" forName="balance_43" refType="w"/>
        <dgm:constr type="h" for="ch" forName="balance_43" refType="h" fact="0.157"/>
        <dgm:constr type="b" for="ch" forName="balance_43" refType="h" fact="0.85"/>
        <dgm:constr type="ctrX" for="ch" forName="balance_43" refType="w" fact="0.5"/>
        <dgm:constr type="w" for="ch" forName="balance_44" refType="w" fact="0.9"/>
        <dgm:constr type="h" for="ch" forName="balance_44" refType="h" fact="0.076"/>
        <dgm:constr type="b" for="ch" forName="balance_44" refType="h" fact="0.81"/>
        <dgm:constr type="ctrX" for="ch" forName="balance_44" refType="w" fact="0.5"/>
        <dgm:constr type="w" for="ch" forName="right_01_1" refType="w" fact="0.4"/>
        <dgm:constr type="h" for="ch" forName="right_01_1" refType="h" fact="0.7"/>
        <dgm:constr type="b" for="ch" forName="right_01_1" refType="h" fact="0.76"/>
        <dgm:constr type="ctrX" for="ch" forName="right_01_1" refType="w" fact="0.78"/>
        <dgm:constr type="w" for="ch" forName="left_10_1" refType="w" fact="0.4"/>
        <dgm:constr type="h" for="ch" forName="left_10_1" refType="h" fact="0.7"/>
        <dgm:constr type="b" for="ch" forName="left_10_1" refType="h" fact="0.76"/>
        <dgm:constr type="ctrX" for="ch" forName="left_10_1" refType="w" fact="0.22"/>
        <dgm:constr type="w" for="ch" forName="right_11_1" refType="w" fact="0.36"/>
        <dgm:constr type="h" for="ch" forName="right_11_1" refType="h" fact="0.67"/>
        <dgm:constr type="b" for="ch" forName="right_11_1" refType="h" fact="0.725"/>
        <dgm:constr type="ctrX" for="ch" forName="right_11_1" refType="w" fact="0.76"/>
        <dgm:constr type="w" for="ch" forName="left_11_1" refType="w" fact="0.36"/>
        <dgm:constr type="h" for="ch" forName="left_11_1" refType="h" fact="0.67"/>
        <dgm:constr type="b" for="ch" forName="left_11_1" refType="h" fact="0.725"/>
        <dgm:constr type="ctrX" for="ch" forName="left_11_1" refType="w" fact="0.24"/>
        <dgm:constr type="w" for="ch" forName="right_02_1" refType="w" fact="0.388"/>
        <dgm:constr type="h" for="ch" forName="right_02_1" refType="h" fact="0.36"/>
        <dgm:constr type="b" for="ch" forName="right_02_1" refType="h" fact="0.76"/>
        <dgm:constr type="ctrX" for="ch" forName="right_02_1" refType="w" fact="0.77"/>
        <dgm:constr type="w" for="ch" forName="right_02_2" refType="w" fact="0.388"/>
        <dgm:constr type="h" for="ch" forName="right_02_2" refType="h" fact="0.36"/>
        <dgm:constr type="b" for="ch" forName="right_02_2" refType="h" fact="0.42"/>
        <dgm:constr type="ctrX" for="ch" forName="right_02_2" refType="w" fact="0.79"/>
        <dgm:constr type="w" for="ch" forName="left_20_1" refType="w" fact="0.388"/>
        <dgm:constr type="h" for="ch" forName="left_20_1" refType="h" fact="0.36"/>
        <dgm:constr type="b" for="ch" forName="left_20_1" refType="h" fact="0.76"/>
        <dgm:constr type="ctrX" for="ch" forName="left_20_1" refType="w" fact="0.23"/>
        <dgm:constr type="w" for="ch" forName="left_20_2" refType="w" fact="0.388"/>
        <dgm:constr type="h" for="ch" forName="left_20_2" refType="h" fact="0.36"/>
        <dgm:constr type="b" for="ch" forName="left_20_2" refType="h" fact="0.42"/>
        <dgm:constr type="ctrX" for="ch" forName="left_20_2" refType="w" fact="0.21"/>
        <dgm:constr type="w" for="ch" forName="right_12_1" refType="w" fact="0.388"/>
        <dgm:constr type="h" for="ch" forName="right_12_1" refType="h" fact="0.36"/>
        <dgm:constr type="b" for="ch" forName="right_12_1" refType="h" fact="0.76"/>
        <dgm:constr type="ctrX" for="ch" forName="right_12_1" refType="w" fact="0.77"/>
        <dgm:constr type="w" for="ch" forName="right_12_2" refType="w" fact="0.388"/>
        <dgm:constr type="h" for="ch" forName="right_12_2" refType="h" fact="0.36"/>
        <dgm:constr type="b" for="ch" forName="right_12_2" refType="h" fact="0.42"/>
        <dgm:constr type="ctrX" for="ch" forName="right_12_2" refType="w" fact="0.79"/>
        <dgm:constr type="w" for="ch" forName="left_12_1" refType="w" fact="0.388"/>
        <dgm:constr type="h" for="ch" forName="left_12_1" refType="h" fact="0.36"/>
        <dgm:constr type="b" for="ch" forName="left_12_1" refType="h" fact="0.715"/>
        <dgm:constr type="ctrX" for="ch" forName="left_12_1" refType="w" fact="0.255"/>
        <dgm:constr type="w" for="ch" forName="right_22_1" refType="w" fact="0.36"/>
        <dgm:constr type="h" for="ch" forName="right_22_1" refType="h" fact="0.32"/>
        <dgm:constr type="b" for="ch" forName="right_22_1" refType="h" fact="0.725"/>
        <dgm:constr type="ctrX" for="ch" forName="right_22_1" refType="w" fact="0.76"/>
        <dgm:constr type="w" for="ch" forName="right_22_2" refType="w" fact="0.36"/>
        <dgm:constr type="h" for="ch" forName="right_22_2" refType="h" fact="0.32"/>
        <dgm:constr type="b" for="ch" forName="right_22_2" refType="h" fact="0.39"/>
        <dgm:constr type="ctrX" for="ch" forName="right_22_2" refType="w" fact="0.76"/>
        <dgm:constr type="w" for="ch" forName="left_22_1" refType="w" fact="0.36"/>
        <dgm:constr type="h" for="ch" forName="left_22_1" refType="h" fact="0.32"/>
        <dgm:constr type="b" for="ch" forName="left_22_1" refType="h" fact="0.725"/>
        <dgm:constr type="ctrX" for="ch" forName="left_22_1" refType="w" fact="0.24"/>
        <dgm:constr type="w" for="ch" forName="left_22_2" refType="w" fact="0.36"/>
        <dgm:constr type="h" for="ch" forName="left_22_2" refType="h" fact="0.32"/>
        <dgm:constr type="b" for="ch" forName="left_22_2" refType="h" fact="0.39"/>
        <dgm:constr type="ctrX" for="ch" forName="left_22_2" refType="w" fact="0.24"/>
        <dgm:constr type="w" for="ch" forName="left_21_1" refType="w" fact="0.388"/>
        <dgm:constr type="h" for="ch" forName="left_21_1" refType="h" fact="0.36"/>
        <dgm:constr type="b" for="ch" forName="left_21_1" refType="h" fact="0.76"/>
        <dgm:constr type="ctrX" for="ch" forName="left_21_1" refType="w" fact="0.23"/>
        <dgm:constr type="w" for="ch" forName="left_21_2" refType="w" fact="0.388"/>
        <dgm:constr type="h" for="ch" forName="left_21_2" refType="h" fact="0.36"/>
        <dgm:constr type="b" for="ch" forName="left_21_2" refType="h" fact="0.42"/>
        <dgm:constr type="ctrX" for="ch" forName="left_21_2" refType="w" fact="0.21"/>
        <dgm:constr type="w" for="ch" forName="right_21_1" refType="w" fact="0.388"/>
        <dgm:constr type="h" for="ch" forName="right_21_1" refType="h" fact="0.36"/>
        <dgm:constr type="b" for="ch" forName="right_21_1" refType="h" fact="0.715"/>
        <dgm:constr type="ctrX" for="ch" forName="right_21_1" refType="w" fact="0.745"/>
        <dgm:constr type="w" for="ch" forName="right_03_1" refType="w" fact="0.37"/>
        <dgm:constr type="h" for="ch" forName="right_03_1" refType="h" fact="0.24"/>
        <dgm:constr type="b" for="ch" forName="right_03_1" refType="h" fact="0.76"/>
        <dgm:constr type="ctrX" for="ch" forName="right_03_1" refType="w" fact="0.77"/>
        <dgm:constr type="w" for="ch" forName="right_03_2" refType="w" fact="0.37"/>
        <dgm:constr type="h" for="ch" forName="right_03_2" refType="h" fact="0.24"/>
        <dgm:constr type="b" for="ch" forName="right_03_2" refType="h" fact="0.535"/>
        <dgm:constr type="ctrX" for="ch" forName="right_03_2" refType="w" fact="0.783"/>
        <dgm:constr type="w" for="ch" forName="right_03_3" refType="w" fact="0.37"/>
        <dgm:constr type="h" for="ch" forName="right_03_3" refType="h" fact="0.24"/>
        <dgm:constr type="b" for="ch" forName="right_03_3" refType="h" fact="0.315"/>
        <dgm:constr type="ctrX" for="ch" forName="right_03_3" refType="w" fact="0.796"/>
        <dgm:constr type="w" for="ch" forName="left_30_1" refType="w" fact="0.37"/>
        <dgm:constr type="h" for="ch" forName="left_30_1" refType="h" fact="0.24"/>
        <dgm:constr type="b" for="ch" forName="left_30_1" refType="h" fact="0.76"/>
        <dgm:constr type="ctrX" for="ch" forName="left_30_1" refType="w" fact="0.23"/>
        <dgm:constr type="w" for="ch" forName="left_30_2" refType="w" fact="0.37"/>
        <dgm:constr type="h" for="ch" forName="left_30_2" refType="h" fact="0.24"/>
        <dgm:constr type="b" for="ch" forName="left_30_2" refType="h" fact="0.535"/>
        <dgm:constr type="ctrX" for="ch" forName="left_30_2" refType="w" fact="0.217"/>
        <dgm:constr type="w" for="ch" forName="left_30_3" refType="w" fact="0.37"/>
        <dgm:constr type="h" for="ch" forName="left_30_3" refType="h" fact="0.24"/>
        <dgm:constr type="b" for="ch" forName="left_30_3" refType="h" fact="0.315"/>
        <dgm:constr type="ctrX" for="ch" forName="left_30_3" refType="w" fact="0.204"/>
        <dgm:constr type="w" for="ch" forName="right_13_1" refType="w" fact="0.37"/>
        <dgm:constr type="h" for="ch" forName="right_13_1" refType="h" fact="0.24"/>
        <dgm:constr type="b" for="ch" forName="right_13_1" refType="h" fact="0.76"/>
        <dgm:constr type="ctrX" for="ch" forName="right_13_1" refType="w" fact="0.77"/>
        <dgm:constr type="w" for="ch" forName="right_13_2" refType="w" fact="0.37"/>
        <dgm:constr type="h" for="ch" forName="right_13_2" refType="h" fact="0.24"/>
        <dgm:constr type="b" for="ch" forName="right_13_2" refType="h" fact="0.535"/>
        <dgm:constr type="ctrX" for="ch" forName="right_13_2" refType="w" fact="0.783"/>
        <dgm:constr type="w" for="ch" forName="right_13_3" refType="w" fact="0.37"/>
        <dgm:constr type="h" for="ch" forName="right_13_3" refType="h" fact="0.24"/>
        <dgm:constr type="b" for="ch" forName="right_13_3" refType="h" fact="0.315"/>
        <dgm:constr type="ctrX" for="ch" forName="right_13_3" refType="w" fact="0.796"/>
        <dgm:constr type="w" for="ch" forName="left_13_1" refType="w" fact="0.37"/>
        <dgm:constr type="h" for="ch" forName="left_13_1" refType="h" fact="0.24"/>
        <dgm:constr type="b" for="ch" forName="left_13_1" refType="h" fact="0.715"/>
        <dgm:constr type="ctrX" for="ch" forName="left_13_1" refType="w" fact="0.255"/>
        <dgm:constr type="w" for="ch" forName="left_31_1" refType="w" fact="0.37"/>
        <dgm:constr type="h" for="ch" forName="left_31_1" refType="h" fact="0.24"/>
        <dgm:constr type="b" for="ch" forName="left_31_1" refType="h" fact="0.76"/>
        <dgm:constr type="ctrX" for="ch" forName="left_31_1" refType="w" fact="0.23"/>
        <dgm:constr type="w" for="ch" forName="left_31_2" refType="w" fact="0.37"/>
        <dgm:constr type="h" for="ch" forName="left_31_2" refType="h" fact="0.24"/>
        <dgm:constr type="b" for="ch" forName="left_31_2" refType="h" fact="0.535"/>
        <dgm:constr type="ctrX" for="ch" forName="left_31_2" refType="w" fact="0.217"/>
        <dgm:constr type="w" for="ch" forName="left_31_3" refType="w" fact="0.37"/>
        <dgm:constr type="h" for="ch" forName="left_31_3" refType="h" fact="0.24"/>
        <dgm:constr type="b" for="ch" forName="left_31_3" refType="h" fact="0.315"/>
        <dgm:constr type="ctrX" for="ch" forName="left_31_3" refType="w" fact="0.204"/>
        <dgm:constr type="w" for="ch" forName="right_31_1" refType="w" fact="0.37"/>
        <dgm:constr type="h" for="ch" forName="right_31_1" refType="h" fact="0.24"/>
        <dgm:constr type="b" for="ch" forName="right_31_1" refType="h" fact="0.715"/>
        <dgm:constr type="ctrX" for="ch" forName="right_31_1" refType="w" fact="0.745"/>
        <dgm:constr type="w" for="ch" forName="right_23_1" refType="w" fact="0.37"/>
        <dgm:constr type="h" for="ch" forName="right_23_1" refType="h" fact="0.24"/>
        <dgm:constr type="b" for="ch" forName="right_23_1" refType="h" fact="0.76"/>
        <dgm:constr type="ctrX" for="ch" forName="right_23_1" refType="w" fact="0.77"/>
        <dgm:constr type="w" for="ch" forName="right_23_2" refType="w" fact="0.37"/>
        <dgm:constr type="h" for="ch" forName="right_23_2" refType="h" fact="0.24"/>
        <dgm:constr type="b" for="ch" forName="right_23_2" refType="h" fact="0.535"/>
        <dgm:constr type="ctrX" for="ch" forName="right_23_2" refType="w" fact="0.783"/>
        <dgm:constr type="w" for="ch" forName="right_23_3" refType="w" fact="0.37"/>
        <dgm:constr type="h" for="ch" forName="right_23_3" refType="h" fact="0.24"/>
        <dgm:constr type="b" for="ch" forName="right_23_3" refType="h" fact="0.315"/>
        <dgm:constr type="ctrX" for="ch" forName="right_23_3" refType="w" fact="0.796"/>
        <dgm:constr type="w" for="ch" forName="left_23_1" refType="w" fact="0.37"/>
        <dgm:constr type="h" for="ch" forName="left_23_1" refType="h" fact="0.24"/>
        <dgm:constr type="b" for="ch" forName="left_23_1" refType="h" fact="0.715"/>
        <dgm:constr type="ctrX" for="ch" forName="left_23_1" refType="w" fact="0.255"/>
        <dgm:constr type="w" for="ch" forName="left_23_2" refType="w" fact="0.37"/>
        <dgm:constr type="h" for="ch" forName="left_23_2" refType="h" fact="0.24"/>
        <dgm:constr type="b" for="ch" forName="left_23_2" refType="h" fact="0.49"/>
        <dgm:constr type="ctrX" for="ch" forName="left_23_2" refType="w" fact="0.268"/>
        <dgm:constr type="w" for="ch" forName="left_32_1" refType="w" fact="0.37"/>
        <dgm:constr type="h" for="ch" forName="left_32_1" refType="h" fact="0.24"/>
        <dgm:constr type="b" for="ch" forName="left_32_1" refType="h" fact="0.76"/>
        <dgm:constr type="ctrX" for="ch" forName="left_32_1" refType="w" fact="0.23"/>
        <dgm:constr type="w" for="ch" forName="left_32_2" refType="w" fact="0.37"/>
        <dgm:constr type="h" for="ch" forName="left_32_2" refType="h" fact="0.24"/>
        <dgm:constr type="b" for="ch" forName="left_32_2" refType="h" fact="0.535"/>
        <dgm:constr type="ctrX" for="ch" forName="left_32_2" refType="w" fact="0.217"/>
        <dgm:constr type="w" for="ch" forName="left_32_3" refType="w" fact="0.37"/>
        <dgm:constr type="h" for="ch" forName="left_32_3" refType="h" fact="0.24"/>
        <dgm:constr type="b" for="ch" forName="left_32_3" refType="h" fact="0.315"/>
        <dgm:constr type="ctrX" for="ch" forName="left_32_3" refType="w" fact="0.204"/>
        <dgm:constr type="w" for="ch" forName="right_32_1" refType="w" fact="0.37"/>
        <dgm:constr type="h" for="ch" forName="right_32_1" refType="h" fact="0.24"/>
        <dgm:constr type="b" for="ch" forName="right_32_1" refType="h" fact="0.715"/>
        <dgm:constr type="ctrX" for="ch" forName="right_32_1" refType="w" fact="0.745"/>
        <dgm:constr type="w" for="ch" forName="right_32_2" refType="w" fact="0.37"/>
        <dgm:constr type="h" for="ch" forName="right_32_2" refType="h" fact="0.24"/>
        <dgm:constr type="b" for="ch" forName="right_32_2" refType="h" fact="0.49"/>
        <dgm:constr type="ctrX" for="ch" forName="right_32_2" refType="w" fact="0.732"/>
        <dgm:constr type="w" for="ch" forName="right_33_1" refType="w" fact="0.36"/>
        <dgm:constr type="h" for="ch" forName="right_33_1" refType="h" fact="0.21"/>
        <dgm:constr type="b" for="ch" forName="right_33_1" refType="h" fact="0.725"/>
        <dgm:constr type="ctrX" for="ch" forName="right_33_1" refType="w" fact="0.76"/>
        <dgm:constr type="w" for="ch" forName="right_33_2" refType="w" fact="0.36"/>
        <dgm:constr type="h" for="ch" forName="right_33_2" refType="h" fact="0.21"/>
        <dgm:constr type="b" for="ch" forName="right_33_2" refType="h" fact="0.5"/>
        <dgm:constr type="ctrX" for="ch" forName="right_33_2" refType="w" fact="0.76"/>
        <dgm:constr type="w" for="ch" forName="right_33_3" refType="w" fact="0.36"/>
        <dgm:constr type="h" for="ch" forName="right_33_3" refType="h" fact="0.21"/>
        <dgm:constr type="b" for="ch" forName="right_33_3" refType="h" fact="0.275"/>
        <dgm:constr type="ctrX" for="ch" forName="right_33_3" refType="w" fact="0.76"/>
        <dgm:constr type="w" for="ch" forName="left_33_1" refType="w" fact="0.36"/>
        <dgm:constr type="h" for="ch" forName="left_33_1" refType="h" fact="0.21"/>
        <dgm:constr type="b" for="ch" forName="left_33_1" refType="h" fact="0.725"/>
        <dgm:constr type="ctrX" for="ch" forName="left_33_1" refType="w" fact="0.24"/>
        <dgm:constr type="w" for="ch" forName="left_33_2" refType="w" fact="0.36"/>
        <dgm:constr type="h" for="ch" forName="left_33_2" refType="h" fact="0.21"/>
        <dgm:constr type="b" for="ch" forName="left_33_2" refType="h" fact="0.5"/>
        <dgm:constr type="ctrX" for="ch" forName="left_33_2" refType="w" fact="0.24"/>
        <dgm:constr type="w" for="ch" forName="left_33_3" refType="w" fact="0.36"/>
        <dgm:constr type="h" for="ch" forName="left_33_3" refType="h" fact="0.21"/>
        <dgm:constr type="b" for="ch" forName="left_33_3" refType="h" fact="0.275"/>
        <dgm:constr type="ctrX" for="ch" forName="left_33_3" refType="w" fact="0.24"/>
        <dgm:constr type="w" for="ch" forName="right_04_1" refType="w" fact="0.365"/>
        <dgm:constr type="h" for="ch" forName="right_04_1" refType="h" fact="0.185"/>
        <dgm:constr type="b" for="ch" forName="right_04_1" refType="h" fact="0.76"/>
        <dgm:constr type="ctrX" for="ch" forName="right_04_1" refType="w" fact="0.77"/>
        <dgm:constr type="w" for="ch" forName="right_04_2" refType="w" fact="0.365"/>
        <dgm:constr type="h" for="ch" forName="right_04_2" refType="h" fact="0.185"/>
        <dgm:constr type="b" for="ch" forName="right_04_2" refType="h" fact="0.595"/>
        <dgm:constr type="ctrX" for="ch" forName="right_04_2" refType="w" fact="0.78"/>
        <dgm:constr type="w" for="ch" forName="right_04_3" refType="w" fact="0.365"/>
        <dgm:constr type="h" for="ch" forName="right_04_3" refType="h" fact="0.185"/>
        <dgm:constr type="b" for="ch" forName="right_04_3" refType="h" fact="0.43"/>
        <dgm:constr type="ctrX" for="ch" forName="right_04_3" refType="w" fact="0.79"/>
        <dgm:constr type="w" for="ch" forName="right_04_4" refType="w" fact="0.365"/>
        <dgm:constr type="h" for="ch" forName="right_04_4" refType="h" fact="0.185"/>
        <dgm:constr type="b" for="ch" forName="right_04_4" refType="h" fact="0.265"/>
        <dgm:constr type="ctrX" for="ch" forName="right_04_4" refType="w" fact="0.8"/>
        <dgm:constr type="w" for="ch" forName="left_40_1" refType="w" fact="0.365"/>
        <dgm:constr type="h" for="ch" forName="left_40_1" refType="h" fact="0.185"/>
        <dgm:constr type="b" for="ch" forName="left_40_1" refType="h" fact="0.76"/>
        <dgm:constr type="ctrX" for="ch" forName="left_40_1" refType="w" fact="0.23"/>
        <dgm:constr type="w" for="ch" forName="left_40_2" refType="w" fact="0.365"/>
        <dgm:constr type="h" for="ch" forName="left_40_2" refType="h" fact="0.185"/>
        <dgm:constr type="b" for="ch" forName="left_40_2" refType="h" fact="0.595"/>
        <dgm:constr type="ctrX" for="ch" forName="left_40_2" refType="w" fact="0.22"/>
        <dgm:constr type="w" for="ch" forName="left_40_3" refType="w" fact="0.365"/>
        <dgm:constr type="h" for="ch" forName="left_40_3" refType="h" fact="0.185"/>
        <dgm:constr type="b" for="ch" forName="left_40_3" refType="h" fact="0.43"/>
        <dgm:constr type="ctrX" for="ch" forName="left_40_3" refType="w" fact="0.21"/>
        <dgm:constr type="w" for="ch" forName="left_40_4" refType="w" fact="0.365"/>
        <dgm:constr type="h" for="ch" forName="left_40_4" refType="h" fact="0.185"/>
        <dgm:constr type="b" for="ch" forName="left_40_4" refType="h" fact="0.265"/>
        <dgm:constr type="ctrX" for="ch" forName="left_40_4" refType="w" fact="0.2"/>
        <dgm:constr type="w" for="ch" forName="right_14_1" refType="w" fact="0.365"/>
        <dgm:constr type="h" for="ch" forName="right_14_1" refType="h" fact="0.185"/>
        <dgm:constr type="b" for="ch" forName="right_14_1" refType="h" fact="0.76"/>
        <dgm:constr type="ctrX" for="ch" forName="right_14_1" refType="w" fact="0.77"/>
        <dgm:constr type="w" for="ch" forName="right_14_2" refType="w" fact="0.365"/>
        <dgm:constr type="h" for="ch" forName="right_14_2" refType="h" fact="0.185"/>
        <dgm:constr type="b" for="ch" forName="right_14_2" refType="h" fact="0.595"/>
        <dgm:constr type="ctrX" for="ch" forName="right_14_2" refType="w" fact="0.78"/>
        <dgm:constr type="w" for="ch" forName="right_14_3" refType="w" fact="0.365"/>
        <dgm:constr type="h" for="ch" forName="right_14_3" refType="h" fact="0.185"/>
        <dgm:constr type="b" for="ch" forName="right_14_3" refType="h" fact="0.43"/>
        <dgm:constr type="ctrX" for="ch" forName="right_14_3" refType="w" fact="0.79"/>
        <dgm:constr type="w" for="ch" forName="right_14_4" refType="w" fact="0.365"/>
        <dgm:constr type="h" for="ch" forName="right_14_4" refType="h" fact="0.185"/>
        <dgm:constr type="b" for="ch" forName="right_14_4" refType="h" fact="0.265"/>
        <dgm:constr type="ctrX" for="ch" forName="right_14_4" refType="w" fact="0.8"/>
        <dgm:constr type="w" for="ch" forName="left_14_1" refType="w" fact="0.365"/>
        <dgm:constr type="h" for="ch" forName="left_14_1" refType="h" fact="0.185"/>
        <dgm:constr type="b" for="ch" forName="left_14_1" refType="h" fact="0.715"/>
        <dgm:constr type="ctrX" for="ch" forName="left_14_1" refType="w" fact="0.25"/>
        <dgm:constr type="w" for="ch" forName="left_41_1" refType="w" fact="0.365"/>
        <dgm:constr type="h" for="ch" forName="left_41_1" refType="h" fact="0.185"/>
        <dgm:constr type="b" for="ch" forName="left_41_1" refType="h" fact="0.76"/>
        <dgm:constr type="ctrX" for="ch" forName="left_41_1" refType="w" fact="0.23"/>
        <dgm:constr type="w" for="ch" forName="left_41_2" refType="w" fact="0.365"/>
        <dgm:constr type="h" for="ch" forName="left_41_2" refType="h" fact="0.185"/>
        <dgm:constr type="b" for="ch" forName="left_41_2" refType="h" fact="0.595"/>
        <dgm:constr type="ctrX" for="ch" forName="left_41_2" refType="w" fact="0.22"/>
        <dgm:constr type="w" for="ch" forName="left_41_3" refType="w" fact="0.365"/>
        <dgm:constr type="h" for="ch" forName="left_41_3" refType="h" fact="0.185"/>
        <dgm:constr type="b" for="ch" forName="left_41_3" refType="h" fact="0.43"/>
        <dgm:constr type="ctrX" for="ch" forName="left_41_3" refType="w" fact="0.21"/>
        <dgm:constr type="w" for="ch" forName="left_41_4" refType="w" fact="0.365"/>
        <dgm:constr type="h" for="ch" forName="left_41_4" refType="h" fact="0.185"/>
        <dgm:constr type="b" for="ch" forName="left_41_4" refType="h" fact="0.265"/>
        <dgm:constr type="ctrX" for="ch" forName="left_41_4" refType="w" fact="0.2"/>
        <dgm:constr type="w" for="ch" forName="right_41_1" refType="w" fact="0.365"/>
        <dgm:constr type="h" for="ch" forName="right_41_1" refType="h" fact="0.185"/>
        <dgm:constr type="b" for="ch" forName="right_41_1" refType="h" fact="0.715"/>
        <dgm:constr type="ctrX" for="ch" forName="right_41_1" refType="w" fact="0.75"/>
        <dgm:constr type="w" for="ch" forName="right_24_1" refType="w" fact="0.365"/>
        <dgm:constr type="h" for="ch" forName="right_24_1" refType="h" fact="0.185"/>
        <dgm:constr type="b" for="ch" forName="right_24_1" refType="h" fact="0.76"/>
        <dgm:constr type="ctrX" for="ch" forName="right_24_1" refType="w" fact="0.77"/>
        <dgm:constr type="w" for="ch" forName="right_24_2" refType="w" fact="0.365"/>
        <dgm:constr type="h" for="ch" forName="right_24_2" refType="h" fact="0.185"/>
        <dgm:constr type="b" for="ch" forName="right_24_2" refType="h" fact="0.595"/>
        <dgm:constr type="ctrX" for="ch" forName="right_24_2" refType="w" fact="0.78"/>
        <dgm:constr type="w" for="ch" forName="right_24_3" refType="w" fact="0.365"/>
        <dgm:constr type="h" for="ch" forName="right_24_3" refType="h" fact="0.185"/>
        <dgm:constr type="b" for="ch" forName="right_24_3" refType="h" fact="0.43"/>
        <dgm:constr type="ctrX" for="ch" forName="right_24_3" refType="w" fact="0.79"/>
        <dgm:constr type="w" for="ch" forName="right_24_4" refType="w" fact="0.365"/>
        <dgm:constr type="h" for="ch" forName="right_24_4" refType="h" fact="0.185"/>
        <dgm:constr type="b" for="ch" forName="right_24_4" refType="h" fact="0.265"/>
        <dgm:constr type="ctrX" for="ch" forName="right_24_4" refType="w" fact="0.8"/>
        <dgm:constr type="w" for="ch" forName="left_24_1" refType="w" fact="0.365"/>
        <dgm:constr type="h" for="ch" forName="left_24_1" refType="h" fact="0.185"/>
        <dgm:constr type="b" for="ch" forName="left_24_1" refType="h" fact="0.715"/>
        <dgm:constr type="ctrX" for="ch" forName="left_24_1" refType="w" fact="0.25"/>
        <dgm:constr type="w" for="ch" forName="left_24_2" refType="w" fact="0.365"/>
        <dgm:constr type="h" for="ch" forName="left_24_2" refType="h" fact="0.185"/>
        <dgm:constr type="b" for="ch" forName="left_24_2" refType="h" fact="0.55"/>
        <dgm:constr type="ctrX" for="ch" forName="left_24_2" refType="w" fact="0.26"/>
        <dgm:constr type="w" for="ch" forName="left_42_1" refType="w" fact="0.365"/>
        <dgm:constr type="h" for="ch" forName="left_42_1" refType="h" fact="0.185"/>
        <dgm:constr type="b" for="ch" forName="left_42_1" refType="h" fact="0.76"/>
        <dgm:constr type="ctrX" for="ch" forName="left_42_1" refType="w" fact="0.23"/>
        <dgm:constr type="w" for="ch" forName="left_42_2" refType="w" fact="0.365"/>
        <dgm:constr type="h" for="ch" forName="left_42_2" refType="h" fact="0.185"/>
        <dgm:constr type="b" for="ch" forName="left_42_2" refType="h" fact="0.595"/>
        <dgm:constr type="ctrX" for="ch" forName="left_42_2" refType="w" fact="0.22"/>
        <dgm:constr type="w" for="ch" forName="left_42_3" refType="w" fact="0.365"/>
        <dgm:constr type="h" for="ch" forName="left_42_3" refType="h" fact="0.185"/>
        <dgm:constr type="b" for="ch" forName="left_42_3" refType="h" fact="0.43"/>
        <dgm:constr type="ctrX" for="ch" forName="left_42_3" refType="w" fact="0.21"/>
        <dgm:constr type="w" for="ch" forName="left_42_4" refType="w" fact="0.365"/>
        <dgm:constr type="h" for="ch" forName="left_42_4" refType="h" fact="0.185"/>
        <dgm:constr type="b" for="ch" forName="left_42_4" refType="h" fact="0.265"/>
        <dgm:constr type="ctrX" for="ch" forName="left_42_4" refType="w" fact="0.2"/>
        <dgm:constr type="w" for="ch" forName="right_42_1" refType="w" fact="0.365"/>
        <dgm:constr type="h" for="ch" forName="right_42_1" refType="h" fact="0.185"/>
        <dgm:constr type="b" for="ch" forName="right_42_1" refType="h" fact="0.715"/>
        <dgm:constr type="ctrX" for="ch" forName="right_42_1" refType="w" fact="0.75"/>
        <dgm:constr type="w" for="ch" forName="right_42_2" refType="w" fact="0.365"/>
        <dgm:constr type="h" for="ch" forName="right_42_2" refType="h" fact="0.185"/>
        <dgm:constr type="b" for="ch" forName="right_42_2" refType="h" fact="0.55"/>
        <dgm:constr type="ctrX" for="ch" forName="right_42_2" refType="w" fact="0.74"/>
        <dgm:constr type="w" for="ch" forName="right_34_1" refType="w" fact="0.365"/>
        <dgm:constr type="h" for="ch" forName="right_34_1" refType="h" fact="0.185"/>
        <dgm:constr type="b" for="ch" forName="right_34_1" refType="h" fact="0.76"/>
        <dgm:constr type="ctrX" for="ch" forName="right_34_1" refType="w" fact="0.77"/>
        <dgm:constr type="w" for="ch" forName="right_34_2" refType="w" fact="0.365"/>
        <dgm:constr type="h" for="ch" forName="right_34_2" refType="h" fact="0.185"/>
        <dgm:constr type="b" for="ch" forName="right_34_2" refType="h" fact="0.595"/>
        <dgm:constr type="ctrX" for="ch" forName="right_34_2" refType="w" fact="0.78"/>
        <dgm:constr type="w" for="ch" forName="right_34_3" refType="w" fact="0.365"/>
        <dgm:constr type="h" for="ch" forName="right_34_3" refType="h" fact="0.185"/>
        <dgm:constr type="b" for="ch" forName="right_34_3" refType="h" fact="0.43"/>
        <dgm:constr type="ctrX" for="ch" forName="right_34_3" refType="w" fact="0.79"/>
        <dgm:constr type="w" for="ch" forName="right_34_4" refType="w" fact="0.365"/>
        <dgm:constr type="h" for="ch" forName="right_34_4" refType="h" fact="0.185"/>
        <dgm:constr type="b" for="ch" forName="right_34_4" refType="h" fact="0.265"/>
        <dgm:constr type="ctrX" for="ch" forName="right_34_4" refType="w" fact="0.8"/>
        <dgm:constr type="w" for="ch" forName="left_34_1" refType="w" fact="0.365"/>
        <dgm:constr type="h" for="ch" forName="left_34_1" refType="h" fact="0.185"/>
        <dgm:constr type="b" for="ch" forName="left_34_1" refType="h" fact="0.715"/>
        <dgm:constr type="ctrX" for="ch" forName="left_34_1" refType="w" fact="0.25"/>
        <dgm:constr type="w" for="ch" forName="left_34_2" refType="w" fact="0.365"/>
        <dgm:constr type="h" for="ch" forName="left_34_2" refType="h" fact="0.185"/>
        <dgm:constr type="b" for="ch" forName="left_34_2" refType="h" fact="0.55"/>
        <dgm:constr type="ctrX" for="ch" forName="left_34_2" refType="w" fact="0.26"/>
        <dgm:constr type="w" for="ch" forName="left_34_3" refType="w" fact="0.365"/>
        <dgm:constr type="h" for="ch" forName="left_34_3" refType="h" fact="0.185"/>
        <dgm:constr type="b" for="ch" forName="left_34_3" refType="h" fact="0.385"/>
        <dgm:constr type="ctrX" for="ch" forName="left_34_3" refType="w" fact="0.27"/>
        <dgm:constr type="w" for="ch" forName="left_43_1" refType="w" fact="0.365"/>
        <dgm:constr type="h" for="ch" forName="left_43_1" refType="h" fact="0.185"/>
        <dgm:constr type="b" for="ch" forName="left_43_1" refType="h" fact="0.76"/>
        <dgm:constr type="ctrX" for="ch" forName="left_43_1" refType="w" fact="0.23"/>
        <dgm:constr type="w" for="ch" forName="left_43_2" refType="w" fact="0.365"/>
        <dgm:constr type="h" for="ch" forName="left_43_2" refType="h" fact="0.185"/>
        <dgm:constr type="b" for="ch" forName="left_43_2" refType="h" fact="0.595"/>
        <dgm:constr type="ctrX" for="ch" forName="left_43_2" refType="w" fact="0.22"/>
        <dgm:constr type="w" for="ch" forName="left_43_3" refType="w" fact="0.365"/>
        <dgm:constr type="h" for="ch" forName="left_43_3" refType="h" fact="0.185"/>
        <dgm:constr type="b" for="ch" forName="left_43_3" refType="h" fact="0.43"/>
        <dgm:constr type="ctrX" for="ch" forName="left_43_3" refType="w" fact="0.21"/>
        <dgm:constr type="w" for="ch" forName="left_43_4" refType="w" fact="0.365"/>
        <dgm:constr type="h" for="ch" forName="left_43_4" refType="h" fact="0.185"/>
        <dgm:constr type="b" for="ch" forName="left_43_4" refType="h" fact="0.265"/>
        <dgm:constr type="ctrX" for="ch" forName="left_43_4" refType="w" fact="0.2"/>
        <dgm:constr type="w" for="ch" forName="right_43_1" refType="w" fact="0.365"/>
        <dgm:constr type="h" for="ch" forName="right_43_1" refType="h" fact="0.185"/>
        <dgm:constr type="b" for="ch" forName="right_43_1" refType="h" fact="0.715"/>
        <dgm:constr type="ctrX" for="ch" forName="right_43_1" refType="w" fact="0.75"/>
        <dgm:constr type="w" for="ch" forName="right_43_2" refType="w" fact="0.365"/>
        <dgm:constr type="h" for="ch" forName="right_43_2" refType="h" fact="0.185"/>
        <dgm:constr type="b" for="ch" forName="right_43_2" refType="h" fact="0.55"/>
        <dgm:constr type="ctrX" for="ch" forName="right_43_2" refType="w" fact="0.74"/>
        <dgm:constr type="w" for="ch" forName="right_43_3" refType="w" fact="0.365"/>
        <dgm:constr type="h" for="ch" forName="right_43_3" refType="h" fact="0.185"/>
        <dgm:constr type="b" for="ch" forName="right_43_3" refType="h" fact="0.385"/>
        <dgm:constr type="ctrX" for="ch" forName="right_43_3" refType="w" fact="0.73"/>
        <dgm:constr type="w" for="ch" forName="right_44_1" refType="w" fact="0.36"/>
        <dgm:constr type="h" for="ch" forName="right_44_1" refType="h" fact="0.154"/>
        <dgm:constr type="b" for="ch" forName="right_44_1" refType="h" fact="0.725"/>
        <dgm:constr type="ctrX" for="ch" forName="right_44_1" refType="w" fact="0.76"/>
        <dgm:constr type="w" for="ch" forName="right_44_2" refType="w" fact="0.36"/>
        <dgm:constr type="h" for="ch" forName="right_44_2" refType="h" fact="0.154"/>
        <dgm:constr type="b" for="ch" forName="right_44_2" refType="h" fact="0.559"/>
        <dgm:constr type="ctrX" for="ch" forName="right_44_2" refType="w" fact="0.76"/>
        <dgm:constr type="w" for="ch" forName="right_44_3" refType="w" fact="0.36"/>
        <dgm:constr type="h" for="ch" forName="right_44_3" refType="h" fact="0.154"/>
        <dgm:constr type="b" for="ch" forName="right_44_3" refType="h" fact="0.393"/>
        <dgm:constr type="ctrX" for="ch" forName="right_44_3" refType="w" fact="0.76"/>
        <dgm:constr type="w" for="ch" forName="right_44_4" refType="w" fact="0.36"/>
        <dgm:constr type="h" for="ch" forName="right_44_4" refType="h" fact="0.154"/>
        <dgm:constr type="b" for="ch" forName="right_44_4" refType="h" fact="0.224"/>
        <dgm:constr type="ctrX" for="ch" forName="right_44_4" refType="w" fact="0.76"/>
        <dgm:constr type="w" for="ch" forName="left_44_1" refType="w" fact="0.36"/>
        <dgm:constr type="h" for="ch" forName="left_44_1" refType="h" fact="0.154"/>
        <dgm:constr type="b" for="ch" forName="left_44_1" refType="h" fact="0.725"/>
        <dgm:constr type="ctrX" for="ch" forName="left_44_1" refType="w" fact="0.24"/>
        <dgm:constr type="w" for="ch" forName="left_44_2" refType="w" fact="0.36"/>
        <dgm:constr type="h" for="ch" forName="left_44_2" refType="h" fact="0.154"/>
        <dgm:constr type="b" for="ch" forName="left_44_2" refType="h" fact="0.559"/>
        <dgm:constr type="ctrX" for="ch" forName="left_44_2" refType="w" fact="0.24"/>
        <dgm:constr type="w" for="ch" forName="left_44_3" refType="w" fact="0.36"/>
        <dgm:constr type="h" for="ch" forName="left_44_3" refType="h" fact="0.154"/>
        <dgm:constr type="b" for="ch" forName="left_44_3" refType="h" fact="0.393"/>
        <dgm:constr type="ctrX" for="ch" forName="left_44_3" refType="w" fact="0.24"/>
        <dgm:constr type="w" for="ch" forName="left_44_4" refType="w" fact="0.36"/>
        <dgm:constr type="h" for="ch" forName="left_44_4" refType="h" fact="0.154"/>
        <dgm:constr type="b" for="ch" forName="left_44_4" refType="h" fact="0.224"/>
        <dgm:constr type="ctrX" for="ch" forName="left_44_4" refType="w" fact="0.24"/>
      </dgm:constrLst>
      <dgm:ruleLst/>
      <dgm:layoutNode name="dummyMaxCanvas_ChildArea">
        <dgm:alg type="sp"/>
        <dgm:shape xmlns:r="http://schemas.openxmlformats.org/officeDocument/2006/relationships" r:blip="">
          <dgm:adjLst/>
        </dgm:shape>
        <dgm:presOf/>
        <dgm:constrLst/>
        <dgm:ruleLst/>
      </dgm:layoutNode>
      <dgm:layoutNode name="fulcrum" styleLbl="alignAccFollowNode1">
        <dgm:alg type="sp"/>
        <dgm:shape xmlns:r="http://schemas.openxmlformats.org/officeDocument/2006/relationships" type="triangle" r:blip="">
          <dgm:adjLst/>
        </dgm:shape>
        <dgm:presOf/>
        <dgm:constrLst/>
        <dgm:ruleLst/>
      </dgm:layoutNode>
      <dgm:choose name="Name0">
        <dgm:if name="Name1" axis="ch ch" ptType="node node" st="1 1" cnt="1 0" func="cnt" op="equ" val="0">
          <dgm:choose name="Name2">
            <dgm:if name="Name3" axis="ch ch" ptType="node node" st="2 1" cnt="1 0" func="cnt" op="equ" val="0">
              <dgm:layoutNode name="balance_00" styleLbl="alignAccFollowNode1">
                <dgm:varLst>
                  <dgm:bulletEnabled val="1"/>
                </dgm:varLst>
                <dgm:alg type="sp"/>
                <dgm:shape xmlns:r="http://schemas.openxmlformats.org/officeDocument/2006/relationships" type="rect" r:blip="">
                  <dgm:adjLst/>
                </dgm:shape>
                <dgm:presOf/>
                <dgm:constrLst/>
                <dgm:ruleLst/>
              </dgm:layoutNode>
            </dgm:if>
            <dgm:else name="Name4">
              <dgm:choose name="Name5">
                <dgm:if name="Name6" axis="ch ch" ptType="node node" st="2 1" cnt="1 0" func="cnt" op="equ" val="1">
                  <dgm:layoutNode name="balance_01" styleLbl="alignAccFollowNode1">
                    <dgm:varLst>
                      <dgm:bulletEnabled val="1"/>
                    </dgm:varLst>
                    <dgm:alg type="sp"/>
                    <dgm:shape xmlns:r="http://schemas.openxmlformats.org/officeDocument/2006/relationships" rot="4" type="rect" r:blip="">
                      <dgm:adjLst/>
                    </dgm:shape>
                    <dgm:presOf/>
                    <dgm:constrLst/>
                    <dgm:ruleLst/>
                  </dgm:layoutNode>
                  <dgm:layoutNode name="right_0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
                  <dgm:choose name="Name8">
                    <dgm:if name="Name9" axis="ch ch" ptType="node node" st="2 1" cnt="1 0" func="cnt" op="equ" val="2">
                      <dgm:layoutNode name="balance_02" styleLbl="alignAccFollowNode1">
                        <dgm:varLst>
                          <dgm:bulletEnabled val="1"/>
                        </dgm:varLst>
                        <dgm:alg type="sp"/>
                        <dgm:shape xmlns:r="http://schemas.openxmlformats.org/officeDocument/2006/relationships" rot="4" type="rect" r:blip="">
                          <dgm:adjLst/>
                        </dgm:shape>
                        <dgm:presOf/>
                        <dgm:constrLst/>
                        <dgm:ruleLst/>
                      </dgm:layoutNode>
                      <dgm:layoutNode name="right_0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
                      <dgm:choose name="Name11">
                        <dgm:if name="Name12" axis="ch ch" ptType="node node" st="2 1" cnt="1 0" func="cnt" op="equ" val="3">
                          <dgm:layoutNode name="balance_03" styleLbl="alignAccFollowNode1">
                            <dgm:varLst>
                              <dgm:bulletEnabled val="1"/>
                            </dgm:varLst>
                            <dgm:alg type="sp"/>
                            <dgm:shape xmlns:r="http://schemas.openxmlformats.org/officeDocument/2006/relationships" rot="4" type="rect" r:blip="">
                              <dgm:adjLst/>
                            </dgm:shape>
                            <dgm:presOf/>
                            <dgm:constrLst/>
                            <dgm:ruleLst/>
                          </dgm:layoutNode>
                          <dgm:layoutNode name="right_0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3">
                          <dgm:choose name="Name14">
                            <dgm:if name="Name15" axis="ch ch" ptType="node node" st="2 1" cnt="1 0" func="cnt" op="gte" val="4">
                              <dgm:layoutNode name="balance_04" styleLbl="alignAccFollowNode1">
                                <dgm:varLst>
                                  <dgm:bulletEnabled val="1"/>
                                </dgm:varLst>
                                <dgm:alg type="sp"/>
                                <dgm:shape xmlns:r="http://schemas.openxmlformats.org/officeDocument/2006/relationships" rot="4" type="rect" r:blip="">
                                  <dgm:adjLst/>
                                </dgm:shape>
                                <dgm:presOf/>
                                <dgm:constrLst/>
                                <dgm:ruleLst/>
                              </dgm:layoutNode>
                              <dgm:layoutNode name="right_0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6"/>
                          </dgm:choose>
                        </dgm:else>
                      </dgm:choose>
                    </dgm:else>
                  </dgm:choose>
                </dgm:else>
              </dgm:choose>
            </dgm:else>
          </dgm:choose>
        </dgm:if>
        <dgm:else name="Name17">
          <dgm:choose name="Name18">
            <dgm:if name="Name19" axis="ch ch" ptType="node node" st="1 1" cnt="1 0" func="cnt" op="equ" val="1">
              <dgm:choose name="Name20">
                <dgm:if name="Name21" axis="ch ch" ptType="node node" st="2 1" cnt="1 0" func="cnt" op="equ" val="0">
                  <dgm:layoutNode name="balance_10" styleLbl="alignAccFollowNode1">
                    <dgm:varLst>
                      <dgm:bulletEnabled val="1"/>
                    </dgm:varLst>
                    <dgm:alg type="sp"/>
                    <dgm:shape xmlns:r="http://schemas.openxmlformats.org/officeDocument/2006/relationships" rot="-4" type="rect" r:blip="">
                      <dgm:adjLst/>
                    </dgm:shape>
                    <dgm:presOf/>
                    <dgm:constrLst/>
                    <dgm:ruleLst/>
                  </dgm:layoutNode>
                  <dgm:layoutNode name="left_1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2">
                  <dgm:choose name="Name23">
                    <dgm:if name="Name24" axis="ch ch" ptType="node node" st="2 1" cnt="1 0" func="cnt" op="equ" val="1">
                      <dgm:layoutNode name="balance_11" styleLbl="alignAccFollowNode1">
                        <dgm:varLst>
                          <dgm:bulletEnabled val="1"/>
                        </dgm:varLst>
                        <dgm:alg type="sp"/>
                        <dgm:shape xmlns:r="http://schemas.openxmlformats.org/officeDocument/2006/relationships" type="rect" r:blip="">
                          <dgm:adjLst/>
                        </dgm:shape>
                        <dgm:presOf/>
                        <dgm:constrLst/>
                        <dgm:ruleLst/>
                      </dgm:layoutNode>
                      <dgm:layoutNode name="left_11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1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5">
                      <dgm:choose name="Name26">
                        <dgm:if name="Name27" axis="ch ch" ptType="node node" st="2 1" cnt="1 0" func="cnt" op="equ" val="2">
                          <dgm:layoutNode name="balance_12" styleLbl="alignAccFollowNode1">
                            <dgm:varLst>
                              <dgm:bulletEnabled val="1"/>
                            </dgm:varLst>
                            <dgm:alg type="sp"/>
                            <dgm:shape xmlns:r="http://schemas.openxmlformats.org/officeDocument/2006/relationships" rot="4" type="rect" r:blip="">
                              <dgm:adjLst/>
                            </dgm:shape>
                            <dgm:presOf/>
                            <dgm:constrLst/>
                            <dgm:ruleLst/>
                          </dgm:layoutNode>
                          <dgm:layoutNode name="right_1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8">
                          <dgm:choose name="Name29">
                            <dgm:if name="Name30" axis="ch ch" ptType="node node" st="2 1" cnt="1 0" func="cnt" op="equ" val="3">
                              <dgm:layoutNode name="balance_13" styleLbl="alignAccFollowNode1">
                                <dgm:varLst>
                                  <dgm:bulletEnabled val="1"/>
                                </dgm:varLst>
                                <dgm:alg type="sp"/>
                                <dgm:shape xmlns:r="http://schemas.openxmlformats.org/officeDocument/2006/relationships" rot="4" type="rect" r:blip="">
                                  <dgm:adjLst/>
                                </dgm:shape>
                                <dgm:presOf/>
                                <dgm:constrLst/>
                                <dgm:ruleLst/>
                              </dgm:layoutNode>
                              <dgm:layoutNode name="right_1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1">
                              <dgm:choose name="Name32">
                                <dgm:if name="Name33" axis="ch ch" ptType="node node" st="2 1" cnt="1 0" func="cnt" op="gte" val="4">
                                  <dgm:layoutNode name="balance_14" styleLbl="alignAccFollowNode1">
                                    <dgm:varLst>
                                      <dgm:bulletEnabled val="1"/>
                                    </dgm:varLst>
                                    <dgm:alg type="sp"/>
                                    <dgm:shape xmlns:r="http://schemas.openxmlformats.org/officeDocument/2006/relationships" rot="4" type="rect" r:blip="">
                                      <dgm:adjLst/>
                                    </dgm:shape>
                                    <dgm:presOf/>
                                    <dgm:constrLst/>
                                    <dgm:ruleLst/>
                                  </dgm:layoutNode>
                                  <dgm:layoutNode name="right_1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4"/>
                              </dgm:choose>
                            </dgm:else>
                          </dgm:choose>
                        </dgm:else>
                      </dgm:choose>
                    </dgm:else>
                  </dgm:choose>
                </dgm:else>
              </dgm:choose>
            </dgm:if>
            <dgm:else name="Name35">
              <dgm:choose name="Name36">
                <dgm:if name="Name37" axis="ch ch" ptType="node node" st="1 1" cnt="1 0" func="cnt" op="equ" val="2">
                  <dgm:choose name="Name38">
                    <dgm:if name="Name39" axis="ch ch" ptType="node node" st="2 1" cnt="1 0" func="cnt" op="equ" val="0">
                      <dgm:layoutNode name="balance_20" styleLbl="alignAccFollowNode1">
                        <dgm:varLst>
                          <dgm:bulletEnabled val="1"/>
                        </dgm:varLst>
                        <dgm:alg type="sp"/>
                        <dgm:shape xmlns:r="http://schemas.openxmlformats.org/officeDocument/2006/relationships" rot="-4" type="rect" r:blip="">
                          <dgm:adjLst/>
                        </dgm:shape>
                        <dgm:presOf/>
                        <dgm:constrLst/>
                        <dgm:ruleLst/>
                      </dgm:layoutNode>
                      <dgm:layoutNode name="left_2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0">
                      <dgm:choose name="Name41">
                        <dgm:if name="Name42" axis="ch ch" ptType="node node" st="2 1" cnt="1 0" func="cnt" op="equ" val="1">
                          <dgm:layoutNode name="balance_21" styleLbl="alignAccFollowNode1">
                            <dgm:varLst>
                              <dgm:bulletEnabled val="1"/>
                            </dgm:varLst>
                            <dgm:alg type="sp"/>
                            <dgm:shape xmlns:r="http://schemas.openxmlformats.org/officeDocument/2006/relationships" rot="-4" type="rect" r:blip="">
                              <dgm:adjLst/>
                            </dgm:shape>
                            <dgm:presOf/>
                            <dgm:constrLst/>
                            <dgm:ruleLst/>
                          </dgm:layoutNode>
                          <dgm:layoutNode name="left_2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3">
                          <dgm:choose name="Name44">
                            <dgm:if name="Name45" axis="ch ch" ptType="node node" st="2 1" cnt="1 0" func="cnt" op="equ" val="2">
                              <dgm:layoutNode name="balance_22" styleLbl="alignAccFollowNode1">
                                <dgm:varLst>
                                  <dgm:bulletEnabled val="1"/>
                                </dgm:varLst>
                                <dgm:alg type="sp"/>
                                <dgm:shape xmlns:r="http://schemas.openxmlformats.org/officeDocument/2006/relationships" type="rect" r:blip="">
                                  <dgm:adjLst/>
                                </dgm:shape>
                                <dgm:presOf/>
                                <dgm:constrLst/>
                                <dgm:ruleLst/>
                              </dgm:layoutNode>
                              <dgm:layoutNode name="right_22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2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6">
                              <dgm:choose name="Name47">
                                <dgm:if name="Name48" axis="ch ch" ptType="node node" st="2 1" cnt="1 0" func="cnt" op="equ" val="3">
                                  <dgm:layoutNode name="balance_23" styleLbl="alignAccFollowNode1">
                                    <dgm:varLst>
                                      <dgm:bulletEnabled val="1"/>
                                    </dgm:varLst>
                                    <dgm:alg type="sp"/>
                                    <dgm:shape xmlns:r="http://schemas.openxmlformats.org/officeDocument/2006/relationships" rot="4" type="rect" r:blip="">
                                      <dgm:adjLst/>
                                    </dgm:shape>
                                    <dgm:presOf/>
                                    <dgm:constrLst/>
                                    <dgm:ruleLst/>
                                  </dgm:layoutNode>
                                  <dgm:layoutNode name="right_2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9">
                                  <dgm:choose name="Name50">
                                    <dgm:if name="Name51" axis="ch ch" ptType="node node" st="2 1" cnt="1 0" func="cnt" op="gte" val="4">
                                      <dgm:layoutNode name="balance_24" styleLbl="alignAccFollowNode1">
                                        <dgm:varLst>
                                          <dgm:bulletEnabled val="1"/>
                                        </dgm:varLst>
                                        <dgm:alg type="sp"/>
                                        <dgm:shape xmlns:r="http://schemas.openxmlformats.org/officeDocument/2006/relationships" rot="4" type="rect" r:blip="">
                                          <dgm:adjLst/>
                                        </dgm:shape>
                                        <dgm:presOf/>
                                        <dgm:constrLst/>
                                        <dgm:ruleLst/>
                                      </dgm:layoutNode>
                                      <dgm:layoutNode name="right_2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2"/>
                                  </dgm:choose>
                                </dgm:else>
                              </dgm:choose>
                            </dgm:else>
                          </dgm:choose>
                        </dgm:else>
                      </dgm:choose>
                    </dgm:else>
                  </dgm:choose>
                </dgm:if>
                <dgm:else name="Name53">
                  <dgm:choose name="Name54">
                    <dgm:if name="Name55" axis="ch ch" ptType="node node" st="1 1" cnt="1 0" func="cnt" op="equ" val="3">
                      <dgm:choose name="Name56">
                        <dgm:if name="Name57" axis="ch ch" ptType="node node" st="2 1" cnt="1 0" func="cnt" op="equ" val="0">
                          <dgm:layoutNode name="balance_30" styleLbl="alignAccFollowNode1">
                            <dgm:varLst>
                              <dgm:bulletEnabled val="1"/>
                            </dgm:varLst>
                            <dgm:alg type="sp"/>
                            <dgm:shape xmlns:r="http://schemas.openxmlformats.org/officeDocument/2006/relationships" rot="-4" type="rect" r:blip="">
                              <dgm:adjLst/>
                            </dgm:shape>
                            <dgm:presOf/>
                            <dgm:constrLst/>
                            <dgm:ruleLst/>
                          </dgm:layoutNode>
                          <dgm:layoutNode name="left_3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name="Name59">
                            <dgm:if name="Name60" axis="ch ch" ptType="node node" st="2 1" cnt="1 0" func="cnt" op="equ" val="1">
                              <dgm:layoutNode name="balance_31" styleLbl="alignAccFollowNode1">
                                <dgm:varLst>
                                  <dgm:bulletEnabled val="1"/>
                                </dgm:varLst>
                                <dgm:alg type="sp"/>
                                <dgm:shape xmlns:r="http://schemas.openxmlformats.org/officeDocument/2006/relationships" rot="-4" type="rect" r:blip="">
                                  <dgm:adjLst/>
                                </dgm:shape>
                                <dgm:presOf/>
                                <dgm:constrLst/>
                                <dgm:ruleLst/>
                              </dgm:layoutNode>
                              <dgm:layoutNode name="left_3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1">
                              <dgm:choose name="Name62">
                                <dgm:if name="Name63" axis="ch ch" ptType="node node" st="2 1" cnt="1 0" func="cnt" op="equ" val="2">
                                  <dgm:layoutNode name="balance_32" styleLbl="alignAccFollowNode1">
                                    <dgm:varLst>
                                      <dgm:bulletEnabled val="1"/>
                                    </dgm:varLst>
                                    <dgm:alg type="sp"/>
                                    <dgm:shape xmlns:r="http://schemas.openxmlformats.org/officeDocument/2006/relationships" rot="-4" type="rect" r:blip="">
                                      <dgm:adjLst/>
                                    </dgm:shape>
                                    <dgm:presOf/>
                                    <dgm:constrLst/>
                                    <dgm:ruleLst/>
                                  </dgm:layoutNode>
                                  <dgm:layoutNode name="left_3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4">
                                  <dgm:choose name="Name65">
                                    <dgm:if name="Name66" axis="ch ch" ptType="node node" st="2 1" cnt="1 0" func="cnt" op="equ" val="3">
                                      <dgm:layoutNode name="balance_33" styleLbl="alignAccFollowNode1">
                                        <dgm:varLst>
                                          <dgm:bulletEnabled val="1"/>
                                        </dgm:varLst>
                                        <dgm:alg type="sp"/>
                                        <dgm:shape xmlns:r="http://schemas.openxmlformats.org/officeDocument/2006/relationships" type="rect" r:blip="">
                                          <dgm:adjLst/>
                                        </dgm:shape>
                                        <dgm:presOf/>
                                        <dgm:constrLst/>
                                        <dgm:ruleLst/>
                                      </dgm:layoutNode>
                                      <dgm:layoutNode name="right_33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7">
                                      <dgm:choose name="Name68">
                                        <dgm:if name="Name69" axis="ch ch" ptType="node node" st="2 1" cnt="1 0" func="cnt" op="gte" val="4">
                                          <dgm:layoutNode name="balance_34" styleLbl="alignAccFollowNode1">
                                            <dgm:varLst>
                                              <dgm:bulletEnabled val="1"/>
                                            </dgm:varLst>
                                            <dgm:alg type="sp"/>
                                            <dgm:shape xmlns:r="http://schemas.openxmlformats.org/officeDocument/2006/relationships" rot="4" type="rect" r:blip="">
                                              <dgm:adjLst/>
                                            </dgm:shape>
                                            <dgm:presOf/>
                                            <dgm:constrLst/>
                                            <dgm:ruleLst/>
                                          </dgm:layoutNode>
                                          <dgm:layoutNode name="right_3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0"/>
                                      </dgm:choose>
                                    </dgm:else>
                                  </dgm:choose>
                                </dgm:else>
                              </dgm:choose>
                            </dgm:else>
                          </dgm:choose>
                        </dgm:else>
                      </dgm:choose>
                    </dgm:if>
                    <dgm:else name="Name71">
                      <dgm:choose name="Name72">
                        <dgm:if name="Name73" axis="ch ch" ptType="node node" st="1 1" cnt="1 0" func="cnt" op="gte" val="4">
                          <dgm:choose name="Name74">
                            <dgm:if name="Name75" axis="ch ch" ptType="node node" st="2 1" cnt="1 0" func="cnt" op="equ" val="0">
                              <dgm:layoutNode name="balance_40" styleLbl="alignAccFollowNode1">
                                <dgm:varLst>
                                  <dgm:bulletEnabled val="1"/>
                                </dgm:varLst>
                                <dgm:alg type="sp"/>
                                <dgm:shape xmlns:r="http://schemas.openxmlformats.org/officeDocument/2006/relationships" rot="-4" type="rect" r:blip="">
                                  <dgm:adjLst/>
                                </dgm:shape>
                                <dgm:presOf/>
                                <dgm:constrLst/>
                                <dgm:ruleLst/>
                              </dgm:layoutNode>
                              <dgm:layoutNode name="left_4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6">
                              <dgm:choose name="Name77">
                                <dgm:if name="Name78" axis="ch ch" ptType="node node" st="2 1" cnt="1 0" func="cnt" op="equ" val="1">
                                  <dgm:layoutNode name="balance_41" styleLbl="alignAccFollowNode1">
                                    <dgm:varLst>
                                      <dgm:bulletEnabled val="1"/>
                                    </dgm:varLst>
                                    <dgm:alg type="sp"/>
                                    <dgm:shape xmlns:r="http://schemas.openxmlformats.org/officeDocument/2006/relationships" rot="-4" type="rect" r:blip="">
                                      <dgm:adjLst/>
                                    </dgm:shape>
                                    <dgm:presOf/>
                                    <dgm:constrLst/>
                                    <dgm:ruleLst/>
                                  </dgm:layoutNode>
                                  <dgm:layoutNode name="left_4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name="Name80">
                                    <dgm:if name="Name81" axis="ch ch" ptType="node node" st="2 1" cnt="1 0" func="cnt" op="equ" val="2">
                                      <dgm:layoutNode name="balance_42" styleLbl="alignAccFollowNode1">
                                        <dgm:varLst>
                                          <dgm:bulletEnabled val="1"/>
                                        </dgm:varLst>
                                        <dgm:alg type="sp"/>
                                        <dgm:shape xmlns:r="http://schemas.openxmlformats.org/officeDocument/2006/relationships" rot="-4" type="rect" r:blip="">
                                          <dgm:adjLst/>
                                        </dgm:shape>
                                        <dgm:presOf/>
                                        <dgm:constrLst/>
                                        <dgm:ruleLst/>
                                      </dgm:layoutNode>
                                      <dgm:layoutNode name="left_4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2">
                                      <dgm:choose name="Name83">
                                        <dgm:if name="Name84" axis="ch ch" ptType="node node" st="2 1" cnt="1 0" func="cnt" op="equ" val="3">
                                          <dgm:layoutNode name="balance_43" styleLbl="alignAccFollowNode1">
                                            <dgm:varLst>
                                              <dgm:bulletEnabled val="1"/>
                                            </dgm:varLst>
                                            <dgm:alg type="sp"/>
                                            <dgm:shape xmlns:r="http://schemas.openxmlformats.org/officeDocument/2006/relationships" rot="-4" type="rect" r:blip="">
                                              <dgm:adjLst/>
                                            </dgm:shape>
                                            <dgm:presOf/>
                                            <dgm:constrLst/>
                                            <dgm:ruleLst/>
                                          </dgm:layoutNode>
                                          <dgm:layoutNode name="left_4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5">
                                          <dgm:choose name="Name86">
                                            <dgm:if name="Name87" axis="ch ch" ptType="node node" st="2 1" cnt="1 0" func="cnt" op="gte" val="4">
                                              <dgm:layoutNode name="balance_44" styleLbl="alignAccFollowNode1">
                                                <dgm:varLst>
                                                  <dgm:bulletEnabled val="1"/>
                                                </dgm:varLst>
                                                <dgm:alg type="sp"/>
                                                <dgm:shape xmlns:r="http://schemas.openxmlformats.org/officeDocument/2006/relationships" type="rect" r:blip="">
                                                  <dgm:adjLst/>
                                                </dgm:shape>
                                                <dgm:presOf/>
                                                <dgm:constrLst/>
                                                <dgm:ruleLst/>
                                              </dgm:layoutNode>
                                              <dgm:layoutNode name="right_44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4" styleLbl="node1">
                                                <dgm:varLst>
                                                  <dgm:bulletEnabled val="1"/>
                                                </dgm:varLst>
                                                <dgm:alg type="tx"/>
                                                <dgm:shape xmlns:r="http://schemas.openxmlformats.org/officeDocument/2006/relationships"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4" styleLbl="node1">
                                                <dgm:varLst>
                                                  <dgm:bulletEnabled val="1"/>
                                                </dgm:varLst>
                                                <dgm:alg type="tx"/>
                                                <dgm:shape xmlns:r="http://schemas.openxmlformats.org/officeDocument/2006/relationships"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8"/>
                                          </dgm:choose>
                                        </dgm:else>
                                      </dgm:choose>
                                    </dgm:else>
                                  </dgm:choose>
                                </dgm:else>
                              </dgm:choose>
                            </dgm:else>
                          </dgm:choose>
                        </dgm:if>
                        <dgm:else name="Name89"/>
                      </dgm:choose>
                    </dgm:else>
                  </dgm:choose>
                </dgm:else>
              </dgm:choose>
            </dgm:else>
          </dgm:choose>
        </dgm:else>
      </dgm:choos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4.emf"/></Relationships>
</file>

<file path=ppt/drawings/_rels/drawing2.xml.rels><?xml version="1.0" encoding="UTF-8" standalone="yes"?>
<Relationships xmlns="http://schemas.openxmlformats.org/package/2006/relationships"><Relationship Id="rId1" Type="http://schemas.openxmlformats.org/officeDocument/2006/relationships/image" Target="../media/image5.emf"/></Relationships>
</file>

<file path=ppt/drawings/_rels/drawing3.xml.rels><?xml version="1.0" encoding="UTF-8" standalone="yes"?>
<Relationships xmlns="http://schemas.openxmlformats.org/package/2006/relationships"><Relationship Id="rId1" Type="http://schemas.openxmlformats.org/officeDocument/2006/relationships/image" Target="../media/image6.emf"/></Relationships>
</file>

<file path=ppt/drawings/_rels/drawing4.xml.rels><?xml version="1.0" encoding="UTF-8" standalone="yes"?>
<Relationships xmlns="http://schemas.openxmlformats.org/package/2006/relationships"><Relationship Id="rId1" Type="http://schemas.openxmlformats.org/officeDocument/2006/relationships/image" Target="../media/image8.emf"/></Relationships>
</file>

<file path=ppt/drawings/_rels/drawing5.xml.rels><?xml version="1.0" encoding="UTF-8" standalone="yes"?>
<Relationships xmlns="http://schemas.openxmlformats.org/package/2006/relationships"><Relationship Id="rId1" Type="http://schemas.openxmlformats.org/officeDocument/2006/relationships/image" Target="../media/image11.emf"/></Relationships>
</file>

<file path=ppt/drawings/_rels/drawing6.xml.rels><?xml version="1.0" encoding="UTF-8" standalone="yes"?>
<Relationships xmlns="http://schemas.openxmlformats.org/package/2006/relationships"><Relationship Id="rId1" Type="http://schemas.openxmlformats.org/officeDocument/2006/relationships/image" Target="../media/image13.emf"/></Relationships>
</file>

<file path=ppt/drawings/_rels/drawing7.xml.rels><?xml version="1.0" encoding="UTF-8" standalone="yes"?>
<Relationships xmlns="http://schemas.openxmlformats.org/package/2006/relationships"><Relationship Id="rId1" Type="http://schemas.openxmlformats.org/officeDocument/2006/relationships/image" Target="../media/image14.emf"/></Relationships>
</file>

<file path=ppt/drawings/drawing1.xml><?xml version="1.0" encoding="utf-8"?>
<c:userShapes xmlns:c="http://schemas.openxmlformats.org/drawingml/2006/chart">
  <cdr:relSizeAnchor xmlns:cdr="http://schemas.openxmlformats.org/drawingml/2006/chartDrawing">
    <cdr:from>
      <cdr:x>0</cdr:x>
      <cdr:y>0</cdr:y>
    </cdr:from>
    <cdr:to>
      <cdr:x>1</cdr:x>
      <cdr:y>1</cdr:y>
    </cdr:to>
    <cdr:pic>
      <cdr:nvPicPr>
        <cdr:cNvPr id="17" name="Grafik 16">
          <a:extLst xmlns:a="http://schemas.openxmlformats.org/drawingml/2006/main">
            <a:ext uri="{FF2B5EF4-FFF2-40B4-BE49-F238E27FC236}">
              <a16:creationId xmlns:a16="http://schemas.microsoft.com/office/drawing/2014/main" id="{033CDA0D-A985-9C44-F2D4-AAFFD5C74DAB}"/>
            </a:ext>
          </a:extLst>
        </cdr:cNvPr>
        <cdr:cNvPicPr>
          <a:picLocks xmlns:a="http://schemas.openxmlformats.org/drawingml/2006/main"/>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0" y="0"/>
          <a:ext cx="4099724" cy="1099121"/>
        </a:xfrm>
        <a:prstGeom xmlns:a="http://schemas.openxmlformats.org/drawingml/2006/main" prst="rect">
          <a:avLst/>
        </a:prstGeom>
      </cdr:spPr>
    </cdr:pic>
  </cdr:relSizeAnchor>
  <cdr:relSizeAnchor xmlns:cdr="http://schemas.openxmlformats.org/drawingml/2006/chartDrawing">
    <cdr:from>
      <cdr:x>0.02345</cdr:x>
      <cdr:y>0.09633</cdr:y>
    </cdr:from>
    <cdr:to>
      <cdr:x>0.26823</cdr:x>
      <cdr:y>0.23701</cdr:y>
    </cdr:to>
    <cdr:sp macro="" textlink="">
      <cdr:nvSpPr>
        <cdr:cNvPr id="4" name="41d761b4-a533-4d4e-b424-7d8b0ae58c1d">
          <a:extLst xmlns:a="http://schemas.openxmlformats.org/drawingml/2006/main">
            <a:ext uri="{FF2B5EF4-FFF2-40B4-BE49-F238E27FC236}">
              <a16:creationId xmlns:a16="http://schemas.microsoft.com/office/drawing/2014/main" id="{8F191D78-4715-7045-E7A1-F75C18152A55}"/>
            </a:ext>
          </a:extLst>
        </cdr:cNvPr>
        <cdr:cNvSpPr txBox="1"/>
      </cdr:nvSpPr>
      <cdr:spPr>
        <a:xfrm xmlns:a="http://schemas.openxmlformats.org/drawingml/2006/main">
          <a:off x="96139" y="105876"/>
          <a:ext cx="1003512" cy="154623"/>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r" defTabSz="495300"/>
          <a:r>
            <a:rPr lang="de-DE" sz="1000" b="0">
              <a:solidFill>
                <a:schemeClr val="tx1"/>
              </a:solidFill>
              <a:latin typeface="+mn-lt"/>
            </a:rPr>
            <a:t>Geschäftsführung</a:t>
          </a:r>
        </a:p>
      </cdr:txBody>
    </cdr:sp>
  </cdr:relSizeAnchor>
  <cdr:relSizeAnchor xmlns:cdr="http://schemas.openxmlformats.org/drawingml/2006/chartDrawing">
    <cdr:from>
      <cdr:x>0.0062</cdr:x>
      <cdr:y>0.42966</cdr:y>
    </cdr:from>
    <cdr:to>
      <cdr:x>0.26823</cdr:x>
      <cdr:y>0.57034</cdr:y>
    </cdr:to>
    <cdr:sp macro="" textlink="">
      <cdr:nvSpPr>
        <cdr:cNvPr id="5" name="7aeb3eba-4e55-4b7f-b3c8-12b7f0309cda">
          <a:extLst xmlns:a="http://schemas.openxmlformats.org/drawingml/2006/main">
            <a:ext uri="{FF2B5EF4-FFF2-40B4-BE49-F238E27FC236}">
              <a16:creationId xmlns:a16="http://schemas.microsoft.com/office/drawing/2014/main" id="{E3B01E91-E28E-384F-90CC-0696A8AAC4CC}"/>
            </a:ext>
          </a:extLst>
        </cdr:cNvPr>
        <cdr:cNvSpPr txBox="1"/>
      </cdr:nvSpPr>
      <cdr:spPr>
        <a:xfrm xmlns:a="http://schemas.openxmlformats.org/drawingml/2006/main">
          <a:off x="25400" y="472249"/>
          <a:ext cx="1074251" cy="154623"/>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r" defTabSz="495300"/>
          <a:r>
            <a:rPr lang="de-DE" sz="1000" b="0">
              <a:solidFill>
                <a:schemeClr val="tx1"/>
              </a:solidFill>
              <a:latin typeface="+mn-lt"/>
            </a:rPr>
            <a:t>Einrichtungsleitung</a:t>
          </a:r>
        </a:p>
      </cdr:txBody>
    </cdr:sp>
  </cdr:relSizeAnchor>
  <cdr:relSizeAnchor xmlns:cdr="http://schemas.openxmlformats.org/drawingml/2006/chartDrawing">
    <cdr:from>
      <cdr:x>0.60339</cdr:x>
      <cdr:y>0.08978</cdr:y>
    </cdr:from>
    <cdr:to>
      <cdr:x>0.68307</cdr:x>
      <cdr:y>0.24356</cdr:y>
    </cdr:to>
    <cdr:sp macro="" textlink="">
      <cdr:nvSpPr>
        <cdr:cNvPr id="10" name="685a7f48-4c8c-413a-acdf-d06ce632a7a8">
          <a:extLst xmlns:a="http://schemas.openxmlformats.org/drawingml/2006/main">
            <a:ext uri="{FF2B5EF4-FFF2-40B4-BE49-F238E27FC236}">
              <a16:creationId xmlns:a16="http://schemas.microsoft.com/office/drawing/2014/main" id="{B818BD2C-7F38-4342-68B6-B0678AE66793}"/>
            </a:ext>
          </a:extLst>
        </cdr:cNvPr>
        <cdr:cNvSpPr txBox="1"/>
      </cdr:nvSpPr>
      <cdr:spPr>
        <a:xfrm xmlns:a="http://schemas.openxmlformats.org/drawingml/2006/main">
          <a:off x="2473738" y="98679"/>
          <a:ext cx="326661" cy="169023"/>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b="0">
              <a:solidFill>
                <a:schemeClr val="bg1"/>
              </a:solidFill>
              <a:latin typeface="+mn-lt"/>
            </a:rPr>
            <a:t>54 %</a:t>
          </a:r>
        </a:p>
      </cdr:txBody>
    </cdr:sp>
  </cdr:relSizeAnchor>
  <cdr:relSizeAnchor xmlns:cdr="http://schemas.openxmlformats.org/drawingml/2006/chartDrawing">
    <cdr:from>
      <cdr:x>0.39315</cdr:x>
      <cdr:y>0.42311</cdr:y>
    </cdr:from>
    <cdr:to>
      <cdr:x>0.47283</cdr:x>
      <cdr:y>0.57689</cdr:y>
    </cdr:to>
    <cdr:sp macro="" textlink="">
      <cdr:nvSpPr>
        <cdr:cNvPr id="11" name="fd744640-40df-483a-864d-069cfcbaf08f">
          <a:extLst xmlns:a="http://schemas.openxmlformats.org/drawingml/2006/main">
            <a:ext uri="{FF2B5EF4-FFF2-40B4-BE49-F238E27FC236}">
              <a16:creationId xmlns:a16="http://schemas.microsoft.com/office/drawing/2014/main" id="{C145131D-199C-E340-5F9F-F01355E9AB57}"/>
            </a:ext>
          </a:extLst>
        </cdr:cNvPr>
        <cdr:cNvSpPr txBox="1"/>
      </cdr:nvSpPr>
      <cdr:spPr>
        <a:xfrm xmlns:a="http://schemas.openxmlformats.org/drawingml/2006/main">
          <a:off x="1611817" y="465049"/>
          <a:ext cx="326661" cy="169023"/>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b="0">
              <a:solidFill>
                <a:schemeClr val="bg1"/>
              </a:solidFill>
              <a:latin typeface="+mn-lt"/>
            </a:rPr>
            <a:t>21 %</a:t>
          </a:r>
        </a:p>
      </cdr:txBody>
    </cdr:sp>
  </cdr:relSizeAnchor>
  <cdr:relSizeAnchor xmlns:cdr="http://schemas.openxmlformats.org/drawingml/2006/chartDrawing">
    <cdr:from>
      <cdr:x>0.41864</cdr:x>
      <cdr:y>0.75644</cdr:y>
    </cdr:from>
    <cdr:to>
      <cdr:x>0.49831</cdr:x>
      <cdr:y>0.91022</cdr:y>
    </cdr:to>
    <cdr:sp macro="" textlink="">
      <cdr:nvSpPr>
        <cdr:cNvPr id="14" name="c781b83b-d86b-409f-9340-7c70375734eb">
          <a:extLst xmlns:a="http://schemas.openxmlformats.org/drawingml/2006/main">
            <a:ext uri="{FF2B5EF4-FFF2-40B4-BE49-F238E27FC236}">
              <a16:creationId xmlns:a16="http://schemas.microsoft.com/office/drawing/2014/main" id="{45F7D1A7-760A-4812-040E-AA72A2FB87AA}"/>
            </a:ext>
          </a:extLst>
        </cdr:cNvPr>
        <cdr:cNvSpPr txBox="1"/>
      </cdr:nvSpPr>
      <cdr:spPr>
        <a:xfrm xmlns:a="http://schemas.openxmlformats.org/drawingml/2006/main">
          <a:off x="1716292" y="831419"/>
          <a:ext cx="326661" cy="169023"/>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b="0">
              <a:solidFill>
                <a:schemeClr val="bg1"/>
              </a:solidFill>
              <a:latin typeface="+mn-lt"/>
            </a:rPr>
            <a:t>25 %</a:t>
          </a:r>
        </a:p>
      </cdr:txBody>
    </cdr:sp>
  </cdr:relSizeAnchor>
  <cdr:relSizeAnchor xmlns:cdr="http://schemas.openxmlformats.org/drawingml/2006/chartDrawing">
    <cdr:from>
      <cdr:x>0.13189</cdr:x>
      <cdr:y>0.76299</cdr:y>
    </cdr:from>
    <cdr:to>
      <cdr:x>0.26823</cdr:x>
      <cdr:y>0.90367</cdr:y>
    </cdr:to>
    <cdr:sp macro="" textlink="">
      <cdr:nvSpPr>
        <cdr:cNvPr id="46" name="3ac329ef-8107-4da0-8ee3-a2dc1e161287">
          <a:extLst xmlns:a="http://schemas.openxmlformats.org/drawingml/2006/main">
            <a:ext uri="{FF2B5EF4-FFF2-40B4-BE49-F238E27FC236}">
              <a16:creationId xmlns:a16="http://schemas.microsoft.com/office/drawing/2014/main" id="{4466D2AB-F1C8-6F8A-1A1C-5897E7E11501}"/>
            </a:ext>
          </a:extLst>
        </cdr:cNvPr>
        <cdr:cNvSpPr txBox="1"/>
      </cdr:nvSpPr>
      <cdr:spPr>
        <a:xfrm xmlns:a="http://schemas.openxmlformats.org/drawingml/2006/main">
          <a:off x="540724" y="838623"/>
          <a:ext cx="558927" cy="154623"/>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r" defTabSz="495300"/>
          <a:r>
            <a:rPr lang="de-DE" sz="1000" b="0">
              <a:solidFill>
                <a:schemeClr val="tx1"/>
              </a:solidFill>
              <a:latin typeface="+mn-lt"/>
            </a:rPr>
            <a:t>Sonstiges</a:t>
          </a:r>
        </a:p>
      </cdr:txBody>
    </cdr:sp>
  </cdr:relSizeAnchor>
  <cdr:relSizeAnchor xmlns:cdr="http://schemas.openxmlformats.org/drawingml/2006/chartDrawing">
    <cdr:from>
      <cdr:x>0.91651</cdr:x>
      <cdr:y>0.83142</cdr:y>
    </cdr:from>
    <cdr:to>
      <cdr:x>1</cdr:x>
      <cdr:y>1</cdr:y>
    </cdr:to>
    <cdr:sp macro="" textlink="">
      <cdr:nvSpPr>
        <cdr:cNvPr id="6" name="2a5f2a77-165d-41a3-9fbd-920ee85647c3" hidden="1">
          <a:extLst xmlns:a="http://schemas.openxmlformats.org/drawingml/2006/main">
            <a:ext uri="{FF2B5EF4-FFF2-40B4-BE49-F238E27FC236}">
              <a16:creationId xmlns:a16="http://schemas.microsoft.com/office/drawing/2014/main" id="{19ED0448-01B2-A0D9-6DDA-90435325FBF3}"/>
            </a:ext>
          </a:extLst>
        </cdr:cNvPr>
        <cdr:cNvSpPr/>
      </cdr:nvSpPr>
      <cdr:spPr>
        <a:xfrm xmlns:a="http://schemas.openxmlformats.org/drawingml/2006/main">
          <a:off x="7375614" y="913828"/>
          <a:ext cx="342282" cy="185293"/>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chemeClr val="accent5">
              <a:alpha val="0"/>
            </a:schemeClr>
          </a:solidFill>
          <a:prstDash val="solid"/>
          <a:miter lim="800000"/>
          <a:headEnd type="none" w="med" len="med"/>
          <a:tailEnd type="none" w="med" len="med"/>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200" kern="1200">
              <a:solidFill>
                <a:schemeClr val="tx1"/>
              </a:solidFill>
              <a:latin typeface="+mn-lt"/>
            </a:rPr>
            <a:t>-272</a:t>
          </a:r>
        </a:p>
      </cdr:txBody>
    </cdr:sp>
  </cdr:relSizeAnchor>
  <cdr:relSizeAnchor xmlns:cdr="http://schemas.openxmlformats.org/drawingml/2006/chartDrawing">
    <cdr:from>
      <cdr:x>0.91651</cdr:x>
      <cdr:y>0.83142</cdr:y>
    </cdr:from>
    <cdr:to>
      <cdr:x>1</cdr:x>
      <cdr:y>1</cdr:y>
    </cdr:to>
    <cdr:sp macro="" textlink="">
      <cdr:nvSpPr>
        <cdr:cNvPr id="7" name="f6d646f5-3581-4b3a-8238-604f814418db" hidden="1">
          <a:extLst xmlns:a="http://schemas.openxmlformats.org/drawingml/2006/main">
            <a:ext uri="{FF2B5EF4-FFF2-40B4-BE49-F238E27FC236}">
              <a16:creationId xmlns:a16="http://schemas.microsoft.com/office/drawing/2014/main" id="{D5CAA1A1-2B92-07EC-BB5A-7EF94505EDBA}"/>
            </a:ext>
          </a:extLst>
        </cdr:cNvPr>
        <cdr:cNvSpPr/>
      </cdr:nvSpPr>
      <cdr:spPr>
        <a:xfrm xmlns:a="http://schemas.openxmlformats.org/drawingml/2006/main">
          <a:off x="7375614" y="913828"/>
          <a:ext cx="342282" cy="185293"/>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chemeClr val="accent5">
              <a:alpha val="0"/>
            </a:schemeClr>
          </a:solidFill>
          <a:prstDash val="solid"/>
          <a:miter lim="800000"/>
          <a:headEnd type="none" w="med" len="med"/>
          <a:tailEnd type="none" w="med" len="med"/>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200" kern="1200">
              <a:solidFill>
                <a:schemeClr val="tx1"/>
              </a:solidFill>
              <a:latin typeface="+mn-lt"/>
            </a:rPr>
            <a:t>-272</a:t>
          </a:r>
        </a:p>
      </cdr:txBody>
    </cdr:sp>
  </cdr:relSizeAnchor>
  <cdr:relSizeAnchor xmlns:cdr="http://schemas.openxmlformats.org/drawingml/2006/chartDrawing">
    <cdr:from>
      <cdr:x>0.91651</cdr:x>
      <cdr:y>0.83142</cdr:y>
    </cdr:from>
    <cdr:to>
      <cdr:x>1</cdr:x>
      <cdr:y>1</cdr:y>
    </cdr:to>
    <cdr:sp macro="" textlink="">
      <cdr:nvSpPr>
        <cdr:cNvPr id="8" name="c8ac6e88-ac24-4135-98ff-1583e841046e" hidden="1">
          <a:extLst xmlns:a="http://schemas.openxmlformats.org/drawingml/2006/main">
            <a:ext uri="{FF2B5EF4-FFF2-40B4-BE49-F238E27FC236}">
              <a16:creationId xmlns:a16="http://schemas.microsoft.com/office/drawing/2014/main" id="{D14E3A58-61A7-F19B-47DA-E45233C3D09B}"/>
            </a:ext>
          </a:extLst>
        </cdr:cNvPr>
        <cdr:cNvSpPr/>
      </cdr:nvSpPr>
      <cdr:spPr>
        <a:xfrm xmlns:a="http://schemas.openxmlformats.org/drawingml/2006/main">
          <a:off x="7375614" y="913828"/>
          <a:ext cx="342282" cy="185293"/>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chemeClr val="accent5">
              <a:alpha val="0"/>
            </a:schemeClr>
          </a:solidFill>
          <a:prstDash val="solid"/>
          <a:miter lim="800000"/>
          <a:headEnd type="none" w="med" len="med"/>
          <a:tailEnd type="none" w="med" len="med"/>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200" kern="1200">
              <a:solidFill>
                <a:schemeClr val="tx1"/>
              </a:solidFill>
              <a:latin typeface="+mn-lt"/>
            </a:rPr>
            <a:t>-272</a:t>
          </a: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1</cdr:x>
      <cdr:y>1</cdr:y>
    </cdr:to>
    <cdr:pic>
      <cdr:nvPicPr>
        <cdr:cNvPr id="34" name="Grafik 33">
          <a:extLst xmlns:a="http://schemas.openxmlformats.org/drawingml/2006/main">
            <a:ext uri="{FF2B5EF4-FFF2-40B4-BE49-F238E27FC236}">
              <a16:creationId xmlns:a16="http://schemas.microsoft.com/office/drawing/2014/main" id="{0B360D63-FB71-AEF3-7B32-7B904B9070D2}"/>
            </a:ext>
          </a:extLst>
        </cdr:cNvPr>
        <cdr:cNvPicPr>
          <a:picLocks xmlns:a="http://schemas.openxmlformats.org/drawingml/2006/main"/>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0" y="0"/>
          <a:ext cx="3567874" cy="1388373"/>
        </a:xfrm>
        <a:prstGeom xmlns:a="http://schemas.openxmlformats.org/drawingml/2006/main" prst="rect">
          <a:avLst/>
        </a:prstGeom>
      </cdr:spPr>
    </cdr:pic>
  </cdr:relSizeAnchor>
  <cdr:relSizeAnchor xmlns:cdr="http://schemas.openxmlformats.org/drawingml/2006/chartDrawing">
    <cdr:from>
      <cdr:x>0.00712</cdr:x>
      <cdr:y>0.06656</cdr:y>
    </cdr:from>
    <cdr:to>
      <cdr:x>0.29417</cdr:x>
      <cdr:y>0.18344</cdr:y>
    </cdr:to>
    <cdr:sp macro="" textlink="">
      <cdr:nvSpPr>
        <cdr:cNvPr id="4" name="41d761b4-a533-4d4e-b424-7d8b0ae58c1d">
          <a:extLst xmlns:a="http://schemas.openxmlformats.org/drawingml/2006/main">
            <a:ext uri="{FF2B5EF4-FFF2-40B4-BE49-F238E27FC236}">
              <a16:creationId xmlns:a16="http://schemas.microsoft.com/office/drawing/2014/main" id="{8F191D78-4715-7045-E7A1-F75C18152A55}"/>
            </a:ext>
          </a:extLst>
        </cdr:cNvPr>
        <cdr:cNvSpPr txBox="1"/>
      </cdr:nvSpPr>
      <cdr:spPr>
        <a:xfrm xmlns:a="http://schemas.openxmlformats.org/drawingml/2006/main">
          <a:off x="25400" y="92410"/>
          <a:ext cx="1024170" cy="162273"/>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r" defTabSz="495300"/>
          <a:r>
            <a:rPr lang="de-DE" sz="1050" b="0">
              <a:solidFill>
                <a:schemeClr val="tx1"/>
              </a:solidFill>
              <a:latin typeface="+mn-lt"/>
            </a:rPr>
            <a:t>Freigemeinnützig</a:t>
          </a:r>
        </a:p>
      </cdr:txBody>
    </cdr:sp>
  </cdr:relSizeAnchor>
  <cdr:relSizeAnchor xmlns:cdr="http://schemas.openxmlformats.org/drawingml/2006/chartDrawing">
    <cdr:from>
      <cdr:x>0.13662</cdr:x>
      <cdr:y>0.31656</cdr:y>
    </cdr:from>
    <cdr:to>
      <cdr:x>0.29417</cdr:x>
      <cdr:y>0.43344</cdr:y>
    </cdr:to>
    <cdr:sp macro="" textlink="">
      <cdr:nvSpPr>
        <cdr:cNvPr id="5" name="7aeb3eba-4e55-4b7f-b3c8-12b7f0309cda">
          <a:extLst xmlns:a="http://schemas.openxmlformats.org/drawingml/2006/main">
            <a:ext uri="{FF2B5EF4-FFF2-40B4-BE49-F238E27FC236}">
              <a16:creationId xmlns:a16="http://schemas.microsoft.com/office/drawing/2014/main" id="{E3B01E91-E28E-384F-90CC-0696A8AAC4CC}"/>
            </a:ext>
          </a:extLst>
        </cdr:cNvPr>
        <cdr:cNvSpPr txBox="1"/>
      </cdr:nvSpPr>
      <cdr:spPr>
        <a:xfrm xmlns:a="http://schemas.openxmlformats.org/drawingml/2006/main">
          <a:off x="487426" y="439503"/>
          <a:ext cx="562144" cy="162273"/>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r" defTabSz="495300"/>
          <a:r>
            <a:rPr lang="de-DE" sz="1050" b="0">
              <a:solidFill>
                <a:schemeClr val="tx1"/>
              </a:solidFill>
              <a:latin typeface="+mn-lt"/>
            </a:rPr>
            <a:t>Öffentlich</a:t>
          </a:r>
        </a:p>
      </cdr:txBody>
    </cdr:sp>
  </cdr:relSizeAnchor>
  <cdr:relSizeAnchor xmlns:cdr="http://schemas.openxmlformats.org/drawingml/2006/chartDrawing">
    <cdr:from>
      <cdr:x>0.57936</cdr:x>
      <cdr:y>0.06138</cdr:y>
    </cdr:from>
    <cdr:to>
      <cdr:x>0.675</cdr:x>
      <cdr:y>0.18862</cdr:y>
    </cdr:to>
    <cdr:sp macro="" textlink="">
      <cdr:nvSpPr>
        <cdr:cNvPr id="10" name="685a7f48-4c8c-413a-acdf-d06ce632a7a8">
          <a:extLst xmlns:a="http://schemas.openxmlformats.org/drawingml/2006/main">
            <a:ext uri="{FF2B5EF4-FFF2-40B4-BE49-F238E27FC236}">
              <a16:creationId xmlns:a16="http://schemas.microsoft.com/office/drawing/2014/main" id="{B818BD2C-7F38-4342-68B6-B0678AE66793}"/>
            </a:ext>
          </a:extLst>
        </cdr:cNvPr>
        <cdr:cNvSpPr txBox="1"/>
      </cdr:nvSpPr>
      <cdr:spPr>
        <a:xfrm xmlns:a="http://schemas.openxmlformats.org/drawingml/2006/main">
          <a:off x="2067099" y="85213"/>
          <a:ext cx="341223" cy="176668"/>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50" b="0">
              <a:solidFill>
                <a:schemeClr val="bg1"/>
              </a:solidFill>
              <a:latin typeface="+mn-lt"/>
            </a:rPr>
            <a:t>71 %</a:t>
          </a:r>
        </a:p>
      </cdr:txBody>
    </cdr:sp>
  </cdr:relSizeAnchor>
  <cdr:relSizeAnchor xmlns:cdr="http://schemas.openxmlformats.org/drawingml/2006/chartDrawing">
    <cdr:from>
      <cdr:x>0.36154</cdr:x>
      <cdr:y>0.56138</cdr:y>
    </cdr:from>
    <cdr:to>
      <cdr:x>0.45718</cdr:x>
      <cdr:y>0.68862</cdr:y>
    </cdr:to>
    <cdr:sp macro="" textlink="">
      <cdr:nvSpPr>
        <cdr:cNvPr id="14" name="c781b83b-d86b-409f-9340-7c70375734eb">
          <a:extLst xmlns:a="http://schemas.openxmlformats.org/drawingml/2006/main">
            <a:ext uri="{FF2B5EF4-FFF2-40B4-BE49-F238E27FC236}">
              <a16:creationId xmlns:a16="http://schemas.microsoft.com/office/drawing/2014/main" id="{45F7D1A7-760A-4812-040E-AA72A2FB87AA}"/>
            </a:ext>
          </a:extLst>
        </cdr:cNvPr>
        <cdr:cNvSpPr txBox="1"/>
      </cdr:nvSpPr>
      <cdr:spPr>
        <a:xfrm xmlns:a="http://schemas.openxmlformats.org/drawingml/2006/main">
          <a:off x="1289926" y="779400"/>
          <a:ext cx="341223" cy="176668"/>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50" b="0">
              <a:solidFill>
                <a:schemeClr val="bg1"/>
              </a:solidFill>
              <a:latin typeface="+mn-lt"/>
            </a:rPr>
            <a:t>19 %</a:t>
          </a:r>
        </a:p>
      </cdr:txBody>
    </cdr:sp>
  </cdr:relSizeAnchor>
  <cdr:relSizeAnchor xmlns:cdr="http://schemas.openxmlformats.org/drawingml/2006/chartDrawing">
    <cdr:from>
      <cdr:x>0.00715</cdr:x>
      <cdr:y>0.56656</cdr:y>
    </cdr:from>
    <cdr:to>
      <cdr:x>0.29417</cdr:x>
      <cdr:y>0.68343</cdr:y>
    </cdr:to>
    <cdr:sp macro="" textlink="">
      <cdr:nvSpPr>
        <cdr:cNvPr id="46" name="3ac329ef-8107-4da0-8ee3-a2dc1e161287">
          <a:extLst xmlns:a="http://schemas.openxmlformats.org/drawingml/2006/main">
            <a:ext uri="{FF2B5EF4-FFF2-40B4-BE49-F238E27FC236}">
              <a16:creationId xmlns:a16="http://schemas.microsoft.com/office/drawing/2014/main" id="{4466D2AB-F1C8-6F8A-1A1C-5897E7E11501}"/>
            </a:ext>
          </a:extLst>
        </cdr:cNvPr>
        <cdr:cNvSpPr txBox="1"/>
      </cdr:nvSpPr>
      <cdr:spPr>
        <a:xfrm xmlns:a="http://schemas.openxmlformats.org/drawingml/2006/main">
          <a:off x="25527" y="786597"/>
          <a:ext cx="1024043" cy="162259"/>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r" defTabSz="495300"/>
          <a:r>
            <a:rPr lang="de-DE" sz="1050" b="0">
              <a:solidFill>
                <a:schemeClr val="tx1"/>
              </a:solidFill>
              <a:latin typeface="+mn-lt"/>
            </a:rPr>
            <a:t>Privat-gewerblich</a:t>
          </a:r>
        </a:p>
      </cdr:txBody>
    </cdr:sp>
  </cdr:relSizeAnchor>
  <cdr:relSizeAnchor xmlns:cdr="http://schemas.openxmlformats.org/drawingml/2006/chartDrawing">
    <cdr:from>
      <cdr:x>0.14836</cdr:x>
      <cdr:y>0.81656</cdr:y>
    </cdr:from>
    <cdr:to>
      <cdr:x>0.29417</cdr:x>
      <cdr:y>0.93344</cdr:y>
    </cdr:to>
    <cdr:sp macro="" textlink="">
      <cdr:nvSpPr>
        <cdr:cNvPr id="12" name="90814d59-e318-40a3-92a0-40c73820c630">
          <a:extLst xmlns:a="http://schemas.openxmlformats.org/drawingml/2006/main">
            <a:ext uri="{FF2B5EF4-FFF2-40B4-BE49-F238E27FC236}">
              <a16:creationId xmlns:a16="http://schemas.microsoft.com/office/drawing/2014/main" id="{E7D014FD-0600-68B5-3465-AA388DEF768C}"/>
            </a:ext>
          </a:extLst>
        </cdr:cNvPr>
        <cdr:cNvSpPr txBox="1"/>
      </cdr:nvSpPr>
      <cdr:spPr>
        <a:xfrm xmlns:a="http://schemas.openxmlformats.org/drawingml/2006/main">
          <a:off x="529336" y="1133690"/>
          <a:ext cx="520234" cy="162273"/>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r" defTabSz="495300"/>
          <a:r>
            <a:rPr lang="de-DE" sz="1050" b="0">
              <a:solidFill>
                <a:schemeClr val="tx1"/>
              </a:solidFill>
              <a:latin typeface="+mn-lt"/>
            </a:rPr>
            <a:t>Sonstige</a:t>
          </a:r>
        </a:p>
      </cdr:txBody>
    </cdr:sp>
  </cdr:relSizeAnchor>
  <cdr:relSizeAnchor xmlns:cdr="http://schemas.openxmlformats.org/drawingml/2006/chartDrawing">
    <cdr:from>
      <cdr:x>0.42082</cdr:x>
      <cdr:y>0.31413</cdr:y>
    </cdr:from>
    <cdr:to>
      <cdr:x>0.49567</cdr:x>
      <cdr:y>0.44138</cdr:y>
    </cdr:to>
    <cdr:sp macro="" textlink="">
      <cdr:nvSpPr>
        <cdr:cNvPr id="21" name="fd744640-40df-483a-864d-069cfcbaf08f">
          <a:extLst xmlns:a="http://schemas.openxmlformats.org/drawingml/2006/main">
            <a:ext uri="{FF2B5EF4-FFF2-40B4-BE49-F238E27FC236}">
              <a16:creationId xmlns:a16="http://schemas.microsoft.com/office/drawing/2014/main" id="{AC89B9C4-1D13-2E6F-88C5-1648DB33E747}"/>
            </a:ext>
          </a:extLst>
        </cdr:cNvPr>
        <cdr:cNvSpPr txBox="1"/>
      </cdr:nvSpPr>
      <cdr:spPr>
        <a:xfrm xmlns:a="http://schemas.openxmlformats.org/drawingml/2006/main">
          <a:off x="1501430" y="436130"/>
          <a:ext cx="267055" cy="176668"/>
        </a:xfrm>
        <a:prstGeom xmlns:a="http://schemas.openxmlformats.org/drawingml/2006/main" prst="rect">
          <a:avLst/>
        </a:prstGeom>
        <a:noFill xmlns:a="http://schemas.openxmlformats.org/drawingml/2006/main"/>
        <a:ln xmlns:a="http://schemas.openxmlformats.org/drawingml/2006/main" w="0" cap="flat" cmpd="sng" algn="ctr">
          <a:solidFill>
            <a:prstClr val="black">
              <a:alpha val="0"/>
            </a:prstClr>
          </a:solidFill>
          <a:prstDash val="solid"/>
          <a:round/>
          <a:headEnd type="none" w="med" len="med"/>
          <a:tailEnd type="none" w="med" len="med"/>
        </a:ln>
        <a:extLst xmlns:a="http://schemas.openxmlformats.org/drawingml/2006/main">
          <a:ext uri="{909E8E84-426E-40DD-AFC4-6F175D3DCCD1}">
            <a14:hiddenFill xmlns:a14="http://schemas.microsoft.com/office/drawing/2010/main">
              <a:solidFill>
                <a:srgbClr val="FBBAB9"/>
              </a:solidFill>
            </a14:hiddenFill>
          </a:ext>
        </a:extLst>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50" b="0">
              <a:solidFill>
                <a:schemeClr val="tx1"/>
              </a:solidFill>
              <a:latin typeface="+mn-lt"/>
            </a:rPr>
            <a:t>6 %</a:t>
          </a:r>
        </a:p>
      </cdr:txBody>
    </cdr:sp>
  </cdr:relSizeAnchor>
  <cdr:relSizeAnchor xmlns:cdr="http://schemas.openxmlformats.org/drawingml/2006/chartDrawing">
    <cdr:from>
      <cdr:x>0.3912</cdr:x>
      <cdr:y>0.81138</cdr:y>
    </cdr:from>
    <cdr:to>
      <cdr:x>0.46605</cdr:x>
      <cdr:y>0.93862</cdr:y>
    </cdr:to>
    <cdr:sp macro="" textlink="">
      <cdr:nvSpPr>
        <cdr:cNvPr id="23" name="b9c773d6-f522-40a1-abbf-67aee172a0bb">
          <a:extLst xmlns:a="http://schemas.openxmlformats.org/drawingml/2006/main">
            <a:ext uri="{FF2B5EF4-FFF2-40B4-BE49-F238E27FC236}">
              <a16:creationId xmlns:a16="http://schemas.microsoft.com/office/drawing/2014/main" id="{A83EAA6D-F175-CE29-C93C-5AC9A266AA27}"/>
            </a:ext>
          </a:extLst>
        </cdr:cNvPr>
        <cdr:cNvSpPr txBox="1"/>
      </cdr:nvSpPr>
      <cdr:spPr>
        <a:xfrm xmlns:a="http://schemas.openxmlformats.org/drawingml/2006/main">
          <a:off x="1395738" y="1126498"/>
          <a:ext cx="267055" cy="176657"/>
        </a:xfrm>
        <a:prstGeom xmlns:a="http://schemas.openxmlformats.org/drawingml/2006/main" prst="rect">
          <a:avLst/>
        </a:prstGeom>
        <a:noFill xmlns:a="http://schemas.openxmlformats.org/drawingml/2006/main"/>
        <a:ln xmlns:a="http://schemas.openxmlformats.org/drawingml/2006/main" w="0" cap="flat" cmpd="sng" algn="ctr">
          <a:solidFill>
            <a:prstClr val="black">
              <a:alpha val="0"/>
            </a:prstClr>
          </a:solidFill>
          <a:prstDash val="solid"/>
          <a:round/>
          <a:headEnd type="none" w="med" len="med"/>
          <a:tailEnd type="none" w="med" len="med"/>
        </a:ln>
        <a:extLst xmlns:a="http://schemas.openxmlformats.org/drawingml/2006/main">
          <a:ext uri="{909E8E84-426E-40DD-AFC4-6F175D3DCCD1}">
            <a14:hiddenFill xmlns:a14="http://schemas.microsoft.com/office/drawing/2010/main">
              <a:solidFill>
                <a:srgbClr val="FBBAB9"/>
              </a:solidFill>
            </a14:hiddenFill>
          </a:ext>
        </a:extLst>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50" b="0">
              <a:solidFill>
                <a:schemeClr val="tx1"/>
              </a:solidFill>
              <a:latin typeface="+mn-lt"/>
            </a:rPr>
            <a:t>4 %</a:t>
          </a:r>
        </a:p>
      </cdr:txBody>
    </cdr:sp>
  </cdr:relSizeAnchor>
  <cdr:relSizeAnchor xmlns:cdr="http://schemas.openxmlformats.org/drawingml/2006/chartDrawing">
    <cdr:from>
      <cdr:x>0.90407</cdr:x>
      <cdr:y>0.86654</cdr:y>
    </cdr:from>
    <cdr:to>
      <cdr:x>1</cdr:x>
      <cdr:y>1</cdr:y>
    </cdr:to>
    <cdr:sp macro="" textlink="">
      <cdr:nvSpPr>
        <cdr:cNvPr id="6" name="656bcfa9-2603-4714-8c70-500f7b7cb7b1" hidden="1">
          <a:extLst xmlns:a="http://schemas.openxmlformats.org/drawingml/2006/main">
            <a:ext uri="{FF2B5EF4-FFF2-40B4-BE49-F238E27FC236}">
              <a16:creationId xmlns:a16="http://schemas.microsoft.com/office/drawing/2014/main" id="{7FD008A5-7AC4-F02D-4956-CDDAE3B372CA}"/>
            </a:ext>
          </a:extLst>
        </cdr:cNvPr>
        <cdr:cNvSpPr/>
      </cdr:nvSpPr>
      <cdr:spPr>
        <a:xfrm xmlns:a="http://schemas.openxmlformats.org/drawingml/2006/main">
          <a:off x="7375614" y="1203080"/>
          <a:ext cx="342282" cy="185293"/>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chemeClr val="accent5">
              <a:alpha val="0"/>
            </a:schemeClr>
          </a:solidFill>
          <a:prstDash val="solid"/>
          <a:miter lim="800000"/>
          <a:headEnd type="none" w="med" len="med"/>
          <a:tailEnd type="none" w="med" len="med"/>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200" kern="1200">
              <a:solidFill>
                <a:schemeClr val="tx1"/>
              </a:solidFill>
              <a:latin typeface="+mn-lt"/>
            </a:rPr>
            <a:t>-272</a:t>
          </a:r>
        </a:p>
      </cdr:txBody>
    </cdr:sp>
  </cdr:relSizeAnchor>
  <cdr:relSizeAnchor xmlns:cdr="http://schemas.openxmlformats.org/drawingml/2006/chartDrawing">
    <cdr:from>
      <cdr:x>0.90407</cdr:x>
      <cdr:y>0.86654</cdr:y>
    </cdr:from>
    <cdr:to>
      <cdr:x>1</cdr:x>
      <cdr:y>1</cdr:y>
    </cdr:to>
    <cdr:sp macro="" textlink="">
      <cdr:nvSpPr>
        <cdr:cNvPr id="7" name="5341aeec-6aab-44be-a81a-740197b65dab" hidden="1">
          <a:extLst xmlns:a="http://schemas.openxmlformats.org/drawingml/2006/main">
            <a:ext uri="{FF2B5EF4-FFF2-40B4-BE49-F238E27FC236}">
              <a16:creationId xmlns:a16="http://schemas.microsoft.com/office/drawing/2014/main" id="{3D03343A-C22F-8F23-A3E1-3542F282EE4C}"/>
            </a:ext>
          </a:extLst>
        </cdr:cNvPr>
        <cdr:cNvSpPr/>
      </cdr:nvSpPr>
      <cdr:spPr>
        <a:xfrm xmlns:a="http://schemas.openxmlformats.org/drawingml/2006/main">
          <a:off x="7375614" y="1203080"/>
          <a:ext cx="342282" cy="185293"/>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chemeClr val="accent5">
              <a:alpha val="0"/>
            </a:schemeClr>
          </a:solidFill>
          <a:prstDash val="solid"/>
          <a:miter lim="800000"/>
          <a:headEnd type="none" w="med" len="med"/>
          <a:tailEnd type="none" w="med" len="med"/>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200" kern="1200">
              <a:solidFill>
                <a:schemeClr val="tx1"/>
              </a:solidFill>
              <a:latin typeface="+mn-lt"/>
            </a:rPr>
            <a:t>-272</a:t>
          </a:r>
        </a:p>
      </cdr:txBody>
    </cdr:sp>
  </cdr:relSizeAnchor>
  <cdr:relSizeAnchor xmlns:cdr="http://schemas.openxmlformats.org/drawingml/2006/chartDrawing">
    <cdr:from>
      <cdr:x>0.90407</cdr:x>
      <cdr:y>0.86654</cdr:y>
    </cdr:from>
    <cdr:to>
      <cdr:x>1</cdr:x>
      <cdr:y>1</cdr:y>
    </cdr:to>
    <cdr:sp macro="" textlink="">
      <cdr:nvSpPr>
        <cdr:cNvPr id="8" name="e68826b2-8d4a-435e-9f36-61e9743dfacd" hidden="1">
          <a:extLst xmlns:a="http://schemas.openxmlformats.org/drawingml/2006/main">
            <a:ext uri="{FF2B5EF4-FFF2-40B4-BE49-F238E27FC236}">
              <a16:creationId xmlns:a16="http://schemas.microsoft.com/office/drawing/2014/main" id="{B227A588-68B5-C14F-8D04-CFE423B23178}"/>
            </a:ext>
          </a:extLst>
        </cdr:cNvPr>
        <cdr:cNvSpPr/>
      </cdr:nvSpPr>
      <cdr:spPr>
        <a:xfrm xmlns:a="http://schemas.openxmlformats.org/drawingml/2006/main">
          <a:off x="7375614" y="1203080"/>
          <a:ext cx="342282" cy="185293"/>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chemeClr val="accent5">
              <a:alpha val="0"/>
            </a:schemeClr>
          </a:solidFill>
          <a:prstDash val="solid"/>
          <a:miter lim="800000"/>
          <a:headEnd type="none" w="med" len="med"/>
          <a:tailEnd type="none" w="med" len="med"/>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200" kern="1200">
              <a:solidFill>
                <a:schemeClr val="tx1"/>
              </a:solidFill>
              <a:latin typeface="+mn-lt"/>
            </a:rPr>
            <a:t>-272</a:t>
          </a:r>
        </a:p>
      </cdr:txBody>
    </cdr:sp>
  </cdr:relSizeAnchor>
  <cdr:relSizeAnchor xmlns:cdr="http://schemas.openxmlformats.org/drawingml/2006/chartDrawing">
    <cdr:from>
      <cdr:x>0.90407</cdr:x>
      <cdr:y>0.86654</cdr:y>
    </cdr:from>
    <cdr:to>
      <cdr:x>1</cdr:x>
      <cdr:y>1</cdr:y>
    </cdr:to>
    <cdr:sp macro="" textlink="">
      <cdr:nvSpPr>
        <cdr:cNvPr id="9" name="db719074-3fa6-47d1-bf0f-e9cd60b13db1" hidden="1">
          <a:extLst xmlns:a="http://schemas.openxmlformats.org/drawingml/2006/main">
            <a:ext uri="{FF2B5EF4-FFF2-40B4-BE49-F238E27FC236}">
              <a16:creationId xmlns:a16="http://schemas.microsoft.com/office/drawing/2014/main" id="{687786D4-B56E-55E0-75FA-305E55071780}"/>
            </a:ext>
          </a:extLst>
        </cdr:cNvPr>
        <cdr:cNvSpPr/>
      </cdr:nvSpPr>
      <cdr:spPr>
        <a:xfrm xmlns:a="http://schemas.openxmlformats.org/drawingml/2006/main">
          <a:off x="7375614" y="1203080"/>
          <a:ext cx="342282" cy="185293"/>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chemeClr val="accent5">
              <a:alpha val="0"/>
            </a:schemeClr>
          </a:solidFill>
          <a:prstDash val="solid"/>
          <a:miter lim="800000"/>
          <a:headEnd type="none" w="med" len="med"/>
          <a:tailEnd type="none" w="med" len="med"/>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200" kern="1200">
              <a:solidFill>
                <a:schemeClr val="tx1"/>
              </a:solidFill>
              <a:latin typeface="+mn-lt"/>
            </a:rPr>
            <a:t>-272</a:t>
          </a:r>
        </a:p>
      </cdr:txBody>
    </cdr:sp>
  </cdr:relSizeAnchor>
</c:userShapes>
</file>

<file path=ppt/drawings/drawing3.xml><?xml version="1.0" encoding="utf-8"?>
<c:userShapes xmlns:c="http://schemas.openxmlformats.org/drawingml/2006/chart">
  <cdr:relSizeAnchor xmlns:cdr="http://schemas.openxmlformats.org/drawingml/2006/chartDrawing">
    <cdr:from>
      <cdr:x>0</cdr:x>
      <cdr:y>0</cdr:y>
    </cdr:from>
    <cdr:to>
      <cdr:x>1</cdr:x>
      <cdr:y>1</cdr:y>
    </cdr:to>
    <cdr:pic>
      <cdr:nvPicPr>
        <cdr:cNvPr id="17" name="Grafik 16">
          <a:extLst xmlns:a="http://schemas.openxmlformats.org/drawingml/2006/main">
            <a:ext uri="{FF2B5EF4-FFF2-40B4-BE49-F238E27FC236}">
              <a16:creationId xmlns:a16="http://schemas.microsoft.com/office/drawing/2014/main" id="{F6E6246F-9360-50D2-F92C-1D0BB4E37030}"/>
            </a:ext>
          </a:extLst>
        </cdr:cNvPr>
        <cdr:cNvPicPr>
          <a:picLocks xmlns:a="http://schemas.openxmlformats.org/drawingml/2006/main"/>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0" y="0"/>
          <a:ext cx="3670512" cy="1015147"/>
        </a:xfrm>
        <a:prstGeom xmlns:a="http://schemas.openxmlformats.org/drawingml/2006/main" prst="rect">
          <a:avLst/>
        </a:prstGeom>
      </cdr:spPr>
    </cdr:pic>
  </cdr:relSizeAnchor>
  <cdr:relSizeAnchor xmlns:cdr="http://schemas.openxmlformats.org/drawingml/2006/chartDrawing">
    <cdr:from>
      <cdr:x>0.13577</cdr:x>
      <cdr:y>0.09051</cdr:y>
    </cdr:from>
    <cdr:to>
      <cdr:x>0.32652</cdr:x>
      <cdr:y>0.24282</cdr:y>
    </cdr:to>
    <cdr:sp macro="" textlink="">
      <cdr:nvSpPr>
        <cdr:cNvPr id="4" name="41d761b4-a533-4d4e-b424-7d8b0ae58c1d">
          <a:extLst xmlns:a="http://schemas.openxmlformats.org/drawingml/2006/main">
            <a:ext uri="{FF2B5EF4-FFF2-40B4-BE49-F238E27FC236}">
              <a16:creationId xmlns:a16="http://schemas.microsoft.com/office/drawing/2014/main" id="{8F191D78-4715-7045-E7A1-F75C18152A55}"/>
            </a:ext>
          </a:extLst>
        </cdr:cNvPr>
        <cdr:cNvSpPr txBox="1"/>
      </cdr:nvSpPr>
      <cdr:spPr>
        <a:xfrm xmlns:a="http://schemas.openxmlformats.org/drawingml/2006/main">
          <a:off x="498348" y="91880"/>
          <a:ext cx="700151" cy="154623"/>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r" defTabSz="495300"/>
          <a:r>
            <a:rPr lang="de-DE" sz="1000" b="0">
              <a:solidFill>
                <a:schemeClr val="tx1"/>
              </a:solidFill>
              <a:latin typeface="+mn-lt"/>
            </a:rPr>
            <a:t>Stand-Alone</a:t>
          </a:r>
        </a:p>
      </cdr:txBody>
    </cdr:sp>
  </cdr:relSizeAnchor>
  <cdr:relSizeAnchor xmlns:cdr="http://schemas.openxmlformats.org/drawingml/2006/chartDrawing">
    <cdr:from>
      <cdr:x>0.00692</cdr:x>
      <cdr:y>0.42384</cdr:y>
    </cdr:from>
    <cdr:to>
      <cdr:x>0.32652</cdr:x>
      <cdr:y>0.57616</cdr:y>
    </cdr:to>
    <cdr:sp macro="" textlink="">
      <cdr:nvSpPr>
        <cdr:cNvPr id="5" name="7aeb3eba-4e55-4b7f-b3c8-12b7f0309cda">
          <a:extLst xmlns:a="http://schemas.openxmlformats.org/drawingml/2006/main">
            <a:ext uri="{FF2B5EF4-FFF2-40B4-BE49-F238E27FC236}">
              <a16:creationId xmlns:a16="http://schemas.microsoft.com/office/drawing/2014/main" id="{E3B01E91-E28E-384F-90CC-0696A8AAC4CC}"/>
            </a:ext>
          </a:extLst>
        </cdr:cNvPr>
        <cdr:cNvSpPr txBox="1"/>
      </cdr:nvSpPr>
      <cdr:spPr>
        <a:xfrm xmlns:a="http://schemas.openxmlformats.org/drawingml/2006/main">
          <a:off x="25400" y="430262"/>
          <a:ext cx="1173099" cy="154623"/>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r" defTabSz="495300"/>
          <a:r>
            <a:rPr lang="de-DE" sz="1000" b="0">
              <a:solidFill>
                <a:schemeClr val="tx1"/>
              </a:solidFill>
              <a:latin typeface="+mn-lt"/>
            </a:rPr>
            <a:t>Teil eines Verbundes</a:t>
          </a:r>
        </a:p>
      </cdr:txBody>
    </cdr:sp>
  </cdr:relSizeAnchor>
  <cdr:relSizeAnchor xmlns:cdr="http://schemas.openxmlformats.org/drawingml/2006/chartDrawing">
    <cdr:from>
      <cdr:x>0.47634</cdr:x>
      <cdr:y>0.08342</cdr:y>
    </cdr:from>
    <cdr:to>
      <cdr:x>0.56534</cdr:x>
      <cdr:y>0.24992</cdr:y>
    </cdr:to>
    <cdr:sp macro="" textlink="">
      <cdr:nvSpPr>
        <cdr:cNvPr id="10" name="685a7f48-4c8c-413a-acdf-d06ce632a7a8">
          <a:extLst xmlns:a="http://schemas.openxmlformats.org/drawingml/2006/main">
            <a:ext uri="{FF2B5EF4-FFF2-40B4-BE49-F238E27FC236}">
              <a16:creationId xmlns:a16="http://schemas.microsoft.com/office/drawing/2014/main" id="{B818BD2C-7F38-4342-68B6-B0678AE66793}"/>
            </a:ext>
          </a:extLst>
        </cdr:cNvPr>
        <cdr:cNvSpPr txBox="1"/>
      </cdr:nvSpPr>
      <cdr:spPr>
        <a:xfrm xmlns:a="http://schemas.openxmlformats.org/drawingml/2006/main">
          <a:off x="1748422" y="84684"/>
          <a:ext cx="326661" cy="169022"/>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b="0">
              <a:solidFill>
                <a:schemeClr val="bg1"/>
              </a:solidFill>
              <a:latin typeface="+mn-lt"/>
            </a:rPr>
            <a:t>30 %</a:t>
          </a:r>
        </a:p>
      </cdr:txBody>
    </cdr:sp>
  </cdr:relSizeAnchor>
  <cdr:relSizeAnchor xmlns:cdr="http://schemas.openxmlformats.org/drawingml/2006/chartDrawing">
    <cdr:from>
      <cdr:x>0.63606</cdr:x>
      <cdr:y>0.41675</cdr:y>
    </cdr:from>
    <cdr:to>
      <cdr:x>0.72506</cdr:x>
      <cdr:y>0.58325</cdr:y>
    </cdr:to>
    <cdr:sp macro="" textlink="">
      <cdr:nvSpPr>
        <cdr:cNvPr id="11" name="fd744640-40df-483a-864d-069cfcbaf08f">
          <a:extLst xmlns:a="http://schemas.openxmlformats.org/drawingml/2006/main">
            <a:ext uri="{FF2B5EF4-FFF2-40B4-BE49-F238E27FC236}">
              <a16:creationId xmlns:a16="http://schemas.microsoft.com/office/drawing/2014/main" id="{C145131D-199C-E340-5F9F-F01355E9AB57}"/>
            </a:ext>
          </a:extLst>
        </cdr:cNvPr>
        <cdr:cNvSpPr txBox="1"/>
      </cdr:nvSpPr>
      <cdr:spPr>
        <a:xfrm xmlns:a="http://schemas.openxmlformats.org/drawingml/2006/main">
          <a:off x="2334675" y="423063"/>
          <a:ext cx="326661" cy="169021"/>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b="0">
              <a:solidFill>
                <a:schemeClr val="bg1"/>
              </a:solidFill>
              <a:latin typeface="+mn-lt"/>
            </a:rPr>
            <a:t>60 %</a:t>
          </a:r>
        </a:p>
      </cdr:txBody>
    </cdr:sp>
  </cdr:relSizeAnchor>
  <cdr:relSizeAnchor xmlns:cdr="http://schemas.openxmlformats.org/drawingml/2006/chartDrawing">
    <cdr:from>
      <cdr:x>0.36986</cdr:x>
      <cdr:y>0.75008</cdr:y>
    </cdr:from>
    <cdr:to>
      <cdr:x>0.45886</cdr:x>
      <cdr:y>0.91658</cdr:y>
    </cdr:to>
    <cdr:sp macro="" textlink="">
      <cdr:nvSpPr>
        <cdr:cNvPr id="14" name="c781b83b-d86b-409f-9340-7c70375734eb">
          <a:extLst xmlns:a="http://schemas.openxmlformats.org/drawingml/2006/main">
            <a:ext uri="{FF2B5EF4-FFF2-40B4-BE49-F238E27FC236}">
              <a16:creationId xmlns:a16="http://schemas.microsoft.com/office/drawing/2014/main" id="{45F7D1A7-760A-4812-040E-AA72A2FB87AA}"/>
            </a:ext>
          </a:extLst>
        </cdr:cNvPr>
        <cdr:cNvSpPr txBox="1"/>
      </cdr:nvSpPr>
      <cdr:spPr>
        <a:xfrm xmlns:a="http://schemas.openxmlformats.org/drawingml/2006/main">
          <a:off x="1357587" y="761441"/>
          <a:ext cx="326661" cy="169022"/>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b="0">
              <a:solidFill>
                <a:schemeClr val="bg1"/>
              </a:solidFill>
              <a:latin typeface="+mn-lt"/>
            </a:rPr>
            <a:t>10 %</a:t>
          </a:r>
        </a:p>
      </cdr:txBody>
    </cdr:sp>
  </cdr:relSizeAnchor>
  <cdr:relSizeAnchor xmlns:cdr="http://schemas.openxmlformats.org/drawingml/2006/chartDrawing">
    <cdr:from>
      <cdr:x>0.11072</cdr:x>
      <cdr:y>0.75718</cdr:y>
    </cdr:from>
    <cdr:to>
      <cdr:x>0.32652</cdr:x>
      <cdr:y>0.90949</cdr:y>
    </cdr:to>
    <cdr:sp macro="" textlink="">
      <cdr:nvSpPr>
        <cdr:cNvPr id="46" name="3ac329ef-8107-4da0-8ee3-a2dc1e161287">
          <a:extLst xmlns:a="http://schemas.openxmlformats.org/drawingml/2006/main">
            <a:ext uri="{FF2B5EF4-FFF2-40B4-BE49-F238E27FC236}">
              <a16:creationId xmlns:a16="http://schemas.microsoft.com/office/drawing/2014/main" id="{4466D2AB-F1C8-6F8A-1A1C-5897E7E11501}"/>
            </a:ext>
          </a:extLst>
        </cdr:cNvPr>
        <cdr:cNvSpPr txBox="1"/>
      </cdr:nvSpPr>
      <cdr:spPr>
        <a:xfrm xmlns:a="http://schemas.openxmlformats.org/drawingml/2006/main">
          <a:off x="406400" y="768644"/>
          <a:ext cx="792099" cy="154623"/>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r" defTabSz="495300"/>
          <a:r>
            <a:rPr lang="de-DE" sz="1000" b="0">
              <a:solidFill>
                <a:schemeClr val="tx1"/>
              </a:solidFill>
              <a:latin typeface="+mn-lt"/>
            </a:rPr>
            <a:t>Keine Angabe</a:t>
          </a:r>
        </a:p>
      </cdr:txBody>
    </cdr:sp>
  </cdr:relSizeAnchor>
  <cdr:relSizeAnchor xmlns:cdr="http://schemas.openxmlformats.org/drawingml/2006/chartDrawing">
    <cdr:from>
      <cdr:x>0.90675</cdr:x>
      <cdr:y>0.81747</cdr:y>
    </cdr:from>
    <cdr:to>
      <cdr:x>1</cdr:x>
      <cdr:y>1</cdr:y>
    </cdr:to>
    <cdr:sp macro="" textlink="">
      <cdr:nvSpPr>
        <cdr:cNvPr id="6" name="a102aace-16ed-4c1f-ae11-586ff966d2db" hidden="1">
          <a:extLst xmlns:a="http://schemas.openxmlformats.org/drawingml/2006/main">
            <a:ext uri="{FF2B5EF4-FFF2-40B4-BE49-F238E27FC236}">
              <a16:creationId xmlns:a16="http://schemas.microsoft.com/office/drawing/2014/main" id="{94236966-8112-D170-AB00-93E8224132FF}"/>
            </a:ext>
          </a:extLst>
        </cdr:cNvPr>
        <cdr:cNvSpPr/>
      </cdr:nvSpPr>
      <cdr:spPr>
        <a:xfrm xmlns:a="http://schemas.openxmlformats.org/drawingml/2006/main">
          <a:off x="7375614" y="829854"/>
          <a:ext cx="342282" cy="185293"/>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chemeClr val="accent5">
              <a:alpha val="0"/>
            </a:schemeClr>
          </a:solidFill>
          <a:prstDash val="solid"/>
          <a:miter lim="800000"/>
          <a:headEnd type="none" w="med" len="med"/>
          <a:tailEnd type="none" w="med" len="med"/>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200" kern="1200">
              <a:solidFill>
                <a:schemeClr val="tx1"/>
              </a:solidFill>
              <a:latin typeface="+mn-lt"/>
            </a:rPr>
            <a:t>-272</a:t>
          </a:r>
        </a:p>
      </cdr:txBody>
    </cdr:sp>
  </cdr:relSizeAnchor>
  <cdr:relSizeAnchor xmlns:cdr="http://schemas.openxmlformats.org/drawingml/2006/chartDrawing">
    <cdr:from>
      <cdr:x>0.90675</cdr:x>
      <cdr:y>0.81747</cdr:y>
    </cdr:from>
    <cdr:to>
      <cdr:x>1</cdr:x>
      <cdr:y>1</cdr:y>
    </cdr:to>
    <cdr:sp macro="" textlink="">
      <cdr:nvSpPr>
        <cdr:cNvPr id="7" name="dd6e3f91-6632-4d3b-b98c-0fc0c105f63c" hidden="1">
          <a:extLst xmlns:a="http://schemas.openxmlformats.org/drawingml/2006/main">
            <a:ext uri="{FF2B5EF4-FFF2-40B4-BE49-F238E27FC236}">
              <a16:creationId xmlns:a16="http://schemas.microsoft.com/office/drawing/2014/main" id="{9C55D2FA-A4C6-F96E-CF85-8D7C210CCF30}"/>
            </a:ext>
          </a:extLst>
        </cdr:cNvPr>
        <cdr:cNvSpPr/>
      </cdr:nvSpPr>
      <cdr:spPr>
        <a:xfrm xmlns:a="http://schemas.openxmlformats.org/drawingml/2006/main">
          <a:off x="7375614" y="829854"/>
          <a:ext cx="342282" cy="185293"/>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chemeClr val="accent5">
              <a:alpha val="0"/>
            </a:schemeClr>
          </a:solidFill>
          <a:prstDash val="solid"/>
          <a:miter lim="800000"/>
          <a:headEnd type="none" w="med" len="med"/>
          <a:tailEnd type="none" w="med" len="med"/>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200" kern="1200">
              <a:solidFill>
                <a:schemeClr val="tx1"/>
              </a:solidFill>
              <a:latin typeface="+mn-lt"/>
            </a:rPr>
            <a:t>-272</a:t>
          </a:r>
        </a:p>
      </cdr:txBody>
    </cdr:sp>
  </cdr:relSizeAnchor>
  <cdr:relSizeAnchor xmlns:cdr="http://schemas.openxmlformats.org/drawingml/2006/chartDrawing">
    <cdr:from>
      <cdr:x>0.90675</cdr:x>
      <cdr:y>0.81747</cdr:y>
    </cdr:from>
    <cdr:to>
      <cdr:x>1</cdr:x>
      <cdr:y>1</cdr:y>
    </cdr:to>
    <cdr:sp macro="" textlink="">
      <cdr:nvSpPr>
        <cdr:cNvPr id="8" name="da99149b-2ddb-40cc-b49e-90e6f790e0d3" hidden="1">
          <a:extLst xmlns:a="http://schemas.openxmlformats.org/drawingml/2006/main">
            <a:ext uri="{FF2B5EF4-FFF2-40B4-BE49-F238E27FC236}">
              <a16:creationId xmlns:a16="http://schemas.microsoft.com/office/drawing/2014/main" id="{B1C76DB5-8CC4-C6EB-4422-FB1FB161F33F}"/>
            </a:ext>
          </a:extLst>
        </cdr:cNvPr>
        <cdr:cNvSpPr/>
      </cdr:nvSpPr>
      <cdr:spPr>
        <a:xfrm xmlns:a="http://schemas.openxmlformats.org/drawingml/2006/main">
          <a:off x="7375614" y="829854"/>
          <a:ext cx="342282" cy="185293"/>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chemeClr val="accent5">
              <a:alpha val="0"/>
            </a:schemeClr>
          </a:solidFill>
          <a:prstDash val="solid"/>
          <a:miter lim="800000"/>
          <a:headEnd type="none" w="med" len="med"/>
          <a:tailEnd type="none" w="med" len="med"/>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200" kern="1200">
              <a:solidFill>
                <a:schemeClr val="tx1"/>
              </a:solidFill>
              <a:latin typeface="+mn-lt"/>
            </a:rPr>
            <a:t>-272</a:t>
          </a:r>
        </a:p>
      </cdr:txBody>
    </cdr:sp>
  </cdr:relSizeAnchor>
</c:userShapes>
</file>

<file path=ppt/drawings/drawing4.xml><?xml version="1.0" encoding="utf-8"?>
<c:userShapes xmlns:c="http://schemas.openxmlformats.org/drawingml/2006/chart">
  <cdr:relSizeAnchor xmlns:cdr="http://schemas.openxmlformats.org/drawingml/2006/chartDrawing">
    <cdr:from>
      <cdr:x>0</cdr:x>
      <cdr:y>0</cdr:y>
    </cdr:from>
    <cdr:to>
      <cdr:x>1</cdr:x>
      <cdr:y>1</cdr:y>
    </cdr:to>
    <cdr:pic>
      <cdr:nvPicPr>
        <cdr:cNvPr id="60" name="Grafik 59">
          <a:extLst xmlns:a="http://schemas.openxmlformats.org/drawingml/2006/main">
            <a:ext uri="{FF2B5EF4-FFF2-40B4-BE49-F238E27FC236}">
              <a16:creationId xmlns:a16="http://schemas.microsoft.com/office/drawing/2014/main" id="{718CD22A-3A58-2CAC-D34F-6221D3D3F910}"/>
            </a:ext>
          </a:extLst>
        </cdr:cNvPr>
        <cdr:cNvPicPr>
          <a:picLocks xmlns:a="http://schemas.openxmlformats.org/drawingml/2006/main"/>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0" y="0"/>
          <a:ext cx="9052253" cy="2751750"/>
        </a:xfrm>
        <a:prstGeom xmlns:a="http://schemas.openxmlformats.org/drawingml/2006/main" prst="rect">
          <a:avLst/>
        </a:prstGeom>
      </cdr:spPr>
    </cdr:pic>
  </cdr:relSizeAnchor>
  <cdr:relSizeAnchor xmlns:cdr="http://schemas.openxmlformats.org/drawingml/2006/chartDrawing">
    <cdr:from>
      <cdr:x>0.02336</cdr:x>
      <cdr:y>0.81607</cdr:y>
    </cdr:from>
    <cdr:to>
      <cdr:x>0.14359</cdr:x>
      <cdr:y>0.99538</cdr:y>
    </cdr:to>
    <cdr:sp macro="" textlink="">
      <cdr:nvSpPr>
        <cdr:cNvPr id="5" name="98afd7ad-2f69-4c15-8cd4-c186195c0f93">
          <a:extLst xmlns:a="http://schemas.openxmlformats.org/drawingml/2006/main">
            <a:ext uri="{FF2B5EF4-FFF2-40B4-BE49-F238E27FC236}">
              <a16:creationId xmlns:a16="http://schemas.microsoft.com/office/drawing/2014/main" id="{103F1A49-8649-A7CA-FF45-FDC81FACE0B8}"/>
            </a:ext>
          </a:extLst>
        </cdr:cNvPr>
        <cdr:cNvSpPr txBox="1"/>
      </cdr:nvSpPr>
      <cdr:spPr>
        <a:xfrm xmlns:a="http://schemas.openxmlformats.org/drawingml/2006/main">
          <a:off x="211429" y="2245611"/>
          <a:ext cx="1088390" cy="493439"/>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1"/>
        <a:lstStyle xmlns:a="http://schemas.openxmlformats.org/drawingml/2006/main"/>
        <a:p xmlns:a="http://schemas.openxmlformats.org/drawingml/2006/main">
          <a:pPr algn="ctr" defTabSz="495300"/>
          <a:r>
            <a:rPr lang="de-DE" sz="1000">
              <a:solidFill>
                <a:schemeClr val="tx1"/>
              </a:solidFill>
              <a:latin typeface="+mn-lt"/>
            </a:rPr>
            <a:t>Existenzbedrohend</a:t>
          </a:r>
        </a:p>
      </cdr:txBody>
    </cdr:sp>
  </cdr:relSizeAnchor>
  <cdr:relSizeAnchor xmlns:cdr="http://schemas.openxmlformats.org/drawingml/2006/chartDrawing">
    <cdr:from>
      <cdr:x>0.16682</cdr:x>
      <cdr:y>0.81607</cdr:y>
    </cdr:from>
    <cdr:to>
      <cdr:x>0.33349</cdr:x>
      <cdr:y>0.99538</cdr:y>
    </cdr:to>
    <cdr:sp macro="" textlink="">
      <cdr:nvSpPr>
        <cdr:cNvPr id="6" name="db970217-c91d-490d-8613-3b645dc67e27">
          <a:extLst xmlns:a="http://schemas.openxmlformats.org/drawingml/2006/main">
            <a:ext uri="{FF2B5EF4-FFF2-40B4-BE49-F238E27FC236}">
              <a16:creationId xmlns:a16="http://schemas.microsoft.com/office/drawing/2014/main" id="{1E85320A-ACB0-9242-B2D3-4D45980F555F}"/>
            </a:ext>
          </a:extLst>
        </cdr:cNvPr>
        <cdr:cNvSpPr txBox="1"/>
      </cdr:nvSpPr>
      <cdr:spPr>
        <a:xfrm xmlns:a="http://schemas.openxmlformats.org/drawingml/2006/main">
          <a:off x="1510086" y="2245611"/>
          <a:ext cx="1508709" cy="493439"/>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1"/>
        <a:lstStyle xmlns:a="http://schemas.openxmlformats.org/drawingml/2006/main"/>
        <a:p xmlns:a="http://schemas.openxmlformats.org/drawingml/2006/main">
          <a:pPr algn="ctr" defTabSz="495300"/>
          <a:r>
            <a:rPr lang="de-DE" sz="1000">
              <a:solidFill>
                <a:schemeClr val="tx1"/>
              </a:solidFill>
              <a:latin typeface="+mn-lt"/>
            </a:rPr>
            <a:t>Reines Bemühen um das</a:t>
          </a:r>
        </a:p>
        <a:p xmlns:a="http://schemas.openxmlformats.org/drawingml/2006/main">
          <a:pPr algn="ctr" defTabSz="495300"/>
          <a:r>
            <a:rPr lang="de-DE" sz="1000">
              <a:solidFill>
                <a:schemeClr val="tx1"/>
              </a:solidFill>
              <a:latin typeface="+mn-lt"/>
            </a:rPr>
            <a:t>wirtschaftliche Überleben</a:t>
          </a:r>
        </a:p>
      </cdr:txBody>
    </cdr:sp>
  </cdr:relSizeAnchor>
  <cdr:relSizeAnchor xmlns:cdr="http://schemas.openxmlformats.org/drawingml/2006/chartDrawing">
    <cdr:from>
      <cdr:x>0.33349</cdr:x>
      <cdr:y>0.81607</cdr:y>
    </cdr:from>
    <cdr:to>
      <cdr:x>0.50015</cdr:x>
      <cdr:y>0.99538</cdr:y>
    </cdr:to>
    <cdr:sp macro="" textlink="">
      <cdr:nvSpPr>
        <cdr:cNvPr id="7" name="c1692cd1-e1e8-4153-b50e-fa005f3de9b6">
          <a:extLst xmlns:a="http://schemas.openxmlformats.org/drawingml/2006/main">
            <a:ext uri="{FF2B5EF4-FFF2-40B4-BE49-F238E27FC236}">
              <a16:creationId xmlns:a16="http://schemas.microsoft.com/office/drawing/2014/main" id="{92204C46-0467-F368-10C9-B324FE4857C5}"/>
            </a:ext>
          </a:extLst>
        </cdr:cNvPr>
        <cdr:cNvSpPr txBox="1"/>
      </cdr:nvSpPr>
      <cdr:spPr>
        <a:xfrm xmlns:a="http://schemas.openxmlformats.org/drawingml/2006/main">
          <a:off x="3018796" y="2245611"/>
          <a:ext cx="1508707" cy="493439"/>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1"/>
        <a:lstStyle xmlns:a="http://schemas.openxmlformats.org/drawingml/2006/main"/>
        <a:p xmlns:a="http://schemas.openxmlformats.org/drawingml/2006/main">
          <a:pPr algn="ctr" defTabSz="495300"/>
          <a:r>
            <a:rPr lang="de-DE" sz="1000">
              <a:solidFill>
                <a:schemeClr val="tx1"/>
              </a:solidFill>
              <a:latin typeface="+mn-lt"/>
            </a:rPr>
            <a:t>Wirtschaftliche Spielräume</a:t>
          </a:r>
        </a:p>
        <a:p xmlns:a="http://schemas.openxmlformats.org/drawingml/2006/main">
          <a:pPr algn="ctr" defTabSz="495300"/>
          <a:r>
            <a:rPr lang="de-DE" sz="1000">
              <a:solidFill>
                <a:schemeClr val="tx1"/>
              </a:solidFill>
              <a:latin typeface="+mn-lt"/>
            </a:rPr>
            <a:t>bzw. "atmende Budgets"</a:t>
          </a:r>
        </a:p>
        <a:p xmlns:a="http://schemas.openxmlformats.org/drawingml/2006/main">
          <a:pPr algn="ctr" defTabSz="495300"/>
          <a:r>
            <a:rPr lang="de-DE" sz="1000">
              <a:solidFill>
                <a:schemeClr val="tx1"/>
              </a:solidFill>
              <a:latin typeface="+mn-lt"/>
            </a:rPr>
            <a:t>sind vorhanden</a:t>
          </a:r>
        </a:p>
      </cdr:txBody>
    </cdr:sp>
  </cdr:relSizeAnchor>
  <cdr:relSizeAnchor xmlns:cdr="http://schemas.openxmlformats.org/drawingml/2006/chartDrawing">
    <cdr:from>
      <cdr:x>0.50015</cdr:x>
      <cdr:y>0.81607</cdr:y>
    </cdr:from>
    <cdr:to>
      <cdr:x>0.66682</cdr:x>
      <cdr:y>0.99538</cdr:y>
    </cdr:to>
    <cdr:sp macro="" textlink="">
      <cdr:nvSpPr>
        <cdr:cNvPr id="8" name="9f18a4c2-6861-4570-ad8c-a907fe4390aa">
          <a:extLst xmlns:a="http://schemas.openxmlformats.org/drawingml/2006/main">
            <a:ext uri="{FF2B5EF4-FFF2-40B4-BE49-F238E27FC236}">
              <a16:creationId xmlns:a16="http://schemas.microsoft.com/office/drawing/2014/main" id="{AD1CABBD-06E8-B3F6-115F-3F69326AEB22}"/>
            </a:ext>
          </a:extLst>
        </cdr:cNvPr>
        <cdr:cNvSpPr txBox="1"/>
      </cdr:nvSpPr>
      <cdr:spPr>
        <a:xfrm xmlns:a="http://schemas.openxmlformats.org/drawingml/2006/main">
          <a:off x="4527504" y="2245611"/>
          <a:ext cx="1508708" cy="493439"/>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1"/>
        <a:lstStyle xmlns:a="http://schemas.openxmlformats.org/drawingml/2006/main"/>
        <a:p xmlns:a="http://schemas.openxmlformats.org/drawingml/2006/main">
          <a:pPr algn="ctr" defTabSz="495300"/>
          <a:r>
            <a:rPr lang="de-DE" sz="1000">
              <a:solidFill>
                <a:schemeClr val="tx1"/>
              </a:solidFill>
              <a:latin typeface="+mn-lt"/>
            </a:rPr>
            <a:t>Angemessene Renditen</a:t>
          </a:r>
        </a:p>
        <a:p xmlns:a="http://schemas.openxmlformats.org/drawingml/2006/main">
          <a:pPr algn="ctr" defTabSz="495300"/>
          <a:r>
            <a:rPr lang="de-DE" sz="1000">
              <a:solidFill>
                <a:schemeClr val="tx1"/>
              </a:solidFill>
              <a:latin typeface="+mn-lt"/>
            </a:rPr>
            <a:t>werden erzielt</a:t>
          </a:r>
        </a:p>
      </cdr:txBody>
    </cdr:sp>
  </cdr:relSizeAnchor>
  <cdr:relSizeAnchor xmlns:cdr="http://schemas.openxmlformats.org/drawingml/2006/chartDrawing">
    <cdr:from>
      <cdr:x>0.71927</cdr:x>
      <cdr:y>0.81607</cdr:y>
    </cdr:from>
    <cdr:to>
      <cdr:x>0.78101</cdr:x>
      <cdr:y>0.99538</cdr:y>
    </cdr:to>
    <cdr:sp macro="" textlink="">
      <cdr:nvSpPr>
        <cdr:cNvPr id="9" name="e6ea4627-04f3-45c6-953c-6842e882f7ff">
          <a:extLst xmlns:a="http://schemas.openxmlformats.org/drawingml/2006/main">
            <a:ext uri="{FF2B5EF4-FFF2-40B4-BE49-F238E27FC236}">
              <a16:creationId xmlns:a16="http://schemas.microsoft.com/office/drawing/2014/main" id="{05F8C0EA-BE16-3A8C-36BE-A6C2399045A2}"/>
            </a:ext>
          </a:extLst>
        </cdr:cNvPr>
        <cdr:cNvSpPr txBox="1"/>
      </cdr:nvSpPr>
      <cdr:spPr>
        <a:xfrm xmlns:a="http://schemas.openxmlformats.org/drawingml/2006/main">
          <a:off x="6510996" y="2245611"/>
          <a:ext cx="558927" cy="493439"/>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1"/>
        <a:lstStyle xmlns:a="http://schemas.openxmlformats.org/drawingml/2006/main"/>
        <a:p xmlns:a="http://schemas.openxmlformats.org/drawingml/2006/main">
          <a:pPr algn="ctr" defTabSz="495300"/>
          <a:r>
            <a:rPr lang="de-DE" sz="1000">
              <a:solidFill>
                <a:schemeClr val="tx1"/>
              </a:solidFill>
              <a:latin typeface="+mn-lt"/>
            </a:rPr>
            <a:t>Sonstiges</a:t>
          </a:r>
        </a:p>
      </cdr:txBody>
    </cdr:sp>
  </cdr:relSizeAnchor>
  <cdr:relSizeAnchor xmlns:cdr="http://schemas.openxmlformats.org/drawingml/2006/chartDrawing">
    <cdr:from>
      <cdr:x>0.07114</cdr:x>
      <cdr:y>0.69721</cdr:y>
    </cdr:from>
    <cdr:to>
      <cdr:x>0.09553</cdr:x>
      <cdr:y>0.75863</cdr:y>
    </cdr:to>
    <cdr:sp macro="" textlink="">
      <cdr:nvSpPr>
        <cdr:cNvPr id="10" name="677b80fa-2940-40f8-8529-fd3d4833309b">
          <a:extLst xmlns:a="http://schemas.openxmlformats.org/drawingml/2006/main">
            <a:ext uri="{FF2B5EF4-FFF2-40B4-BE49-F238E27FC236}">
              <a16:creationId xmlns:a16="http://schemas.microsoft.com/office/drawing/2014/main" id="{A26BFCE6-557C-D897-CD4F-FE5E4E640B89}"/>
            </a:ext>
          </a:extLst>
        </cdr:cNvPr>
        <cdr:cNvSpPr txBox="1"/>
      </cdr:nvSpPr>
      <cdr:spPr>
        <a:xfrm xmlns:a="http://schemas.openxmlformats.org/drawingml/2006/main">
          <a:off x="643962" y="1918539"/>
          <a:ext cx="220785" cy="169022"/>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a:solidFill>
                <a:schemeClr val="bg1"/>
              </a:solidFill>
              <a:latin typeface="+mn-lt"/>
            </a:rPr>
            <a:t>6%</a:t>
          </a:r>
        </a:p>
      </cdr:txBody>
    </cdr:sp>
  </cdr:relSizeAnchor>
  <cdr:relSizeAnchor xmlns:cdr="http://schemas.openxmlformats.org/drawingml/2006/chartDrawing">
    <cdr:from>
      <cdr:x>0.2339</cdr:x>
      <cdr:y>0.36124</cdr:y>
    </cdr:from>
    <cdr:to>
      <cdr:x>0.2661</cdr:x>
      <cdr:y>0.42267</cdr:y>
    </cdr:to>
    <cdr:sp macro="" textlink="">
      <cdr:nvSpPr>
        <cdr:cNvPr id="11" name="d42242a1-c073-49b3-acb3-da7667dc8cfa">
          <a:extLst xmlns:a="http://schemas.openxmlformats.org/drawingml/2006/main">
            <a:ext uri="{FF2B5EF4-FFF2-40B4-BE49-F238E27FC236}">
              <a16:creationId xmlns:a16="http://schemas.microsoft.com/office/drawing/2014/main" id="{F216E241-1843-C54D-FCBB-DE8B5AB57FC6}"/>
            </a:ext>
          </a:extLst>
        </cdr:cNvPr>
        <cdr:cNvSpPr txBox="1"/>
      </cdr:nvSpPr>
      <cdr:spPr>
        <a:xfrm xmlns:a="http://schemas.openxmlformats.org/drawingml/2006/main">
          <a:off x="2117365" y="994054"/>
          <a:ext cx="291397" cy="169022"/>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a:solidFill>
                <a:schemeClr val="bg1"/>
              </a:solidFill>
              <a:latin typeface="+mn-lt"/>
            </a:rPr>
            <a:t>54%</a:t>
          </a:r>
        </a:p>
      </cdr:txBody>
    </cdr:sp>
  </cdr:relSizeAnchor>
  <cdr:relSizeAnchor xmlns:cdr="http://schemas.openxmlformats.org/drawingml/2006/chartDrawing">
    <cdr:from>
      <cdr:x>0.40057</cdr:x>
      <cdr:y>0.52223</cdr:y>
    </cdr:from>
    <cdr:to>
      <cdr:x>0.43276</cdr:x>
      <cdr:y>0.58365</cdr:y>
    </cdr:to>
    <cdr:sp macro="" textlink="">
      <cdr:nvSpPr>
        <cdr:cNvPr id="12" name="b5a82fc7-0ab6-4a2a-8f13-4da0398ab5a6">
          <a:extLst xmlns:a="http://schemas.openxmlformats.org/drawingml/2006/main">
            <a:ext uri="{FF2B5EF4-FFF2-40B4-BE49-F238E27FC236}">
              <a16:creationId xmlns:a16="http://schemas.microsoft.com/office/drawing/2014/main" id="{2B43C570-BD99-0058-1691-71D25FB0C42E}"/>
            </a:ext>
          </a:extLst>
        </cdr:cNvPr>
        <cdr:cNvSpPr txBox="1"/>
      </cdr:nvSpPr>
      <cdr:spPr>
        <a:xfrm xmlns:a="http://schemas.openxmlformats.org/drawingml/2006/main">
          <a:off x="3626074" y="1437037"/>
          <a:ext cx="291397" cy="169022"/>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a:solidFill>
                <a:schemeClr val="bg1"/>
              </a:solidFill>
              <a:latin typeface="+mn-lt"/>
            </a:rPr>
            <a:t>31%</a:t>
          </a:r>
        </a:p>
      </cdr:txBody>
    </cdr:sp>
  </cdr:relSizeAnchor>
  <cdr:relSizeAnchor xmlns:cdr="http://schemas.openxmlformats.org/drawingml/2006/chartDrawing">
    <cdr:from>
      <cdr:x>0.57114</cdr:x>
      <cdr:y>0.69721</cdr:y>
    </cdr:from>
    <cdr:to>
      <cdr:x>0.59553</cdr:x>
      <cdr:y>0.75863</cdr:y>
    </cdr:to>
    <cdr:sp macro="" textlink="">
      <cdr:nvSpPr>
        <cdr:cNvPr id="13" name="42fa811b-1003-40d0-9375-52e4194dcee0">
          <a:extLst xmlns:a="http://schemas.openxmlformats.org/drawingml/2006/main">
            <a:ext uri="{FF2B5EF4-FFF2-40B4-BE49-F238E27FC236}">
              <a16:creationId xmlns:a16="http://schemas.microsoft.com/office/drawing/2014/main" id="{EAEC1B3D-AAFE-DC28-C193-CC508064B4B6}"/>
            </a:ext>
          </a:extLst>
        </cdr:cNvPr>
        <cdr:cNvSpPr txBox="1"/>
      </cdr:nvSpPr>
      <cdr:spPr>
        <a:xfrm xmlns:a="http://schemas.openxmlformats.org/drawingml/2006/main">
          <a:off x="5170089" y="1918539"/>
          <a:ext cx="220785" cy="169022"/>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a:solidFill>
                <a:schemeClr val="bg1"/>
              </a:solidFill>
              <a:latin typeface="+mn-lt"/>
            </a:rPr>
            <a:t>6%</a:t>
          </a:r>
        </a:p>
      </cdr:txBody>
    </cdr:sp>
  </cdr:relSizeAnchor>
  <cdr:relSizeAnchor xmlns:cdr="http://schemas.openxmlformats.org/drawingml/2006/chartDrawing">
    <cdr:from>
      <cdr:x>0.7378</cdr:x>
      <cdr:y>0.7252</cdr:y>
    </cdr:from>
    <cdr:to>
      <cdr:x>0.7622</cdr:x>
      <cdr:y>0.78663</cdr:y>
    </cdr:to>
    <cdr:sp macro="" textlink="">
      <cdr:nvSpPr>
        <cdr:cNvPr id="14" name="6b9071d5-7597-42ca-bc78-c67deb9f2988">
          <a:extLst xmlns:a="http://schemas.openxmlformats.org/drawingml/2006/main">
            <a:ext uri="{FF2B5EF4-FFF2-40B4-BE49-F238E27FC236}">
              <a16:creationId xmlns:a16="http://schemas.microsoft.com/office/drawing/2014/main" id="{2DFBB3B9-2517-7018-EEB8-ACC7C027CD40}"/>
            </a:ext>
          </a:extLst>
        </cdr:cNvPr>
        <cdr:cNvSpPr txBox="1"/>
      </cdr:nvSpPr>
      <cdr:spPr>
        <a:xfrm xmlns:a="http://schemas.openxmlformats.org/drawingml/2006/main">
          <a:off x="6678797" y="1995580"/>
          <a:ext cx="220785" cy="169022"/>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a:solidFill>
                <a:schemeClr val="bg1"/>
              </a:solidFill>
              <a:latin typeface="+mn-lt"/>
            </a:rPr>
            <a:t>2%</a:t>
          </a:r>
        </a:p>
      </cdr:txBody>
    </cdr:sp>
  </cdr:relSizeAnchor>
  <cdr:relSizeAnchor xmlns:cdr="http://schemas.openxmlformats.org/drawingml/2006/chartDrawing">
    <cdr:from>
      <cdr:x>0.81478</cdr:x>
      <cdr:y>0.93509</cdr:y>
    </cdr:from>
    <cdr:to>
      <cdr:x>0.84593</cdr:x>
      <cdr:y>1</cdr:y>
    </cdr:to>
    <cdr:sp macro="" textlink="">
      <cdr:nvSpPr>
        <cdr:cNvPr id="21" name="35223f48-412e-4d9f-abee-09459854b82d" hidden="1">
          <a:extLst xmlns:a="http://schemas.openxmlformats.org/drawingml/2006/main">
            <a:ext uri="{FF2B5EF4-FFF2-40B4-BE49-F238E27FC236}">
              <a16:creationId xmlns:a16="http://schemas.microsoft.com/office/drawing/2014/main" id="{35B9BD99-0065-45F7-C9A5-11557A013F91}"/>
            </a:ext>
          </a:extLst>
        </cdr:cNvPr>
        <cdr:cNvSpPr/>
      </cdr:nvSpPr>
      <cdr:spPr>
        <a:xfrm xmlns:a="http://schemas.openxmlformats.org/drawingml/2006/main">
          <a:off x="7375614" y="4651728"/>
          <a:ext cx="281999" cy="178626"/>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rgbClr val="FFFFFF">
              <a:alpha val="0"/>
            </a:srgbClr>
          </a:solidFill>
          <a:prstDash val="solid"/>
          <a:miter lim="800000"/>
          <a:headEnd type="none" w="med" len="med"/>
          <a:tailEnd type="none" w="med" len="me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000">
              <a:solidFill>
                <a:schemeClr val="tx1"/>
              </a:solidFill>
              <a:latin typeface="+mn-lt"/>
            </a:rPr>
            <a:t>-272</a:t>
          </a:r>
        </a:p>
      </cdr:txBody>
    </cdr:sp>
  </cdr:relSizeAnchor>
  <cdr:relSizeAnchor xmlns:cdr="http://schemas.openxmlformats.org/drawingml/2006/chartDrawing">
    <cdr:from>
      <cdr:x>0.81478</cdr:x>
      <cdr:y>0.93509</cdr:y>
    </cdr:from>
    <cdr:to>
      <cdr:x>0.84593</cdr:x>
      <cdr:y>1</cdr:y>
    </cdr:to>
    <cdr:sp macro="" textlink="">
      <cdr:nvSpPr>
        <cdr:cNvPr id="22" name="50d803ec-6c9d-415e-b500-0b020bdbf24a" hidden="1">
          <a:extLst xmlns:a="http://schemas.openxmlformats.org/drawingml/2006/main">
            <a:ext uri="{FF2B5EF4-FFF2-40B4-BE49-F238E27FC236}">
              <a16:creationId xmlns:a16="http://schemas.microsoft.com/office/drawing/2014/main" id="{A663B4ED-8986-61E3-8429-1DBA4CD3795D}"/>
            </a:ext>
          </a:extLst>
        </cdr:cNvPr>
        <cdr:cNvSpPr/>
      </cdr:nvSpPr>
      <cdr:spPr>
        <a:xfrm xmlns:a="http://schemas.openxmlformats.org/drawingml/2006/main">
          <a:off x="7375614" y="4651728"/>
          <a:ext cx="281999" cy="178626"/>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rgbClr val="FFFFFF">
              <a:alpha val="0"/>
            </a:srgbClr>
          </a:solidFill>
          <a:prstDash val="solid"/>
          <a:miter lim="800000"/>
          <a:headEnd type="none" w="med" len="med"/>
          <a:tailEnd type="none" w="med" len="me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000">
              <a:solidFill>
                <a:schemeClr val="tx1"/>
              </a:solidFill>
              <a:latin typeface="+mn-lt"/>
            </a:rPr>
            <a:t>-272</a:t>
          </a:r>
        </a:p>
      </cdr:txBody>
    </cdr:sp>
  </cdr:relSizeAnchor>
  <cdr:relSizeAnchor xmlns:cdr="http://schemas.openxmlformats.org/drawingml/2006/chartDrawing">
    <cdr:from>
      <cdr:x>0.81478</cdr:x>
      <cdr:y>0.93509</cdr:y>
    </cdr:from>
    <cdr:to>
      <cdr:x>0.84593</cdr:x>
      <cdr:y>1</cdr:y>
    </cdr:to>
    <cdr:sp macro="" textlink="">
      <cdr:nvSpPr>
        <cdr:cNvPr id="23" name="68db9091-8f3f-4ac3-bb65-f6661fc156e1" hidden="1">
          <a:extLst xmlns:a="http://schemas.openxmlformats.org/drawingml/2006/main">
            <a:ext uri="{FF2B5EF4-FFF2-40B4-BE49-F238E27FC236}">
              <a16:creationId xmlns:a16="http://schemas.microsoft.com/office/drawing/2014/main" id="{581F8FB5-C790-1987-C81B-D5CC93C2046D}"/>
            </a:ext>
          </a:extLst>
        </cdr:cNvPr>
        <cdr:cNvSpPr/>
      </cdr:nvSpPr>
      <cdr:spPr>
        <a:xfrm xmlns:a="http://schemas.openxmlformats.org/drawingml/2006/main">
          <a:off x="7375614" y="4651728"/>
          <a:ext cx="281999" cy="178626"/>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rgbClr val="FFFFFF">
              <a:alpha val="0"/>
            </a:srgbClr>
          </a:solidFill>
          <a:prstDash val="solid"/>
          <a:miter lim="800000"/>
          <a:headEnd type="none" w="med" len="med"/>
          <a:tailEnd type="none" w="med" len="me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000">
              <a:solidFill>
                <a:schemeClr val="tx1"/>
              </a:solidFill>
              <a:latin typeface="+mn-lt"/>
            </a:rPr>
            <a:t>-272</a:t>
          </a:r>
        </a:p>
      </cdr:txBody>
    </cdr:sp>
  </cdr:relSizeAnchor>
  <cdr:relSizeAnchor xmlns:cdr="http://schemas.openxmlformats.org/drawingml/2006/chartDrawing">
    <cdr:from>
      <cdr:x>0.81478</cdr:x>
      <cdr:y>0.93509</cdr:y>
    </cdr:from>
    <cdr:to>
      <cdr:x>0.84593</cdr:x>
      <cdr:y>1</cdr:y>
    </cdr:to>
    <cdr:sp macro="" textlink="">
      <cdr:nvSpPr>
        <cdr:cNvPr id="24" name="da999244-f1ae-479a-924e-66fe7a24643b" hidden="1">
          <a:extLst xmlns:a="http://schemas.openxmlformats.org/drawingml/2006/main">
            <a:ext uri="{FF2B5EF4-FFF2-40B4-BE49-F238E27FC236}">
              <a16:creationId xmlns:a16="http://schemas.microsoft.com/office/drawing/2014/main" id="{D8A3310F-0DE1-F9C3-9657-482D1330C9A6}"/>
            </a:ext>
          </a:extLst>
        </cdr:cNvPr>
        <cdr:cNvSpPr/>
      </cdr:nvSpPr>
      <cdr:spPr>
        <a:xfrm xmlns:a="http://schemas.openxmlformats.org/drawingml/2006/main">
          <a:off x="7375614" y="4651728"/>
          <a:ext cx="281999" cy="178626"/>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rgbClr val="FFFFFF">
              <a:alpha val="0"/>
            </a:srgbClr>
          </a:solidFill>
          <a:prstDash val="solid"/>
          <a:miter lim="800000"/>
          <a:headEnd type="none" w="med" len="med"/>
          <a:tailEnd type="none" w="med" len="me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000">
              <a:solidFill>
                <a:schemeClr val="tx1"/>
              </a:solidFill>
              <a:latin typeface="+mn-lt"/>
            </a:rPr>
            <a:t>-272</a:t>
          </a:r>
        </a:p>
      </cdr:txBody>
    </cdr:sp>
  </cdr:relSizeAnchor>
  <cdr:relSizeAnchor xmlns:cdr="http://schemas.openxmlformats.org/drawingml/2006/chartDrawing">
    <cdr:from>
      <cdr:x>0.81478</cdr:x>
      <cdr:y>0.93509</cdr:y>
    </cdr:from>
    <cdr:to>
      <cdr:x>0.84593</cdr:x>
      <cdr:y>1</cdr:y>
    </cdr:to>
    <cdr:sp macro="" textlink="">
      <cdr:nvSpPr>
        <cdr:cNvPr id="26" name="2c7e6efe-1259-495c-a8da-4c7024446711" hidden="1">
          <a:extLst xmlns:a="http://schemas.openxmlformats.org/drawingml/2006/main">
            <a:ext uri="{FF2B5EF4-FFF2-40B4-BE49-F238E27FC236}">
              <a16:creationId xmlns:a16="http://schemas.microsoft.com/office/drawing/2014/main" id="{1373EA1F-FA2F-17D1-3726-2AAD176072DA}"/>
            </a:ext>
          </a:extLst>
        </cdr:cNvPr>
        <cdr:cNvSpPr/>
      </cdr:nvSpPr>
      <cdr:spPr>
        <a:xfrm xmlns:a="http://schemas.openxmlformats.org/drawingml/2006/main">
          <a:off x="7375614" y="4651728"/>
          <a:ext cx="281999" cy="178626"/>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rgbClr val="FFFFFF">
              <a:alpha val="0"/>
            </a:srgbClr>
          </a:solidFill>
          <a:prstDash val="solid"/>
          <a:miter lim="800000"/>
          <a:headEnd type="none" w="med" len="med"/>
          <a:tailEnd type="none" w="med" len="me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000">
              <a:solidFill>
                <a:schemeClr val="tx1"/>
              </a:solidFill>
              <a:latin typeface="+mn-lt"/>
            </a:rPr>
            <a:t>-272</a:t>
          </a:r>
        </a:p>
      </cdr:txBody>
    </cdr:sp>
  </cdr:relSizeAnchor>
  <cdr:relSizeAnchor xmlns:cdr="http://schemas.openxmlformats.org/drawingml/2006/chartDrawing">
    <cdr:from>
      <cdr:x>0.87306</cdr:x>
      <cdr:y>0.81607</cdr:y>
    </cdr:from>
    <cdr:to>
      <cdr:x>0.96056</cdr:x>
      <cdr:y>0.99538</cdr:y>
    </cdr:to>
    <cdr:sp macro="" textlink="">
      <cdr:nvSpPr>
        <cdr:cNvPr id="18" name="53c6aa3a-8c0d-4ee9-b83c-974e41fc0357">
          <a:extLst xmlns:a="http://schemas.openxmlformats.org/drawingml/2006/main">
            <a:ext uri="{FF2B5EF4-FFF2-40B4-BE49-F238E27FC236}">
              <a16:creationId xmlns:a16="http://schemas.microsoft.com/office/drawing/2014/main" id="{A1BB17EE-A74E-6071-2CD3-C993AFF1B237}"/>
            </a:ext>
          </a:extLst>
        </cdr:cNvPr>
        <cdr:cNvSpPr txBox="1"/>
      </cdr:nvSpPr>
      <cdr:spPr>
        <a:xfrm xmlns:a="http://schemas.openxmlformats.org/drawingml/2006/main">
          <a:off x="7903118" y="2245611"/>
          <a:ext cx="792099" cy="493439"/>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1"/>
        <a:lstStyle xmlns:a="http://schemas.openxmlformats.org/drawingml/2006/main"/>
        <a:p xmlns:a="http://schemas.openxmlformats.org/drawingml/2006/main">
          <a:pPr algn="ctr" defTabSz="495300"/>
          <a:r>
            <a:rPr lang="de-DE" sz="1000" kern="1200">
              <a:solidFill>
                <a:schemeClr val="tx1"/>
              </a:solidFill>
              <a:latin typeface="+mn-lt"/>
            </a:rPr>
            <a:t>Keine Angabe</a:t>
          </a:r>
        </a:p>
      </cdr:txBody>
    </cdr:sp>
  </cdr:relSizeAnchor>
  <cdr:relSizeAnchor xmlns:cdr="http://schemas.openxmlformats.org/drawingml/2006/chartDrawing">
    <cdr:from>
      <cdr:x>0.90447</cdr:x>
      <cdr:y>0.7322</cdr:y>
    </cdr:from>
    <cdr:to>
      <cdr:x>0.92886</cdr:x>
      <cdr:y>0.79363</cdr:y>
    </cdr:to>
    <cdr:sp macro="" textlink="">
      <cdr:nvSpPr>
        <cdr:cNvPr id="19" name="f2dac81f-4bcb-4eea-a040-4a277afb5e9b">
          <a:extLst xmlns:a="http://schemas.openxmlformats.org/drawingml/2006/main">
            <a:ext uri="{FF2B5EF4-FFF2-40B4-BE49-F238E27FC236}">
              <a16:creationId xmlns:a16="http://schemas.microsoft.com/office/drawing/2014/main" id="{07E16159-2D51-4CD0-44FF-EA5B889D118B}"/>
            </a:ext>
          </a:extLst>
        </cdr:cNvPr>
        <cdr:cNvSpPr txBox="1"/>
      </cdr:nvSpPr>
      <cdr:spPr>
        <a:xfrm xmlns:a="http://schemas.openxmlformats.org/drawingml/2006/main">
          <a:off x="8187506" y="2014840"/>
          <a:ext cx="220785" cy="169022"/>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kern="1200">
              <a:solidFill>
                <a:schemeClr val="bg1"/>
              </a:solidFill>
              <a:latin typeface="+mn-lt"/>
            </a:rPr>
            <a:t>1%</a:t>
          </a:r>
        </a:p>
      </cdr:txBody>
    </cdr:sp>
  </cdr:relSizeAnchor>
  <cdr:relSizeAnchor xmlns:cdr="http://schemas.openxmlformats.org/drawingml/2006/chartDrawing">
    <cdr:from>
      <cdr:x>0.81478</cdr:x>
      <cdr:y>0.94381</cdr:y>
    </cdr:from>
    <cdr:to>
      <cdr:x>0.84697</cdr:x>
      <cdr:y>1</cdr:y>
    </cdr:to>
    <cdr:sp macro="" textlink="">
      <cdr:nvSpPr>
        <cdr:cNvPr id="20" name="1f112a34-cb98-454a-8dfb-73ea615fa6f1" hidden="1">
          <a:extLst xmlns:a="http://schemas.openxmlformats.org/drawingml/2006/main">
            <a:ext uri="{FF2B5EF4-FFF2-40B4-BE49-F238E27FC236}">
              <a16:creationId xmlns:a16="http://schemas.microsoft.com/office/drawing/2014/main" id="{B9336395-5009-0795-653A-81FD242B9AF2}"/>
            </a:ext>
          </a:extLst>
        </cdr:cNvPr>
        <cdr:cNvSpPr/>
      </cdr:nvSpPr>
      <cdr:spPr>
        <a:xfrm xmlns:a="http://schemas.openxmlformats.org/drawingml/2006/main">
          <a:off x="7375614" y="4651728"/>
          <a:ext cx="291397" cy="154623"/>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chemeClr val="accent5">
              <a:alpha val="0"/>
            </a:schemeClr>
          </a:solidFill>
          <a:prstDash val="solid"/>
          <a:miter lim="800000"/>
          <a:headEnd type="none" w="med" len="med"/>
          <a:tailEnd type="none" w="med" len="med"/>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000" kern="1200">
              <a:solidFill>
                <a:schemeClr val="tx1"/>
              </a:solidFill>
              <a:latin typeface="+mn-lt"/>
            </a:rPr>
            <a:t>-272</a:t>
          </a:r>
        </a:p>
      </cdr:txBody>
    </cdr:sp>
  </cdr:relSizeAnchor>
</c:userShapes>
</file>

<file path=ppt/drawings/drawing5.xml><?xml version="1.0" encoding="utf-8"?>
<c:userShapes xmlns:c="http://schemas.openxmlformats.org/drawingml/2006/chart">
  <cdr:relSizeAnchor xmlns:cdr="http://schemas.openxmlformats.org/drawingml/2006/chartDrawing">
    <cdr:from>
      <cdr:x>0</cdr:x>
      <cdr:y>0</cdr:y>
    </cdr:from>
    <cdr:to>
      <cdr:x>1</cdr:x>
      <cdr:y>1</cdr:y>
    </cdr:to>
    <cdr:pic>
      <cdr:nvPicPr>
        <cdr:cNvPr id="32" name="Grafik 31">
          <a:extLst xmlns:a="http://schemas.openxmlformats.org/drawingml/2006/main">
            <a:ext uri="{FF2B5EF4-FFF2-40B4-BE49-F238E27FC236}">
              <a16:creationId xmlns:a16="http://schemas.microsoft.com/office/drawing/2014/main" id="{057D60BE-BBDB-6E53-9A37-43FEDAB41DB1}"/>
            </a:ext>
          </a:extLst>
        </cdr:cNvPr>
        <cdr:cNvPicPr>
          <a:picLocks xmlns:a="http://schemas.openxmlformats.org/drawingml/2006/main"/>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0" y="0"/>
          <a:ext cx="7126224" cy="4022122"/>
        </a:xfrm>
        <a:prstGeom xmlns:a="http://schemas.openxmlformats.org/drawingml/2006/main" prst="rect">
          <a:avLst/>
        </a:prstGeom>
      </cdr:spPr>
    </cdr:pic>
  </cdr:relSizeAnchor>
  <cdr:relSizeAnchor xmlns:cdr="http://schemas.openxmlformats.org/drawingml/2006/chartDrawing">
    <cdr:from>
      <cdr:x>0.0057</cdr:x>
      <cdr:y>0.02887</cdr:y>
    </cdr:from>
    <cdr:to>
      <cdr:x>0.24116</cdr:x>
      <cdr:y>0.07113</cdr:y>
    </cdr:to>
    <cdr:sp macro="" textlink="">
      <cdr:nvSpPr>
        <cdr:cNvPr id="5" name="7049dda7-7eec-4579-ad0b-bd2ba3df9944">
          <a:extLst xmlns:a="http://schemas.openxmlformats.org/drawingml/2006/main">
            <a:ext uri="{FF2B5EF4-FFF2-40B4-BE49-F238E27FC236}">
              <a16:creationId xmlns:a16="http://schemas.microsoft.com/office/drawing/2014/main" id="{D8EA701F-707B-314E-139B-EF471C1F8BC1}"/>
            </a:ext>
          </a:extLst>
        </cdr:cNvPr>
        <cdr:cNvSpPr txBox="1"/>
      </cdr:nvSpPr>
      <cdr:spPr>
        <a:xfrm xmlns:a="http://schemas.openxmlformats.org/drawingml/2006/main">
          <a:off x="40639" y="116127"/>
          <a:ext cx="1677924" cy="169958"/>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l" defTabSz="495300"/>
          <a:r>
            <a:rPr lang="de-DE" sz="1100" b="1">
              <a:solidFill>
                <a:schemeClr val="lt1">
                  <a:lumMod val="50000"/>
                </a:schemeClr>
              </a:solidFill>
              <a:latin typeface="+mn-lt"/>
            </a:rPr>
            <a:t>Gewinnung von Personal</a:t>
          </a:r>
        </a:p>
      </cdr:txBody>
    </cdr:sp>
  </cdr:relSizeAnchor>
  <cdr:relSizeAnchor xmlns:cdr="http://schemas.openxmlformats.org/drawingml/2006/chartDrawing">
    <cdr:from>
      <cdr:x>0.0057</cdr:x>
      <cdr:y>0.12887</cdr:y>
    </cdr:from>
    <cdr:to>
      <cdr:x>0.14204</cdr:x>
      <cdr:y>0.17113</cdr:y>
    </cdr:to>
    <cdr:sp macro="" textlink="">
      <cdr:nvSpPr>
        <cdr:cNvPr id="6" name="a2303c5d-8da2-41a4-9aae-4dba832bdff3">
          <a:extLst xmlns:a="http://schemas.openxmlformats.org/drawingml/2006/main">
            <a:ext uri="{FF2B5EF4-FFF2-40B4-BE49-F238E27FC236}">
              <a16:creationId xmlns:a16="http://schemas.microsoft.com/office/drawing/2014/main" id="{97CFCC12-7D47-4F01-EA53-88EB6D07EAF1}"/>
            </a:ext>
          </a:extLst>
        </cdr:cNvPr>
        <cdr:cNvSpPr txBox="1"/>
      </cdr:nvSpPr>
      <cdr:spPr>
        <a:xfrm xmlns:a="http://schemas.openxmlformats.org/drawingml/2006/main">
          <a:off x="40639" y="518340"/>
          <a:ext cx="971550" cy="169958"/>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l" defTabSz="495300"/>
          <a:r>
            <a:rPr lang="de-DE" sz="1100" b="1">
              <a:solidFill>
                <a:schemeClr val="lt1">
                  <a:lumMod val="50000"/>
                </a:schemeClr>
              </a:solidFill>
              <a:latin typeface="+mn-lt"/>
            </a:rPr>
            <a:t>Digitalisierung</a:t>
          </a:r>
        </a:p>
      </cdr:txBody>
    </cdr:sp>
  </cdr:relSizeAnchor>
  <cdr:relSizeAnchor xmlns:cdr="http://schemas.openxmlformats.org/drawingml/2006/chartDrawing">
    <cdr:from>
      <cdr:x>0.0057</cdr:x>
      <cdr:y>0.22887</cdr:y>
    </cdr:from>
    <cdr:to>
      <cdr:x>0.22377</cdr:x>
      <cdr:y>0.27113</cdr:y>
    </cdr:to>
    <cdr:sp macro="" textlink="">
      <cdr:nvSpPr>
        <cdr:cNvPr id="7" name="6e01916d-ff4c-4fd9-ab28-cd199ba70d3f">
          <a:extLst xmlns:a="http://schemas.openxmlformats.org/drawingml/2006/main">
            <a:ext uri="{FF2B5EF4-FFF2-40B4-BE49-F238E27FC236}">
              <a16:creationId xmlns:a16="http://schemas.microsoft.com/office/drawing/2014/main" id="{D127D976-3F58-8B36-8BEE-77834DFB9658}"/>
            </a:ext>
          </a:extLst>
        </cdr:cNvPr>
        <cdr:cNvSpPr txBox="1"/>
      </cdr:nvSpPr>
      <cdr:spPr>
        <a:xfrm xmlns:a="http://schemas.openxmlformats.org/drawingml/2006/main">
          <a:off x="40640" y="920552"/>
          <a:ext cx="1553972" cy="169958"/>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l" defTabSz="495300"/>
          <a:r>
            <a:rPr lang="de-DE" sz="1100" b="1">
              <a:solidFill>
                <a:schemeClr val="lt1">
                  <a:lumMod val="50000"/>
                </a:schemeClr>
              </a:solidFill>
              <a:latin typeface="+mn-lt"/>
            </a:rPr>
            <a:t>Finanzielle Ressourcen</a:t>
          </a:r>
        </a:p>
      </cdr:txBody>
    </cdr:sp>
  </cdr:relSizeAnchor>
  <cdr:relSizeAnchor xmlns:cdr="http://schemas.openxmlformats.org/drawingml/2006/chartDrawing">
    <cdr:from>
      <cdr:x>0.0057</cdr:x>
      <cdr:y>0.32887</cdr:y>
    </cdr:from>
    <cdr:to>
      <cdr:x>0.29379</cdr:x>
      <cdr:y>0.37113</cdr:y>
    </cdr:to>
    <cdr:sp macro="" textlink="">
      <cdr:nvSpPr>
        <cdr:cNvPr id="8" name="b2f4b1b0-9be1-49b0-952d-7ed87c56087b">
          <a:extLst xmlns:a="http://schemas.openxmlformats.org/drawingml/2006/main">
            <a:ext uri="{FF2B5EF4-FFF2-40B4-BE49-F238E27FC236}">
              <a16:creationId xmlns:a16="http://schemas.microsoft.com/office/drawing/2014/main" id="{C7202F4B-4296-4FB9-7DFD-02EC0F0587A1}"/>
            </a:ext>
          </a:extLst>
        </cdr:cNvPr>
        <cdr:cNvSpPr txBox="1"/>
      </cdr:nvSpPr>
      <cdr:spPr>
        <a:xfrm xmlns:a="http://schemas.openxmlformats.org/drawingml/2006/main">
          <a:off x="40640" y="1322764"/>
          <a:ext cx="2052955" cy="169958"/>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l" defTabSz="495300"/>
          <a:r>
            <a:rPr lang="de-DE" sz="1100" b="1">
              <a:solidFill>
                <a:schemeClr val="lt1">
                  <a:lumMod val="50000"/>
                </a:schemeClr>
              </a:solidFill>
              <a:latin typeface="+mn-lt"/>
            </a:rPr>
            <a:t>Regulatorische Anforderungen</a:t>
          </a:r>
        </a:p>
      </cdr:txBody>
    </cdr:sp>
  </cdr:relSizeAnchor>
  <cdr:relSizeAnchor xmlns:cdr="http://schemas.openxmlformats.org/drawingml/2006/chartDrawing">
    <cdr:from>
      <cdr:x>0.0057</cdr:x>
      <cdr:y>0.40455</cdr:y>
    </cdr:from>
    <cdr:to>
      <cdr:x>0.34864</cdr:x>
      <cdr:y>0.49545</cdr:y>
    </cdr:to>
    <cdr:sp macro="" textlink="">
      <cdr:nvSpPr>
        <cdr:cNvPr id="9" name="40dc30cc-b61a-4c16-8502-38480b09efee">
          <a:extLst xmlns:a="http://schemas.openxmlformats.org/drawingml/2006/main">
            <a:ext uri="{FF2B5EF4-FFF2-40B4-BE49-F238E27FC236}">
              <a16:creationId xmlns:a16="http://schemas.microsoft.com/office/drawing/2014/main" id="{EE95A41F-34F6-D183-FCC8-3BE348F8218D}"/>
            </a:ext>
          </a:extLst>
        </cdr:cNvPr>
        <cdr:cNvSpPr txBox="1"/>
      </cdr:nvSpPr>
      <cdr:spPr>
        <a:xfrm xmlns:a="http://schemas.openxmlformats.org/drawingml/2006/main">
          <a:off x="40639" y="1627154"/>
          <a:ext cx="2443819" cy="365602"/>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l" defTabSz="495300"/>
          <a:r>
            <a:rPr lang="de-DE" sz="1100" b="1">
              <a:solidFill>
                <a:schemeClr val="lt1">
                  <a:lumMod val="50000"/>
                </a:schemeClr>
              </a:solidFill>
              <a:latin typeface="+mn-lt"/>
            </a:rPr>
            <a:t>Weiterentwicklung der Kompetenzen
 von Mitarbeiter:innen</a:t>
          </a:r>
        </a:p>
      </cdr:txBody>
    </cdr:sp>
  </cdr:relSizeAnchor>
  <cdr:relSizeAnchor xmlns:cdr="http://schemas.openxmlformats.org/drawingml/2006/chartDrawing">
    <cdr:from>
      <cdr:x>0.95554</cdr:x>
      <cdr:y>0.95774</cdr:y>
    </cdr:from>
    <cdr:to>
      <cdr:x>1</cdr:x>
      <cdr:y>1</cdr:y>
    </cdr:to>
    <cdr:sp macro="" textlink="">
      <cdr:nvSpPr>
        <cdr:cNvPr id="4" name="188ca92e-bb0d-4e94-8db6-ea50da9a26c6" hidden="1">
          <a:extLst xmlns:a="http://schemas.openxmlformats.org/drawingml/2006/main">
            <a:ext uri="{FF2B5EF4-FFF2-40B4-BE49-F238E27FC236}">
              <a16:creationId xmlns:a16="http://schemas.microsoft.com/office/drawing/2014/main" id="{96020852-4A7C-C365-9194-1698E5E76A34}"/>
            </a:ext>
          </a:extLst>
        </cdr:cNvPr>
        <cdr:cNvSpPr/>
      </cdr:nvSpPr>
      <cdr:spPr>
        <a:xfrm xmlns:a="http://schemas.openxmlformats.org/drawingml/2006/main">
          <a:off x="7375614" y="3852164"/>
          <a:ext cx="316839" cy="169958"/>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rgbClr val="FFFFFF">
              <a:alpha val="0"/>
            </a:srgbClr>
          </a:solidFill>
          <a:prstDash val="solid"/>
          <a:miter lim="800000"/>
          <a:headEnd type="none" w="med" len="med"/>
          <a:tailEnd type="none" w="med" len="me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100">
              <a:solidFill>
                <a:schemeClr val="tx1"/>
              </a:solidFill>
              <a:latin typeface="+mn-lt"/>
            </a:rPr>
            <a:t>-272</a:t>
          </a:r>
        </a:p>
      </cdr:txBody>
    </cdr:sp>
  </cdr:relSizeAnchor>
  <cdr:relSizeAnchor xmlns:cdr="http://schemas.openxmlformats.org/drawingml/2006/chartDrawing">
    <cdr:from>
      <cdr:x>0.95554</cdr:x>
      <cdr:y>0.95774</cdr:y>
    </cdr:from>
    <cdr:to>
      <cdr:x>1</cdr:x>
      <cdr:y>1</cdr:y>
    </cdr:to>
    <cdr:sp macro="" textlink="">
      <cdr:nvSpPr>
        <cdr:cNvPr id="15" name="711091ae-ec80-498b-9e50-004397c2d958" hidden="1">
          <a:extLst xmlns:a="http://schemas.openxmlformats.org/drawingml/2006/main">
            <a:ext uri="{FF2B5EF4-FFF2-40B4-BE49-F238E27FC236}">
              <a16:creationId xmlns:a16="http://schemas.microsoft.com/office/drawing/2014/main" id="{575C8562-54DF-E7C0-F22E-1849996764A6}"/>
            </a:ext>
          </a:extLst>
        </cdr:cNvPr>
        <cdr:cNvSpPr/>
      </cdr:nvSpPr>
      <cdr:spPr>
        <a:xfrm xmlns:a="http://schemas.openxmlformats.org/drawingml/2006/main">
          <a:off x="7375614" y="3852164"/>
          <a:ext cx="316839" cy="169958"/>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rgbClr val="FFFFFF">
              <a:alpha val="0"/>
            </a:srgbClr>
          </a:solidFill>
          <a:prstDash val="solid"/>
          <a:miter lim="800000"/>
          <a:headEnd type="none" w="med" len="med"/>
          <a:tailEnd type="none" w="med" len="me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100">
              <a:solidFill>
                <a:schemeClr val="tx1"/>
              </a:solidFill>
              <a:latin typeface="+mn-lt"/>
            </a:rPr>
            <a:t>-272</a:t>
          </a:r>
        </a:p>
      </cdr:txBody>
    </cdr:sp>
  </cdr:relSizeAnchor>
  <cdr:relSizeAnchor xmlns:cdr="http://schemas.openxmlformats.org/drawingml/2006/chartDrawing">
    <cdr:from>
      <cdr:x>0.95554</cdr:x>
      <cdr:y>0.95774</cdr:y>
    </cdr:from>
    <cdr:to>
      <cdr:x>1</cdr:x>
      <cdr:y>1</cdr:y>
    </cdr:to>
    <cdr:sp macro="" textlink="">
      <cdr:nvSpPr>
        <cdr:cNvPr id="16" name="1b2a9536-cb49-49da-aaef-b036f7a1ebe2" hidden="1">
          <a:extLst xmlns:a="http://schemas.openxmlformats.org/drawingml/2006/main">
            <a:ext uri="{FF2B5EF4-FFF2-40B4-BE49-F238E27FC236}">
              <a16:creationId xmlns:a16="http://schemas.microsoft.com/office/drawing/2014/main" id="{B03DB68A-E112-C033-6097-65B05AC42420}"/>
            </a:ext>
          </a:extLst>
        </cdr:cNvPr>
        <cdr:cNvSpPr/>
      </cdr:nvSpPr>
      <cdr:spPr>
        <a:xfrm xmlns:a="http://schemas.openxmlformats.org/drawingml/2006/main">
          <a:off x="7375614" y="3852164"/>
          <a:ext cx="316839" cy="169958"/>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rgbClr val="FFFFFF">
              <a:alpha val="0"/>
            </a:srgbClr>
          </a:solidFill>
          <a:prstDash val="solid"/>
          <a:miter lim="800000"/>
          <a:headEnd type="none" w="med" len="med"/>
          <a:tailEnd type="none" w="med" len="me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100">
              <a:solidFill>
                <a:schemeClr val="tx1"/>
              </a:solidFill>
              <a:latin typeface="+mn-lt"/>
            </a:rPr>
            <a:t>-272</a:t>
          </a:r>
        </a:p>
      </cdr:txBody>
    </cdr:sp>
  </cdr:relSizeAnchor>
  <cdr:relSizeAnchor xmlns:cdr="http://schemas.openxmlformats.org/drawingml/2006/chartDrawing">
    <cdr:from>
      <cdr:x>0.95554</cdr:x>
      <cdr:y>0.95774</cdr:y>
    </cdr:from>
    <cdr:to>
      <cdr:x>1</cdr:x>
      <cdr:y>1</cdr:y>
    </cdr:to>
    <cdr:sp macro="" textlink="">
      <cdr:nvSpPr>
        <cdr:cNvPr id="17" name="a34eddfc-4844-4514-a2cc-58652cb911d6" hidden="1">
          <a:extLst xmlns:a="http://schemas.openxmlformats.org/drawingml/2006/main">
            <a:ext uri="{FF2B5EF4-FFF2-40B4-BE49-F238E27FC236}">
              <a16:creationId xmlns:a16="http://schemas.microsoft.com/office/drawing/2014/main" id="{512C26B4-DAA8-FE8A-4B78-454CB0358486}"/>
            </a:ext>
          </a:extLst>
        </cdr:cNvPr>
        <cdr:cNvSpPr/>
      </cdr:nvSpPr>
      <cdr:spPr>
        <a:xfrm xmlns:a="http://schemas.openxmlformats.org/drawingml/2006/main">
          <a:off x="7375614" y="3852164"/>
          <a:ext cx="316839" cy="169958"/>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rgbClr val="FFFFFF">
              <a:alpha val="0"/>
            </a:srgbClr>
          </a:solidFill>
          <a:prstDash val="solid"/>
          <a:miter lim="800000"/>
          <a:headEnd type="none" w="med" len="med"/>
          <a:tailEnd type="none" w="med" len="me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100">
              <a:solidFill>
                <a:schemeClr val="tx1"/>
              </a:solidFill>
              <a:latin typeface="+mn-lt"/>
            </a:rPr>
            <a:t>-272</a:t>
          </a:r>
        </a:p>
      </cdr:txBody>
    </cdr:sp>
  </cdr:relSizeAnchor>
  <cdr:relSizeAnchor xmlns:cdr="http://schemas.openxmlformats.org/drawingml/2006/chartDrawing">
    <cdr:from>
      <cdr:x>0.95554</cdr:x>
      <cdr:y>0.95774</cdr:y>
    </cdr:from>
    <cdr:to>
      <cdr:x>1</cdr:x>
      <cdr:y>1</cdr:y>
    </cdr:to>
    <cdr:sp macro="" textlink="">
      <cdr:nvSpPr>
        <cdr:cNvPr id="18" name="89b9afeb-e97d-4961-b57e-fe77354dd7b2" hidden="1">
          <a:extLst xmlns:a="http://schemas.openxmlformats.org/drawingml/2006/main">
            <a:ext uri="{FF2B5EF4-FFF2-40B4-BE49-F238E27FC236}">
              <a16:creationId xmlns:a16="http://schemas.microsoft.com/office/drawing/2014/main" id="{2178D499-0899-46A4-5193-9ADD1077E371}"/>
            </a:ext>
          </a:extLst>
        </cdr:cNvPr>
        <cdr:cNvSpPr/>
      </cdr:nvSpPr>
      <cdr:spPr>
        <a:xfrm xmlns:a="http://schemas.openxmlformats.org/drawingml/2006/main">
          <a:off x="7375614" y="3852164"/>
          <a:ext cx="316839" cy="169958"/>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rgbClr val="FFFFFF">
              <a:alpha val="0"/>
            </a:srgbClr>
          </a:solidFill>
          <a:prstDash val="solid"/>
          <a:miter lim="800000"/>
          <a:headEnd type="none" w="med" len="med"/>
          <a:tailEnd type="none" w="med" len="me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100">
              <a:solidFill>
                <a:schemeClr val="tx1"/>
              </a:solidFill>
              <a:latin typeface="+mn-lt"/>
            </a:rPr>
            <a:t>-272</a:t>
          </a:r>
        </a:p>
      </cdr:txBody>
    </cdr:sp>
  </cdr:relSizeAnchor>
  <cdr:relSizeAnchor xmlns:cdr="http://schemas.openxmlformats.org/drawingml/2006/chartDrawing">
    <cdr:from>
      <cdr:x>0.0057</cdr:x>
      <cdr:y>0.52887</cdr:y>
    </cdr:from>
    <cdr:to>
      <cdr:x>0.25535</cdr:x>
      <cdr:y>0.57113</cdr:y>
    </cdr:to>
    <cdr:sp macro="" textlink="">
      <cdr:nvSpPr>
        <cdr:cNvPr id="19" name="3191e772-2763-49a8-ac47-36d74b2f51ca">
          <a:extLst xmlns:a="http://schemas.openxmlformats.org/drawingml/2006/main">
            <a:ext uri="{FF2B5EF4-FFF2-40B4-BE49-F238E27FC236}">
              <a16:creationId xmlns:a16="http://schemas.microsoft.com/office/drawing/2014/main" id="{2850CCE6-E530-7CF9-4BED-21EEBEEBC917}"/>
            </a:ext>
          </a:extLst>
        </cdr:cNvPr>
        <cdr:cNvSpPr txBox="1"/>
      </cdr:nvSpPr>
      <cdr:spPr>
        <a:xfrm xmlns:a="http://schemas.openxmlformats.org/drawingml/2006/main">
          <a:off x="40640" y="2127188"/>
          <a:ext cx="1779058" cy="169958"/>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l" defTabSz="495300"/>
          <a:r>
            <a:rPr lang="de-DE" sz="1100" b="1" kern="1200">
              <a:solidFill>
                <a:schemeClr val="lt1">
                  <a:lumMod val="50000"/>
                </a:schemeClr>
              </a:solidFill>
              <a:latin typeface="+mn-lt"/>
            </a:rPr>
            <a:t>Effizienz interner Prozesse</a:t>
          </a:r>
        </a:p>
      </cdr:txBody>
    </cdr:sp>
  </cdr:relSizeAnchor>
  <cdr:relSizeAnchor xmlns:cdr="http://schemas.openxmlformats.org/drawingml/2006/chartDrawing">
    <cdr:from>
      <cdr:x>0.0057</cdr:x>
      <cdr:y>0.62887</cdr:y>
    </cdr:from>
    <cdr:to>
      <cdr:x>0.2437</cdr:x>
      <cdr:y>0.67113</cdr:y>
    </cdr:to>
    <cdr:sp macro="" textlink="">
      <cdr:nvSpPr>
        <cdr:cNvPr id="20" name="41d8d9cc-6d6c-4d46-8fb8-cfdf9d82502e">
          <a:extLst xmlns:a="http://schemas.openxmlformats.org/drawingml/2006/main">
            <a:ext uri="{FF2B5EF4-FFF2-40B4-BE49-F238E27FC236}">
              <a16:creationId xmlns:a16="http://schemas.microsoft.com/office/drawing/2014/main" id="{D6B8EDD7-B2DC-D893-BDCC-4AF2DF0D95AA}"/>
            </a:ext>
          </a:extLst>
        </cdr:cNvPr>
        <cdr:cNvSpPr txBox="1"/>
      </cdr:nvSpPr>
      <cdr:spPr>
        <a:xfrm xmlns:a="http://schemas.openxmlformats.org/drawingml/2006/main">
          <a:off x="40639" y="2529401"/>
          <a:ext cx="1696043" cy="169958"/>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l" defTabSz="495300"/>
          <a:r>
            <a:rPr lang="de-DE" sz="1100" b="1" kern="1200">
              <a:solidFill>
                <a:schemeClr val="lt1">
                  <a:lumMod val="50000"/>
                </a:schemeClr>
              </a:solidFill>
              <a:latin typeface="+mn-lt"/>
            </a:rPr>
            <a:t>Strategische Ausrichtung</a:t>
          </a:r>
        </a:p>
      </cdr:txBody>
    </cdr:sp>
  </cdr:relSizeAnchor>
  <cdr:relSizeAnchor xmlns:cdr="http://schemas.openxmlformats.org/drawingml/2006/chartDrawing">
    <cdr:from>
      <cdr:x>0.0057</cdr:x>
      <cdr:y>0.72887</cdr:y>
    </cdr:from>
    <cdr:to>
      <cdr:x>0.13987</cdr:x>
      <cdr:y>0.77113</cdr:y>
    </cdr:to>
    <cdr:sp macro="" textlink="">
      <cdr:nvSpPr>
        <cdr:cNvPr id="21" name="40fd40a3-94ac-4c00-8198-48551fa96ea9">
          <a:extLst xmlns:a="http://schemas.openxmlformats.org/drawingml/2006/main">
            <a:ext uri="{FF2B5EF4-FFF2-40B4-BE49-F238E27FC236}">
              <a16:creationId xmlns:a16="http://schemas.microsoft.com/office/drawing/2014/main" id="{23ECA055-5C37-7299-5C02-26BEF37FADCE}"/>
            </a:ext>
          </a:extLst>
        </cdr:cNvPr>
        <cdr:cNvSpPr txBox="1"/>
      </cdr:nvSpPr>
      <cdr:spPr>
        <a:xfrm xmlns:a="http://schemas.openxmlformats.org/drawingml/2006/main">
          <a:off x="40639" y="2931613"/>
          <a:ext cx="956098" cy="169958"/>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l" defTabSz="495300"/>
          <a:r>
            <a:rPr lang="de-DE" sz="1100" b="1" kern="1200">
              <a:solidFill>
                <a:schemeClr val="lt1">
                  <a:lumMod val="50000"/>
                </a:schemeClr>
              </a:solidFill>
              <a:latin typeface="+mn-lt"/>
            </a:rPr>
            <a:t>Nachhaltigkeit</a:t>
          </a:r>
        </a:p>
      </cdr:txBody>
    </cdr:sp>
  </cdr:relSizeAnchor>
  <cdr:relSizeAnchor xmlns:cdr="http://schemas.openxmlformats.org/drawingml/2006/chartDrawing">
    <cdr:from>
      <cdr:x>0.0057</cdr:x>
      <cdr:y>0.82887</cdr:y>
    </cdr:from>
    <cdr:to>
      <cdr:x>0.08432</cdr:x>
      <cdr:y>0.87113</cdr:y>
    </cdr:to>
    <cdr:sp macro="" textlink="">
      <cdr:nvSpPr>
        <cdr:cNvPr id="22" name="de09a54e-4de4-4c00-b882-bea621fe02aa">
          <a:extLst xmlns:a="http://schemas.openxmlformats.org/drawingml/2006/main">
            <a:ext uri="{FF2B5EF4-FFF2-40B4-BE49-F238E27FC236}">
              <a16:creationId xmlns:a16="http://schemas.microsoft.com/office/drawing/2014/main" id="{88A9A379-58C6-9B65-E6FF-A294CE3E363D}"/>
            </a:ext>
          </a:extLst>
        </cdr:cNvPr>
        <cdr:cNvSpPr txBox="1"/>
      </cdr:nvSpPr>
      <cdr:spPr>
        <a:xfrm xmlns:a="http://schemas.openxmlformats.org/drawingml/2006/main">
          <a:off x="40639" y="3333824"/>
          <a:ext cx="560239" cy="169958"/>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l" defTabSz="495300"/>
          <a:r>
            <a:rPr lang="de-DE" sz="1100" b="1" kern="1200">
              <a:solidFill>
                <a:schemeClr val="lt1">
                  <a:lumMod val="50000"/>
                </a:schemeClr>
              </a:solidFill>
              <a:latin typeface="+mn-lt"/>
            </a:rPr>
            <a:t>Anderes</a:t>
          </a:r>
        </a:p>
      </cdr:txBody>
    </cdr:sp>
  </cdr:relSizeAnchor>
  <cdr:relSizeAnchor xmlns:cdr="http://schemas.openxmlformats.org/drawingml/2006/chartDrawing">
    <cdr:from>
      <cdr:x>0.0057</cdr:x>
      <cdr:y>0.92887</cdr:y>
    </cdr:from>
    <cdr:to>
      <cdr:x>0.18454</cdr:x>
      <cdr:y>0.97113</cdr:y>
    </cdr:to>
    <cdr:sp macro="" textlink="">
      <cdr:nvSpPr>
        <cdr:cNvPr id="23" name="9cfc8abe-aa2f-42e7-96d7-f71e437c9049">
          <a:extLst xmlns:a="http://schemas.openxmlformats.org/drawingml/2006/main">
            <a:ext uri="{FF2B5EF4-FFF2-40B4-BE49-F238E27FC236}">
              <a16:creationId xmlns:a16="http://schemas.microsoft.com/office/drawing/2014/main" id="{A0669218-0A8A-53FE-8F97-27115364421F}"/>
            </a:ext>
          </a:extLst>
        </cdr:cNvPr>
        <cdr:cNvSpPr txBox="1"/>
      </cdr:nvSpPr>
      <cdr:spPr>
        <a:xfrm xmlns:a="http://schemas.openxmlformats.org/drawingml/2006/main">
          <a:off x="40639" y="3736037"/>
          <a:ext cx="1274403" cy="169958"/>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
        <a:lstStyle xmlns:a="http://schemas.openxmlformats.org/drawingml/2006/main"/>
        <a:p xmlns:a="http://schemas.openxmlformats.org/drawingml/2006/main">
          <a:pPr algn="l" defTabSz="495300"/>
          <a:r>
            <a:rPr lang="de-DE" sz="1100" b="1" kern="1200">
              <a:solidFill>
                <a:schemeClr val="lt1">
                  <a:lumMod val="50000"/>
                </a:schemeClr>
              </a:solidFill>
              <a:latin typeface="+mn-lt"/>
            </a:rPr>
            <a:t>Datenverfügbarkeit</a:t>
          </a:r>
        </a:p>
      </cdr:txBody>
    </cdr:sp>
  </cdr:relSizeAnchor>
  <cdr:relSizeAnchor xmlns:cdr="http://schemas.openxmlformats.org/drawingml/2006/chartDrawing">
    <cdr:from>
      <cdr:x>0.63756</cdr:x>
      <cdr:y>0.02708</cdr:y>
    </cdr:from>
    <cdr:to>
      <cdr:x>0.68202</cdr:x>
      <cdr:y>0.07292</cdr:y>
    </cdr:to>
    <cdr:sp macro="" textlink="">
      <cdr:nvSpPr>
        <cdr:cNvPr id="48" name="dfec0748-527d-4953-bafe-29c972ffb6a8">
          <a:extLst xmlns:a="http://schemas.openxmlformats.org/drawingml/2006/main">
            <a:ext uri="{FF2B5EF4-FFF2-40B4-BE49-F238E27FC236}">
              <a16:creationId xmlns:a16="http://schemas.microsoft.com/office/drawing/2014/main" id="{B6D448F5-A223-6690-E93C-572E916F2B05}"/>
            </a:ext>
          </a:extLst>
        </cdr:cNvPr>
        <cdr:cNvSpPr txBox="1"/>
      </cdr:nvSpPr>
      <cdr:spPr>
        <a:xfrm xmlns:a="http://schemas.openxmlformats.org/drawingml/2006/main">
          <a:off x="4543379" y="108927"/>
          <a:ext cx="316839" cy="184358"/>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100" kern="1200">
              <a:solidFill>
                <a:schemeClr val="bg1"/>
              </a:solidFill>
              <a:latin typeface="+mn-lt"/>
            </a:rPr>
            <a:t>84%</a:t>
          </a:r>
        </a:p>
      </cdr:txBody>
    </cdr:sp>
  </cdr:relSizeAnchor>
  <cdr:relSizeAnchor xmlns:cdr="http://schemas.openxmlformats.org/drawingml/2006/chartDrawing">
    <cdr:from>
      <cdr:x>0.525</cdr:x>
      <cdr:y>0.12708</cdr:y>
    </cdr:from>
    <cdr:to>
      <cdr:x>0.56946</cdr:x>
      <cdr:y>0.17292</cdr:y>
    </cdr:to>
    <cdr:sp macro="" textlink="">
      <cdr:nvSpPr>
        <cdr:cNvPr id="49" name="e889ff8b-7812-47f7-bb50-22de1497b2d0">
          <a:extLst xmlns:a="http://schemas.openxmlformats.org/drawingml/2006/main">
            <a:ext uri="{FF2B5EF4-FFF2-40B4-BE49-F238E27FC236}">
              <a16:creationId xmlns:a16="http://schemas.microsoft.com/office/drawing/2014/main" id="{47B61218-4AD3-4996-710D-86F798723291}"/>
            </a:ext>
          </a:extLst>
        </cdr:cNvPr>
        <cdr:cNvSpPr txBox="1"/>
      </cdr:nvSpPr>
      <cdr:spPr>
        <a:xfrm xmlns:a="http://schemas.openxmlformats.org/drawingml/2006/main">
          <a:off x="3741254" y="511140"/>
          <a:ext cx="316839" cy="184358"/>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100" kern="1200">
              <a:solidFill>
                <a:schemeClr val="bg1"/>
              </a:solidFill>
              <a:latin typeface="+mn-lt"/>
            </a:rPr>
            <a:t>52%</a:t>
          </a:r>
        </a:p>
      </cdr:txBody>
    </cdr:sp>
  </cdr:relSizeAnchor>
  <cdr:relSizeAnchor xmlns:cdr="http://schemas.openxmlformats.org/drawingml/2006/chartDrawing">
    <cdr:from>
      <cdr:x>0.525</cdr:x>
      <cdr:y>0.22708</cdr:y>
    </cdr:from>
    <cdr:to>
      <cdr:x>0.56946</cdr:x>
      <cdr:y>0.27292</cdr:y>
    </cdr:to>
    <cdr:sp macro="" textlink="">
      <cdr:nvSpPr>
        <cdr:cNvPr id="50" name="b1edeed9-cb4f-4366-a499-641764bfd4d0">
          <a:extLst xmlns:a="http://schemas.openxmlformats.org/drawingml/2006/main">
            <a:ext uri="{FF2B5EF4-FFF2-40B4-BE49-F238E27FC236}">
              <a16:creationId xmlns:a16="http://schemas.microsoft.com/office/drawing/2014/main" id="{D21251B9-C1C2-CB81-70F6-8F47810B087E}"/>
            </a:ext>
          </a:extLst>
        </cdr:cNvPr>
        <cdr:cNvSpPr txBox="1"/>
      </cdr:nvSpPr>
      <cdr:spPr>
        <a:xfrm xmlns:a="http://schemas.openxmlformats.org/drawingml/2006/main">
          <a:off x="3741254" y="913352"/>
          <a:ext cx="316839" cy="184358"/>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100" kern="1200">
              <a:solidFill>
                <a:schemeClr val="bg1"/>
              </a:solidFill>
              <a:latin typeface="+mn-lt"/>
            </a:rPr>
            <a:t>52%</a:t>
          </a:r>
        </a:p>
      </cdr:txBody>
    </cdr:sp>
  </cdr:relSizeAnchor>
  <cdr:relSizeAnchor xmlns:cdr="http://schemas.openxmlformats.org/drawingml/2006/chartDrawing">
    <cdr:from>
      <cdr:x>0.51796</cdr:x>
      <cdr:y>0.32708</cdr:y>
    </cdr:from>
    <cdr:to>
      <cdr:x>0.56242</cdr:x>
      <cdr:y>0.37292</cdr:y>
    </cdr:to>
    <cdr:sp macro="" textlink="">
      <cdr:nvSpPr>
        <cdr:cNvPr id="51" name="07dabc79-baac-4693-89f9-14bdf071d081">
          <a:extLst xmlns:a="http://schemas.openxmlformats.org/drawingml/2006/main">
            <a:ext uri="{FF2B5EF4-FFF2-40B4-BE49-F238E27FC236}">
              <a16:creationId xmlns:a16="http://schemas.microsoft.com/office/drawing/2014/main" id="{42941AE1-C855-6A48-BBA4-5081AC356F2C}"/>
            </a:ext>
          </a:extLst>
        </cdr:cNvPr>
        <cdr:cNvSpPr txBox="1"/>
      </cdr:nvSpPr>
      <cdr:spPr>
        <a:xfrm xmlns:a="http://schemas.openxmlformats.org/drawingml/2006/main">
          <a:off x="3691121" y="1315564"/>
          <a:ext cx="316839" cy="184358"/>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100" kern="1200">
              <a:solidFill>
                <a:schemeClr val="bg1"/>
              </a:solidFill>
              <a:latin typeface="+mn-lt"/>
            </a:rPr>
            <a:t>50%</a:t>
          </a:r>
        </a:p>
      </cdr:txBody>
    </cdr:sp>
  </cdr:relSizeAnchor>
  <cdr:relSizeAnchor xmlns:cdr="http://schemas.openxmlformats.org/drawingml/2006/chartDrawing">
    <cdr:from>
      <cdr:x>0.49967</cdr:x>
      <cdr:y>0.42708</cdr:y>
    </cdr:from>
    <cdr:to>
      <cdr:x>0.54413</cdr:x>
      <cdr:y>0.47292</cdr:y>
    </cdr:to>
    <cdr:sp macro="" textlink="">
      <cdr:nvSpPr>
        <cdr:cNvPr id="52" name="cc9577af-6253-49c1-bd77-53e65d539cd5">
          <a:extLst xmlns:a="http://schemas.openxmlformats.org/drawingml/2006/main">
            <a:ext uri="{FF2B5EF4-FFF2-40B4-BE49-F238E27FC236}">
              <a16:creationId xmlns:a16="http://schemas.microsoft.com/office/drawing/2014/main" id="{84EA44EC-EC01-44E3-7C54-C68790510098}"/>
            </a:ext>
          </a:extLst>
        </cdr:cNvPr>
        <cdr:cNvSpPr txBox="1"/>
      </cdr:nvSpPr>
      <cdr:spPr>
        <a:xfrm xmlns:a="http://schemas.openxmlformats.org/drawingml/2006/main">
          <a:off x="3560775" y="1717776"/>
          <a:ext cx="316839" cy="184358"/>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100" kern="1200">
              <a:solidFill>
                <a:schemeClr val="bg1"/>
              </a:solidFill>
              <a:latin typeface="+mn-lt"/>
            </a:rPr>
            <a:t>45%</a:t>
          </a:r>
        </a:p>
      </cdr:txBody>
    </cdr:sp>
  </cdr:relSizeAnchor>
  <cdr:relSizeAnchor xmlns:cdr="http://schemas.openxmlformats.org/drawingml/2006/chartDrawing">
    <cdr:from>
      <cdr:x>0.46309</cdr:x>
      <cdr:y>0.52708</cdr:y>
    </cdr:from>
    <cdr:to>
      <cdr:x>0.50755</cdr:x>
      <cdr:y>0.57292</cdr:y>
    </cdr:to>
    <cdr:sp macro="" textlink="">
      <cdr:nvSpPr>
        <cdr:cNvPr id="53" name="d9062cac-0391-4e18-b138-7bb009a31069">
          <a:extLst xmlns:a="http://schemas.openxmlformats.org/drawingml/2006/main">
            <a:ext uri="{FF2B5EF4-FFF2-40B4-BE49-F238E27FC236}">
              <a16:creationId xmlns:a16="http://schemas.microsoft.com/office/drawing/2014/main" id="{133FE74F-B36D-7C0E-5E53-ADE60F30BE39}"/>
            </a:ext>
          </a:extLst>
        </cdr:cNvPr>
        <cdr:cNvSpPr txBox="1"/>
      </cdr:nvSpPr>
      <cdr:spPr>
        <a:xfrm xmlns:a="http://schemas.openxmlformats.org/drawingml/2006/main">
          <a:off x="3300084" y="2119988"/>
          <a:ext cx="316839" cy="184358"/>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100" kern="1200">
              <a:solidFill>
                <a:schemeClr val="bg1"/>
              </a:solidFill>
              <a:latin typeface="+mn-lt"/>
            </a:rPr>
            <a:t>34%</a:t>
          </a:r>
        </a:p>
      </cdr:txBody>
    </cdr:sp>
  </cdr:relSizeAnchor>
  <cdr:relSizeAnchor xmlns:cdr="http://schemas.openxmlformats.org/drawingml/2006/chartDrawing">
    <cdr:from>
      <cdr:x>0.41525</cdr:x>
      <cdr:y>0.62708</cdr:y>
    </cdr:from>
    <cdr:to>
      <cdr:x>0.45971</cdr:x>
      <cdr:y>0.67292</cdr:y>
    </cdr:to>
    <cdr:sp macro="" textlink="">
      <cdr:nvSpPr>
        <cdr:cNvPr id="54" name="7311da2f-67d7-4681-b432-7d852566fa2d">
          <a:extLst xmlns:a="http://schemas.openxmlformats.org/drawingml/2006/main">
            <a:ext uri="{FF2B5EF4-FFF2-40B4-BE49-F238E27FC236}">
              <a16:creationId xmlns:a16="http://schemas.microsoft.com/office/drawing/2014/main" id="{29D0EDA6-D30C-1AA7-234B-67E451A4090E}"/>
            </a:ext>
          </a:extLst>
        </cdr:cNvPr>
        <cdr:cNvSpPr txBox="1"/>
      </cdr:nvSpPr>
      <cdr:spPr>
        <a:xfrm xmlns:a="http://schemas.openxmlformats.org/drawingml/2006/main">
          <a:off x="2959181" y="2522201"/>
          <a:ext cx="316839" cy="184358"/>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100" kern="1200">
              <a:solidFill>
                <a:schemeClr val="bg1"/>
              </a:solidFill>
              <a:latin typeface="+mn-lt"/>
            </a:rPr>
            <a:t>21%</a:t>
          </a:r>
        </a:p>
      </cdr:txBody>
    </cdr:sp>
  </cdr:relSizeAnchor>
  <cdr:relSizeAnchor xmlns:cdr="http://schemas.openxmlformats.org/drawingml/2006/chartDrawing">
    <cdr:from>
      <cdr:x>0.39415</cdr:x>
      <cdr:y>0.72708</cdr:y>
    </cdr:from>
    <cdr:to>
      <cdr:x>0.43861</cdr:x>
      <cdr:y>0.77292</cdr:y>
    </cdr:to>
    <cdr:sp macro="" textlink="">
      <cdr:nvSpPr>
        <cdr:cNvPr id="55" name="4d4cc654-3001-4281-b25a-3a07d48370de">
          <a:extLst xmlns:a="http://schemas.openxmlformats.org/drawingml/2006/main">
            <a:ext uri="{FF2B5EF4-FFF2-40B4-BE49-F238E27FC236}">
              <a16:creationId xmlns:a16="http://schemas.microsoft.com/office/drawing/2014/main" id="{5AA87EB6-832A-623D-5454-F88DC3024050}"/>
            </a:ext>
          </a:extLst>
        </cdr:cNvPr>
        <cdr:cNvSpPr txBox="1"/>
      </cdr:nvSpPr>
      <cdr:spPr>
        <a:xfrm xmlns:a="http://schemas.openxmlformats.org/drawingml/2006/main">
          <a:off x="2808782" y="2924413"/>
          <a:ext cx="316839" cy="184358"/>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100" kern="1200">
              <a:solidFill>
                <a:schemeClr val="bg1"/>
              </a:solidFill>
              <a:latin typeface="+mn-lt"/>
            </a:rPr>
            <a:t>15%</a:t>
          </a:r>
        </a:p>
      </cdr:txBody>
    </cdr:sp>
  </cdr:relSizeAnchor>
  <cdr:relSizeAnchor xmlns:cdr="http://schemas.openxmlformats.org/drawingml/2006/chartDrawing">
    <cdr:from>
      <cdr:x>0.3799</cdr:x>
      <cdr:y>0.82708</cdr:y>
    </cdr:from>
    <cdr:to>
      <cdr:x>0.41346</cdr:x>
      <cdr:y>0.87292</cdr:y>
    </cdr:to>
    <cdr:sp macro="" textlink="">
      <cdr:nvSpPr>
        <cdr:cNvPr id="56" name="5920ab64-c4ad-45be-ae8c-87b2f13ec2d4">
          <a:extLst xmlns:a="http://schemas.openxmlformats.org/drawingml/2006/main">
            <a:ext uri="{FF2B5EF4-FFF2-40B4-BE49-F238E27FC236}">
              <a16:creationId xmlns:a16="http://schemas.microsoft.com/office/drawing/2014/main" id="{EFDDEAF1-EEF3-0795-2C59-CEFC3E5A829C}"/>
            </a:ext>
          </a:extLst>
        </cdr:cNvPr>
        <cdr:cNvSpPr txBox="1"/>
      </cdr:nvSpPr>
      <cdr:spPr>
        <a:xfrm xmlns:a="http://schemas.openxmlformats.org/drawingml/2006/main">
          <a:off x="2707251" y="3326624"/>
          <a:ext cx="239158" cy="184358"/>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100" kern="1200">
              <a:solidFill>
                <a:schemeClr val="bg1"/>
              </a:solidFill>
              <a:latin typeface="+mn-lt"/>
            </a:rPr>
            <a:t>9%</a:t>
          </a:r>
        </a:p>
      </cdr:txBody>
    </cdr:sp>
  </cdr:relSizeAnchor>
  <cdr:relSizeAnchor xmlns:cdr="http://schemas.openxmlformats.org/drawingml/2006/chartDrawing">
    <cdr:from>
      <cdr:x>0.37427</cdr:x>
      <cdr:y>0.92708</cdr:y>
    </cdr:from>
    <cdr:to>
      <cdr:x>0.40783</cdr:x>
      <cdr:y>0.97292</cdr:y>
    </cdr:to>
    <cdr:sp macro="" textlink="">
      <cdr:nvSpPr>
        <cdr:cNvPr id="57" name="b7bb2a82-e7dc-47af-a41d-4cba71d22ed1">
          <a:extLst xmlns:a="http://schemas.openxmlformats.org/drawingml/2006/main">
            <a:ext uri="{FF2B5EF4-FFF2-40B4-BE49-F238E27FC236}">
              <a16:creationId xmlns:a16="http://schemas.microsoft.com/office/drawing/2014/main" id="{2EB95E0C-4CB4-6404-4B9C-C237CD43D1C4}"/>
            </a:ext>
          </a:extLst>
        </cdr:cNvPr>
        <cdr:cNvSpPr txBox="1"/>
      </cdr:nvSpPr>
      <cdr:spPr>
        <a:xfrm xmlns:a="http://schemas.openxmlformats.org/drawingml/2006/main">
          <a:off x="2667145" y="3728837"/>
          <a:ext cx="239158" cy="184358"/>
        </a:xfrm>
        <a:prstGeom xmlns:a="http://schemas.openxmlformats.org/drawingml/2006/main" prst="rect">
          <a:avLst/>
        </a:prstGeom>
        <a:solidFill xmlns:a="http://schemas.openxmlformats.org/drawingml/2006/main">
          <a:schemeClr val="accent1"/>
        </a:solidFill>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100" kern="1200">
              <a:solidFill>
                <a:schemeClr val="bg1"/>
              </a:solidFill>
              <a:latin typeface="+mn-lt"/>
            </a:rPr>
            <a:t>8%</a:t>
          </a:r>
        </a:p>
      </cdr:txBody>
    </cdr:sp>
  </cdr:relSizeAnchor>
  <cdr:relSizeAnchor xmlns:cdr="http://schemas.openxmlformats.org/drawingml/2006/chartDrawing">
    <cdr:from>
      <cdr:x>0.95554</cdr:x>
      <cdr:y>0.95774</cdr:y>
    </cdr:from>
    <cdr:to>
      <cdr:x>1</cdr:x>
      <cdr:y>1</cdr:y>
    </cdr:to>
    <cdr:sp macro="" textlink="">
      <cdr:nvSpPr>
        <cdr:cNvPr id="70" name="64b349ad-cece-4e4f-8e54-3710573df647" hidden="1">
          <a:extLst xmlns:a="http://schemas.openxmlformats.org/drawingml/2006/main">
            <a:ext uri="{FF2B5EF4-FFF2-40B4-BE49-F238E27FC236}">
              <a16:creationId xmlns:a16="http://schemas.microsoft.com/office/drawing/2014/main" id="{9B063676-3571-5C2A-2C33-7DDB8E754218}"/>
            </a:ext>
          </a:extLst>
        </cdr:cNvPr>
        <cdr:cNvSpPr/>
      </cdr:nvSpPr>
      <cdr:spPr>
        <a:xfrm xmlns:a="http://schemas.openxmlformats.org/drawingml/2006/main">
          <a:off x="7375614" y="3852164"/>
          <a:ext cx="316839" cy="169958"/>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chemeClr val="accent5">
              <a:alpha val="0"/>
            </a:schemeClr>
          </a:solidFill>
          <a:prstDash val="solid"/>
          <a:miter lim="800000"/>
          <a:headEnd type="none" w="med" len="med"/>
          <a:tailEnd type="none" w="med" len="med"/>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100" kern="1200">
              <a:solidFill>
                <a:schemeClr val="tx1"/>
              </a:solidFill>
              <a:latin typeface="+mn-lt"/>
            </a:rPr>
            <a:t>-272</a:t>
          </a:r>
        </a:p>
      </cdr:txBody>
    </cdr:sp>
  </cdr:relSizeAnchor>
  <cdr:relSizeAnchor xmlns:cdr="http://schemas.openxmlformats.org/drawingml/2006/chartDrawing">
    <cdr:from>
      <cdr:x>0.95554</cdr:x>
      <cdr:y>0.95774</cdr:y>
    </cdr:from>
    <cdr:to>
      <cdr:x>1</cdr:x>
      <cdr:y>1</cdr:y>
    </cdr:to>
    <cdr:sp macro="" textlink="">
      <cdr:nvSpPr>
        <cdr:cNvPr id="71" name="5cdacbd3-6106-4e26-9f26-48e696549499" hidden="1">
          <a:extLst xmlns:a="http://schemas.openxmlformats.org/drawingml/2006/main">
            <a:ext uri="{FF2B5EF4-FFF2-40B4-BE49-F238E27FC236}">
              <a16:creationId xmlns:a16="http://schemas.microsoft.com/office/drawing/2014/main" id="{2AC95C69-C986-7F3B-486F-CC980CAD60DE}"/>
            </a:ext>
          </a:extLst>
        </cdr:cNvPr>
        <cdr:cNvSpPr/>
      </cdr:nvSpPr>
      <cdr:spPr>
        <a:xfrm xmlns:a="http://schemas.openxmlformats.org/drawingml/2006/main">
          <a:off x="7375614" y="3852164"/>
          <a:ext cx="316839" cy="169958"/>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chemeClr val="accent5">
              <a:alpha val="0"/>
            </a:schemeClr>
          </a:solidFill>
          <a:prstDash val="solid"/>
          <a:miter lim="800000"/>
          <a:headEnd type="none" w="med" len="med"/>
          <a:tailEnd type="none" w="med" len="med"/>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100" kern="1200">
              <a:solidFill>
                <a:schemeClr val="tx1"/>
              </a:solidFill>
              <a:latin typeface="+mn-lt"/>
            </a:rPr>
            <a:t>-272</a:t>
          </a:r>
        </a:p>
      </cdr:txBody>
    </cdr:sp>
  </cdr:relSizeAnchor>
  <cdr:relSizeAnchor xmlns:cdr="http://schemas.openxmlformats.org/drawingml/2006/chartDrawing">
    <cdr:from>
      <cdr:x>0.95554</cdr:x>
      <cdr:y>0.95774</cdr:y>
    </cdr:from>
    <cdr:to>
      <cdr:x>1</cdr:x>
      <cdr:y>1</cdr:y>
    </cdr:to>
    <cdr:sp macro="" textlink="">
      <cdr:nvSpPr>
        <cdr:cNvPr id="72" name="0eac9799-cd6a-4aa0-bf49-ca3f5cc74563" hidden="1">
          <a:extLst xmlns:a="http://schemas.openxmlformats.org/drawingml/2006/main">
            <a:ext uri="{FF2B5EF4-FFF2-40B4-BE49-F238E27FC236}">
              <a16:creationId xmlns:a16="http://schemas.microsoft.com/office/drawing/2014/main" id="{51AAEF86-D4B4-379A-6752-D0BE5611FF6F}"/>
            </a:ext>
          </a:extLst>
        </cdr:cNvPr>
        <cdr:cNvSpPr/>
      </cdr:nvSpPr>
      <cdr:spPr>
        <a:xfrm xmlns:a="http://schemas.openxmlformats.org/drawingml/2006/main">
          <a:off x="7375614" y="3852164"/>
          <a:ext cx="316839" cy="169958"/>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chemeClr val="accent5">
              <a:alpha val="0"/>
            </a:schemeClr>
          </a:solidFill>
          <a:prstDash val="solid"/>
          <a:miter lim="800000"/>
          <a:headEnd type="none" w="med" len="med"/>
          <a:tailEnd type="none" w="med" len="med"/>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100" kern="1200">
              <a:solidFill>
                <a:schemeClr val="tx1"/>
              </a:solidFill>
              <a:latin typeface="+mn-lt"/>
            </a:rPr>
            <a:t>-272</a:t>
          </a:r>
        </a:p>
      </cdr:txBody>
    </cdr:sp>
  </cdr:relSizeAnchor>
  <cdr:relSizeAnchor xmlns:cdr="http://schemas.openxmlformats.org/drawingml/2006/chartDrawing">
    <cdr:from>
      <cdr:x>0.95554</cdr:x>
      <cdr:y>0.95774</cdr:y>
    </cdr:from>
    <cdr:to>
      <cdr:x>1</cdr:x>
      <cdr:y>1</cdr:y>
    </cdr:to>
    <cdr:sp macro="" textlink="">
      <cdr:nvSpPr>
        <cdr:cNvPr id="73" name="e9221334-50bd-4178-aa1d-3bcc0aa87491" hidden="1">
          <a:extLst xmlns:a="http://schemas.openxmlformats.org/drawingml/2006/main">
            <a:ext uri="{FF2B5EF4-FFF2-40B4-BE49-F238E27FC236}">
              <a16:creationId xmlns:a16="http://schemas.microsoft.com/office/drawing/2014/main" id="{A0E15B75-293D-A208-AD63-144851732A8A}"/>
            </a:ext>
          </a:extLst>
        </cdr:cNvPr>
        <cdr:cNvSpPr/>
      </cdr:nvSpPr>
      <cdr:spPr>
        <a:xfrm xmlns:a="http://schemas.openxmlformats.org/drawingml/2006/main">
          <a:off x="7375614" y="3852164"/>
          <a:ext cx="316839" cy="169958"/>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chemeClr val="accent5">
              <a:alpha val="0"/>
            </a:schemeClr>
          </a:solidFill>
          <a:prstDash val="solid"/>
          <a:miter lim="800000"/>
          <a:headEnd type="none" w="med" len="med"/>
          <a:tailEnd type="none" w="med" len="med"/>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100" kern="1200">
              <a:solidFill>
                <a:schemeClr val="tx1"/>
              </a:solidFill>
              <a:latin typeface="+mn-lt"/>
            </a:rPr>
            <a:t>-272</a:t>
          </a:r>
        </a:p>
      </cdr:txBody>
    </cdr:sp>
  </cdr:relSizeAnchor>
  <cdr:relSizeAnchor xmlns:cdr="http://schemas.openxmlformats.org/drawingml/2006/chartDrawing">
    <cdr:from>
      <cdr:x>0.95554</cdr:x>
      <cdr:y>0.95774</cdr:y>
    </cdr:from>
    <cdr:to>
      <cdr:x>1</cdr:x>
      <cdr:y>1</cdr:y>
    </cdr:to>
    <cdr:sp macro="" textlink="">
      <cdr:nvSpPr>
        <cdr:cNvPr id="74" name="a196db95-9ad2-4881-8524-5ea7547aaadd" hidden="1">
          <a:extLst xmlns:a="http://schemas.openxmlformats.org/drawingml/2006/main">
            <a:ext uri="{FF2B5EF4-FFF2-40B4-BE49-F238E27FC236}">
              <a16:creationId xmlns:a16="http://schemas.microsoft.com/office/drawing/2014/main" id="{E2577783-4F82-F735-E795-4B482DE5969C}"/>
            </a:ext>
          </a:extLst>
        </cdr:cNvPr>
        <cdr:cNvSpPr/>
      </cdr:nvSpPr>
      <cdr:spPr>
        <a:xfrm xmlns:a="http://schemas.openxmlformats.org/drawingml/2006/main">
          <a:off x="7375614" y="3852164"/>
          <a:ext cx="316839" cy="169958"/>
        </a:xfrm>
        <a:prstGeom xmlns:a="http://schemas.openxmlformats.org/drawingml/2006/main" prst="rect">
          <a:avLst/>
        </a:prstGeom>
        <a:solidFill xmlns:a="http://schemas.openxmlformats.org/drawingml/2006/main">
          <a:srgbClr val="000000">
            <a:alpha val="0"/>
          </a:srgbClr>
        </a:solidFill>
        <a:ln xmlns:a="http://schemas.openxmlformats.org/drawingml/2006/main" w="0" cap="flat" cmpd="sng" algn="ctr">
          <a:solidFill>
            <a:schemeClr val="accent5">
              <a:alpha val="0"/>
            </a:schemeClr>
          </a:solidFill>
          <a:prstDash val="solid"/>
          <a:miter lim="800000"/>
          <a:headEnd type="none" w="med" len="med"/>
          <a:tailEnd type="none" w="med" len="med"/>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lIns="0" tIns="0" rIns="36000" bIns="0" anchor="ctr" anchorCtr="1"/>
        <a:lstStyle xmlns:a="http://schemas.openxmlformats.org/drawingml/2006/main"/>
        <a:p xmlns:a="http://schemas.openxmlformats.org/drawingml/2006/main">
          <a:pPr algn="ctr" defTabSz="495300"/>
          <a:r>
            <a:rPr lang="de-DE" sz="1100" kern="1200">
              <a:solidFill>
                <a:schemeClr val="tx1"/>
              </a:solidFill>
              <a:latin typeface="+mn-lt"/>
            </a:rPr>
            <a:t>-272</a:t>
          </a:r>
        </a:p>
      </cdr:txBody>
    </cdr:sp>
  </cdr:relSizeAnchor>
</c:userShapes>
</file>

<file path=ppt/drawings/drawing6.xml><?xml version="1.0" encoding="utf-8"?>
<c:userShapes xmlns:c="http://schemas.openxmlformats.org/drawingml/2006/chart">
  <cdr:relSizeAnchor xmlns:cdr="http://schemas.openxmlformats.org/drawingml/2006/chartDrawing">
    <cdr:from>
      <cdr:x>0</cdr:x>
      <cdr:y>0</cdr:y>
    </cdr:from>
    <cdr:to>
      <cdr:x>1</cdr:x>
      <cdr:y>1</cdr:y>
    </cdr:to>
    <cdr:pic>
      <cdr:nvPicPr>
        <cdr:cNvPr id="3" name="Grafik 2">
          <a:extLst xmlns:a="http://schemas.openxmlformats.org/drawingml/2006/main">
            <a:ext uri="{FF2B5EF4-FFF2-40B4-BE49-F238E27FC236}">
              <a16:creationId xmlns:a16="http://schemas.microsoft.com/office/drawing/2014/main" id="{7F4BF817-7986-6C1C-D3CD-CA915C6BAA98}"/>
            </a:ext>
          </a:extLst>
        </cdr:cNvPr>
        <cdr:cNvPicPr>
          <a:picLocks xmlns:a="http://schemas.openxmlformats.org/drawingml/2006/main"/>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0" y="0"/>
          <a:ext cx="4459372" cy="3254254"/>
        </a:xfrm>
        <a:prstGeom xmlns:a="http://schemas.openxmlformats.org/drawingml/2006/main" prst="rect">
          <a:avLst/>
        </a:prstGeom>
      </cdr:spPr>
    </cdr:pic>
  </cdr:relSizeAnchor>
  <cdr:relSizeAnchor xmlns:cdr="http://schemas.openxmlformats.org/drawingml/2006/chartDrawing">
    <cdr:from>
      <cdr:x>0.1478</cdr:x>
      <cdr:y>0.86781</cdr:y>
    </cdr:from>
    <cdr:to>
      <cdr:x>0.1861</cdr:x>
      <cdr:y>0.92475</cdr:y>
    </cdr:to>
    <cdr:sp macro="" textlink="">
      <cdr:nvSpPr>
        <cdr:cNvPr id="5" name="6d4d86f8-8bd0-46d1-bae2-dbb3a01a7815">
          <a:extLst xmlns:a="http://schemas.openxmlformats.org/drawingml/2006/main">
            <a:ext uri="{FF2B5EF4-FFF2-40B4-BE49-F238E27FC236}">
              <a16:creationId xmlns:a16="http://schemas.microsoft.com/office/drawing/2014/main" id="{2AD45D9A-DFFD-1FE6-3DA6-2088619C262E}"/>
            </a:ext>
          </a:extLst>
        </cdr:cNvPr>
        <cdr:cNvSpPr txBox="1"/>
      </cdr:nvSpPr>
      <cdr:spPr>
        <a:xfrm xmlns:a="http://schemas.openxmlformats.org/drawingml/2006/main">
          <a:off x="659095" y="2824087"/>
          <a:ext cx="170794" cy="185293"/>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1"/>
        <a:lstStyle xmlns:a="http://schemas.openxmlformats.org/drawingml/2006/main"/>
        <a:p xmlns:a="http://schemas.openxmlformats.org/drawingml/2006/main">
          <a:pPr algn="ctr" defTabSz="495300"/>
          <a:r>
            <a:rPr lang="de-DE" sz="1200" b="1">
              <a:solidFill>
                <a:schemeClr val="tx1"/>
              </a:solidFill>
              <a:latin typeface="+mn-lt"/>
            </a:rPr>
            <a:t>Ja</a:t>
          </a:r>
        </a:p>
      </cdr:txBody>
    </cdr:sp>
  </cdr:relSizeAnchor>
  <cdr:relSizeAnchor xmlns:cdr="http://schemas.openxmlformats.org/drawingml/2006/chartDrawing">
    <cdr:from>
      <cdr:x>0.46311</cdr:x>
      <cdr:y>0.86781</cdr:y>
    </cdr:from>
    <cdr:to>
      <cdr:x>0.53746</cdr:x>
      <cdr:y>0.92475</cdr:y>
    </cdr:to>
    <cdr:sp macro="" textlink="">
      <cdr:nvSpPr>
        <cdr:cNvPr id="6" name="df808e1a-95db-43f3-ade3-a4ce886ba6a4">
          <a:extLst xmlns:a="http://schemas.openxmlformats.org/drawingml/2006/main">
            <a:ext uri="{FF2B5EF4-FFF2-40B4-BE49-F238E27FC236}">
              <a16:creationId xmlns:a16="http://schemas.microsoft.com/office/drawing/2014/main" id="{299381E2-AAB7-97EE-85B9-1CD8A9119BA9}"/>
            </a:ext>
          </a:extLst>
        </cdr:cNvPr>
        <cdr:cNvSpPr txBox="1"/>
      </cdr:nvSpPr>
      <cdr:spPr>
        <a:xfrm xmlns:a="http://schemas.openxmlformats.org/drawingml/2006/main">
          <a:off x="2065180" y="2824087"/>
          <a:ext cx="331554" cy="185293"/>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1"/>
        <a:lstStyle xmlns:a="http://schemas.openxmlformats.org/drawingml/2006/main"/>
        <a:p xmlns:a="http://schemas.openxmlformats.org/drawingml/2006/main">
          <a:pPr algn="ctr" defTabSz="495300"/>
          <a:r>
            <a:rPr lang="de-DE" sz="1200" b="1">
              <a:solidFill>
                <a:schemeClr val="tx1"/>
              </a:solidFill>
              <a:latin typeface="+mn-lt"/>
            </a:rPr>
            <a:t>Nein</a:t>
          </a:r>
        </a:p>
      </cdr:txBody>
    </cdr:sp>
  </cdr:relSizeAnchor>
  <cdr:relSizeAnchor xmlns:cdr="http://schemas.openxmlformats.org/drawingml/2006/chartDrawing">
    <cdr:from>
      <cdr:x>0.72017</cdr:x>
      <cdr:y>0.86781</cdr:y>
    </cdr:from>
    <cdr:to>
      <cdr:x>0.94707</cdr:x>
      <cdr:y>0.92475</cdr:y>
    </cdr:to>
    <cdr:sp macro="" textlink="">
      <cdr:nvSpPr>
        <cdr:cNvPr id="7" name="8460ef89-23e2-4bee-bd16-2535b551439f">
          <a:extLst xmlns:a="http://schemas.openxmlformats.org/drawingml/2006/main">
            <a:ext uri="{FF2B5EF4-FFF2-40B4-BE49-F238E27FC236}">
              <a16:creationId xmlns:a16="http://schemas.microsoft.com/office/drawing/2014/main" id="{5B7D8E1D-23DE-0089-90C4-A3C5B80CFF5D}"/>
            </a:ext>
          </a:extLst>
        </cdr:cNvPr>
        <cdr:cNvSpPr txBox="1"/>
      </cdr:nvSpPr>
      <cdr:spPr>
        <a:xfrm xmlns:a="http://schemas.openxmlformats.org/drawingml/2006/main">
          <a:off x="3211506" y="2824087"/>
          <a:ext cx="1011831" cy="185293"/>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1"/>
        <a:lstStyle xmlns:a="http://schemas.openxmlformats.org/drawingml/2006/main"/>
        <a:p xmlns:a="http://schemas.openxmlformats.org/drawingml/2006/main">
          <a:pPr algn="ctr" defTabSz="495300"/>
          <a:r>
            <a:rPr lang="de-DE" sz="1200" b="1">
              <a:solidFill>
                <a:schemeClr val="tx1"/>
              </a:solidFill>
              <a:latin typeface="+mn-lt"/>
            </a:rPr>
            <a:t>Keine Angabe</a:t>
          </a:r>
        </a:p>
      </cdr:txBody>
    </cdr:sp>
  </cdr:relSizeAnchor>
  <cdr:relSizeAnchor xmlns:cdr="http://schemas.openxmlformats.org/drawingml/2006/chartDrawing">
    <cdr:from>
      <cdr:x>0.86127</cdr:x>
      <cdr:y>0.66814</cdr:y>
    </cdr:from>
    <cdr:to>
      <cdr:x>0.92661</cdr:x>
      <cdr:y>0.72008</cdr:y>
    </cdr:to>
    <cdr:sp macro="" textlink="">
      <cdr:nvSpPr>
        <cdr:cNvPr id="31" name="048c0082-302b-4bcc-af3f-1b737c5241cd">
          <a:extLst xmlns:a="http://schemas.openxmlformats.org/drawingml/2006/main">
            <a:ext uri="{FF2B5EF4-FFF2-40B4-BE49-F238E27FC236}">
              <a16:creationId xmlns:a16="http://schemas.microsoft.com/office/drawing/2014/main" id="{A0AEEC42-E022-B1F4-404D-6E9508E3B250}"/>
            </a:ext>
          </a:extLst>
        </cdr:cNvPr>
        <cdr:cNvSpPr txBox="1"/>
      </cdr:nvSpPr>
      <cdr:spPr>
        <a:xfrm xmlns:a="http://schemas.openxmlformats.org/drawingml/2006/main">
          <a:off x="3840723" y="2174299"/>
          <a:ext cx="291376" cy="169022"/>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kern="1200">
              <a:solidFill>
                <a:schemeClr val="bg1"/>
              </a:solidFill>
              <a:latin typeface="+mn-lt"/>
            </a:rPr>
            <a:t>26%</a:t>
          </a:r>
        </a:p>
      </cdr:txBody>
    </cdr:sp>
  </cdr:relSizeAnchor>
  <cdr:relSizeAnchor xmlns:cdr="http://schemas.openxmlformats.org/drawingml/2006/chartDrawing">
    <cdr:from>
      <cdr:x>0.52793</cdr:x>
      <cdr:y>0.54382</cdr:y>
    </cdr:from>
    <cdr:to>
      <cdr:x>0.59328</cdr:x>
      <cdr:y>0.59576</cdr:y>
    </cdr:to>
    <cdr:sp macro="" textlink="">
      <cdr:nvSpPr>
        <cdr:cNvPr id="32" name="f0ac04a2-04e1-47f0-8601-f9ed6c46e9aa">
          <a:extLst xmlns:a="http://schemas.openxmlformats.org/drawingml/2006/main">
            <a:ext uri="{FF2B5EF4-FFF2-40B4-BE49-F238E27FC236}">
              <a16:creationId xmlns:a16="http://schemas.microsoft.com/office/drawing/2014/main" id="{30E38C03-F807-1EFF-72F2-6DC9CE55752F}"/>
            </a:ext>
          </a:extLst>
        </cdr:cNvPr>
        <cdr:cNvSpPr txBox="1"/>
      </cdr:nvSpPr>
      <cdr:spPr>
        <a:xfrm xmlns:a="http://schemas.openxmlformats.org/drawingml/2006/main">
          <a:off x="2354236" y="1769736"/>
          <a:ext cx="291420" cy="169022"/>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kern="1200">
              <a:solidFill>
                <a:schemeClr val="bg1"/>
              </a:solidFill>
              <a:latin typeface="+mn-lt"/>
            </a:rPr>
            <a:t>50%</a:t>
          </a:r>
        </a:p>
      </cdr:txBody>
    </cdr:sp>
  </cdr:relSizeAnchor>
  <cdr:relSizeAnchor xmlns:cdr="http://schemas.openxmlformats.org/drawingml/2006/chartDrawing">
    <cdr:from>
      <cdr:x>0.1946</cdr:x>
      <cdr:y>0.6785</cdr:y>
    </cdr:from>
    <cdr:to>
      <cdr:x>0.25995</cdr:x>
      <cdr:y>0.73044</cdr:y>
    </cdr:to>
    <cdr:sp macro="" textlink="">
      <cdr:nvSpPr>
        <cdr:cNvPr id="34" name="9ec33ce0-0d44-4719-b7e5-75b99508409e">
          <a:extLst xmlns:a="http://schemas.openxmlformats.org/drawingml/2006/main">
            <a:ext uri="{FF2B5EF4-FFF2-40B4-BE49-F238E27FC236}">
              <a16:creationId xmlns:a16="http://schemas.microsoft.com/office/drawing/2014/main" id="{7B9A0084-D915-DA8F-CA14-3184B4EDCB4A}"/>
            </a:ext>
          </a:extLst>
        </cdr:cNvPr>
        <cdr:cNvSpPr txBox="1"/>
      </cdr:nvSpPr>
      <cdr:spPr>
        <a:xfrm xmlns:a="http://schemas.openxmlformats.org/drawingml/2006/main">
          <a:off x="867794" y="2208013"/>
          <a:ext cx="291420" cy="169022"/>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kern="1200">
              <a:solidFill>
                <a:schemeClr val="bg1"/>
              </a:solidFill>
              <a:latin typeface="+mn-lt"/>
            </a:rPr>
            <a:t>24%</a:t>
          </a:r>
        </a:p>
      </cdr:txBody>
    </cdr:sp>
  </cdr:relSizeAnchor>
  <cdr:relSizeAnchor xmlns:cdr="http://schemas.openxmlformats.org/drawingml/2006/chartDrawing">
    <cdr:from>
      <cdr:x>0.74005</cdr:x>
      <cdr:y>0.71994</cdr:y>
    </cdr:from>
    <cdr:to>
      <cdr:x>0.8054</cdr:x>
      <cdr:y>0.77188</cdr:y>
    </cdr:to>
    <cdr:sp macro="" textlink="">
      <cdr:nvSpPr>
        <cdr:cNvPr id="35" name="ddb37580-2b14-4a85-807e-a395d6e5848c">
          <a:extLst xmlns:a="http://schemas.openxmlformats.org/drawingml/2006/main">
            <a:ext uri="{FF2B5EF4-FFF2-40B4-BE49-F238E27FC236}">
              <a16:creationId xmlns:a16="http://schemas.microsoft.com/office/drawing/2014/main" id="{5E88E4C6-B19D-C167-8BA7-0BA968DEB63B}"/>
            </a:ext>
          </a:extLst>
        </cdr:cNvPr>
        <cdr:cNvSpPr txBox="1"/>
      </cdr:nvSpPr>
      <cdr:spPr>
        <a:xfrm xmlns:a="http://schemas.openxmlformats.org/drawingml/2006/main">
          <a:off x="3300158" y="2342867"/>
          <a:ext cx="291420" cy="169022"/>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kern="1200">
              <a:solidFill>
                <a:schemeClr val="tx1"/>
              </a:solidFill>
              <a:latin typeface="+mn-lt"/>
            </a:rPr>
            <a:t>16%</a:t>
          </a:r>
        </a:p>
      </cdr:txBody>
    </cdr:sp>
  </cdr:relSizeAnchor>
  <cdr:relSizeAnchor xmlns:cdr="http://schemas.openxmlformats.org/drawingml/2006/chartDrawing">
    <cdr:from>
      <cdr:x>0.40672</cdr:x>
      <cdr:y>0.4195</cdr:y>
    </cdr:from>
    <cdr:to>
      <cdr:x>0.47207</cdr:x>
      <cdr:y>0.47144</cdr:y>
    </cdr:to>
    <cdr:sp macro="" textlink="">
      <cdr:nvSpPr>
        <cdr:cNvPr id="36" name="b5d287af-7933-49cd-a942-5b4e8ffa9b24">
          <a:extLst xmlns:a="http://schemas.openxmlformats.org/drawingml/2006/main">
            <a:ext uri="{FF2B5EF4-FFF2-40B4-BE49-F238E27FC236}">
              <a16:creationId xmlns:a16="http://schemas.microsoft.com/office/drawing/2014/main" id="{AAE88487-DB79-F4D6-41A0-F7422243ABFF}"/>
            </a:ext>
          </a:extLst>
        </cdr:cNvPr>
        <cdr:cNvSpPr txBox="1"/>
      </cdr:nvSpPr>
      <cdr:spPr>
        <a:xfrm xmlns:a="http://schemas.openxmlformats.org/drawingml/2006/main">
          <a:off x="1813716" y="1365173"/>
          <a:ext cx="291420" cy="169022"/>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kern="1200">
              <a:solidFill>
                <a:schemeClr val="tx1"/>
              </a:solidFill>
              <a:latin typeface="+mn-lt"/>
            </a:rPr>
            <a:t>74%</a:t>
          </a:r>
        </a:p>
      </cdr:txBody>
    </cdr:sp>
  </cdr:relSizeAnchor>
  <cdr:relSizeAnchor xmlns:cdr="http://schemas.openxmlformats.org/drawingml/2006/chartDrawing">
    <cdr:from>
      <cdr:x>0.07339</cdr:x>
      <cdr:y>0.75102</cdr:y>
    </cdr:from>
    <cdr:to>
      <cdr:x>0.13873</cdr:x>
      <cdr:y>0.80296</cdr:y>
    </cdr:to>
    <cdr:sp macro="" textlink="">
      <cdr:nvSpPr>
        <cdr:cNvPr id="37" name="acbb09f5-7733-4723-8875-99675fe5d52d">
          <a:extLst xmlns:a="http://schemas.openxmlformats.org/drawingml/2006/main">
            <a:ext uri="{FF2B5EF4-FFF2-40B4-BE49-F238E27FC236}">
              <a16:creationId xmlns:a16="http://schemas.microsoft.com/office/drawing/2014/main" id="{93A69BD9-EF60-3907-58C8-C71160DB8CB5}"/>
            </a:ext>
          </a:extLst>
        </cdr:cNvPr>
        <cdr:cNvSpPr txBox="1"/>
      </cdr:nvSpPr>
      <cdr:spPr>
        <a:xfrm xmlns:a="http://schemas.openxmlformats.org/drawingml/2006/main">
          <a:off x="327273" y="2444008"/>
          <a:ext cx="291376" cy="169022"/>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kern="1200">
              <a:solidFill>
                <a:schemeClr val="tx1"/>
              </a:solidFill>
              <a:latin typeface="+mn-lt"/>
            </a:rPr>
            <a:t>10%</a:t>
          </a:r>
        </a:p>
      </cdr:txBody>
    </cdr:sp>
  </cdr:relSizeAnchor>
  <cdr:relSizeAnchor xmlns:cdr="http://schemas.openxmlformats.org/drawingml/2006/chartDrawing">
    <cdr:from>
      <cdr:x>0.5558</cdr:x>
      <cdr:y>0.94468</cdr:y>
    </cdr:from>
    <cdr:to>
      <cdr:x>0.74133</cdr:x>
      <cdr:y>0.9922</cdr:y>
    </cdr:to>
    <cdr:sp macro="" textlink="">
      <cdr:nvSpPr>
        <cdr:cNvPr id="40" name="6d7b9420-58de-47f0-9071-e468f74699be">
          <a:extLst xmlns:a="http://schemas.openxmlformats.org/drawingml/2006/main">
            <a:ext uri="{FF2B5EF4-FFF2-40B4-BE49-F238E27FC236}">
              <a16:creationId xmlns:a16="http://schemas.microsoft.com/office/drawing/2014/main" id="{10912D58-3DDD-22D5-AFAB-C56FBB7E6440}"/>
            </a:ext>
          </a:extLst>
        </cdr:cNvPr>
        <cdr:cNvSpPr txBox="1"/>
      </cdr:nvSpPr>
      <cdr:spPr>
        <a:xfrm xmlns:a="http://schemas.openxmlformats.org/drawingml/2006/main">
          <a:off x="2478519" y="3074232"/>
          <a:ext cx="827347" cy="154623"/>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1"/>
        <a:lstStyle xmlns:a="http://schemas.openxmlformats.org/drawingml/2006/main"/>
        <a:p xmlns:a="http://schemas.openxmlformats.org/drawingml/2006/main">
          <a:pPr algn="ctr" defTabSz="495300"/>
          <a:r>
            <a:rPr lang="de-DE" sz="1000" kern="1200">
              <a:solidFill>
                <a:schemeClr val="tx1"/>
              </a:solidFill>
              <a:latin typeface="Arial" panose="020B0604020202020204" pitchFamily="34" charset="0"/>
            </a:rPr>
            <a:t>Angaben 2025</a:t>
          </a:r>
        </a:p>
      </cdr:txBody>
    </cdr:sp>
  </cdr:relSizeAnchor>
  <cdr:relSizeAnchor xmlns:cdr="http://schemas.openxmlformats.org/drawingml/2006/chartDrawing">
    <cdr:from>
      <cdr:x>0.28362</cdr:x>
      <cdr:y>0.94468</cdr:y>
    </cdr:from>
    <cdr:to>
      <cdr:x>0.5166</cdr:x>
      <cdr:y>0.9922</cdr:y>
    </cdr:to>
    <cdr:sp macro="" textlink="">
      <cdr:nvSpPr>
        <cdr:cNvPr id="41" name="713678ef-9f7d-4be9-89d8-73212d1b38fe">
          <a:extLst xmlns:a="http://schemas.openxmlformats.org/drawingml/2006/main">
            <a:ext uri="{FF2B5EF4-FFF2-40B4-BE49-F238E27FC236}">
              <a16:creationId xmlns:a16="http://schemas.microsoft.com/office/drawing/2014/main" id="{B7682C25-BFAA-0842-33F4-95C132CAF226}"/>
            </a:ext>
          </a:extLst>
        </cdr:cNvPr>
        <cdr:cNvSpPr txBox="1"/>
      </cdr:nvSpPr>
      <cdr:spPr>
        <a:xfrm xmlns:a="http://schemas.openxmlformats.org/drawingml/2006/main">
          <a:off x="1264767" y="3074232"/>
          <a:ext cx="1038945" cy="154623"/>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1"/>
        <a:lstStyle xmlns:a="http://schemas.openxmlformats.org/drawingml/2006/main"/>
        <a:p xmlns:a="http://schemas.openxmlformats.org/drawingml/2006/main">
          <a:pPr algn="ctr" defTabSz="495300"/>
          <a:r>
            <a:rPr lang="de-DE" sz="1000" kern="1200">
              <a:solidFill>
                <a:schemeClr val="tx1"/>
              </a:solidFill>
              <a:latin typeface="Arial" panose="020B0604020202020204" pitchFamily="34" charset="0"/>
            </a:rPr>
            <a:t>Erwartungen 2023</a:t>
          </a:r>
        </a:p>
      </cdr:txBody>
    </cdr:sp>
  </cdr:relSizeAnchor>
</c:userShapes>
</file>

<file path=ppt/drawings/drawing7.xml><?xml version="1.0" encoding="utf-8"?>
<c:userShapes xmlns:c="http://schemas.openxmlformats.org/drawingml/2006/chart">
  <cdr:relSizeAnchor xmlns:cdr="http://schemas.openxmlformats.org/drawingml/2006/chartDrawing">
    <cdr:from>
      <cdr:x>0</cdr:x>
      <cdr:y>0</cdr:y>
    </cdr:from>
    <cdr:to>
      <cdr:x>1</cdr:x>
      <cdr:y>1</cdr:y>
    </cdr:to>
    <cdr:pic>
      <cdr:nvPicPr>
        <cdr:cNvPr id="3" name="Grafik 2">
          <a:extLst xmlns:a="http://schemas.openxmlformats.org/drawingml/2006/main">
            <a:ext uri="{FF2B5EF4-FFF2-40B4-BE49-F238E27FC236}">
              <a16:creationId xmlns:a16="http://schemas.microsoft.com/office/drawing/2014/main" id="{C9D47C80-928D-D841-3F5C-AD1CF2C1B324}"/>
            </a:ext>
          </a:extLst>
        </cdr:cNvPr>
        <cdr:cNvPicPr>
          <a:picLocks xmlns:a="http://schemas.openxmlformats.org/drawingml/2006/main"/>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0" y="0"/>
          <a:ext cx="4459372" cy="1819650"/>
        </a:xfrm>
        <a:prstGeom xmlns:a="http://schemas.openxmlformats.org/drawingml/2006/main" prst="rect">
          <a:avLst/>
        </a:prstGeom>
      </cdr:spPr>
    </cdr:pic>
  </cdr:relSizeAnchor>
  <cdr:relSizeAnchor xmlns:cdr="http://schemas.openxmlformats.org/drawingml/2006/chartDrawing">
    <cdr:from>
      <cdr:x>0.1478</cdr:x>
      <cdr:y>0.89119</cdr:y>
    </cdr:from>
    <cdr:to>
      <cdr:x>0.1861</cdr:x>
      <cdr:y>0.99302</cdr:y>
    </cdr:to>
    <cdr:sp macro="" textlink="">
      <cdr:nvSpPr>
        <cdr:cNvPr id="5" name="6d4d86f8-8bd0-46d1-bae2-dbb3a01a7815">
          <a:extLst xmlns:a="http://schemas.openxmlformats.org/drawingml/2006/main">
            <a:ext uri="{FF2B5EF4-FFF2-40B4-BE49-F238E27FC236}">
              <a16:creationId xmlns:a16="http://schemas.microsoft.com/office/drawing/2014/main" id="{2AD45D9A-DFFD-1FE6-3DA6-2088619C262E}"/>
            </a:ext>
          </a:extLst>
        </cdr:cNvPr>
        <cdr:cNvSpPr txBox="1"/>
      </cdr:nvSpPr>
      <cdr:spPr>
        <a:xfrm xmlns:a="http://schemas.openxmlformats.org/drawingml/2006/main">
          <a:off x="659095" y="1621657"/>
          <a:ext cx="170794" cy="185293"/>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1"/>
        <a:lstStyle xmlns:a="http://schemas.openxmlformats.org/drawingml/2006/main"/>
        <a:p xmlns:a="http://schemas.openxmlformats.org/drawingml/2006/main">
          <a:pPr algn="ctr" defTabSz="495300"/>
          <a:r>
            <a:rPr lang="de-DE" sz="1200" b="1">
              <a:solidFill>
                <a:schemeClr val="tx1"/>
              </a:solidFill>
              <a:latin typeface="+mn-lt"/>
            </a:rPr>
            <a:t>Ja</a:t>
          </a:r>
        </a:p>
      </cdr:txBody>
    </cdr:sp>
  </cdr:relSizeAnchor>
  <cdr:relSizeAnchor xmlns:cdr="http://schemas.openxmlformats.org/drawingml/2006/chartDrawing">
    <cdr:from>
      <cdr:x>0.46311</cdr:x>
      <cdr:y>0.89119</cdr:y>
    </cdr:from>
    <cdr:to>
      <cdr:x>0.53746</cdr:x>
      <cdr:y>0.99302</cdr:y>
    </cdr:to>
    <cdr:sp macro="" textlink="">
      <cdr:nvSpPr>
        <cdr:cNvPr id="6" name="df808e1a-95db-43f3-ade3-a4ce886ba6a4">
          <a:extLst xmlns:a="http://schemas.openxmlformats.org/drawingml/2006/main">
            <a:ext uri="{FF2B5EF4-FFF2-40B4-BE49-F238E27FC236}">
              <a16:creationId xmlns:a16="http://schemas.microsoft.com/office/drawing/2014/main" id="{299381E2-AAB7-97EE-85B9-1CD8A9119BA9}"/>
            </a:ext>
          </a:extLst>
        </cdr:cNvPr>
        <cdr:cNvSpPr txBox="1"/>
      </cdr:nvSpPr>
      <cdr:spPr>
        <a:xfrm xmlns:a="http://schemas.openxmlformats.org/drawingml/2006/main">
          <a:off x="2065180" y="1621657"/>
          <a:ext cx="331554" cy="185293"/>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1"/>
        <a:lstStyle xmlns:a="http://schemas.openxmlformats.org/drawingml/2006/main"/>
        <a:p xmlns:a="http://schemas.openxmlformats.org/drawingml/2006/main">
          <a:pPr algn="ctr" defTabSz="495300"/>
          <a:r>
            <a:rPr lang="de-DE" sz="1200" b="1">
              <a:solidFill>
                <a:schemeClr val="tx1"/>
              </a:solidFill>
              <a:latin typeface="+mn-lt"/>
            </a:rPr>
            <a:t>Nein</a:t>
          </a:r>
        </a:p>
      </cdr:txBody>
    </cdr:sp>
  </cdr:relSizeAnchor>
  <cdr:relSizeAnchor xmlns:cdr="http://schemas.openxmlformats.org/drawingml/2006/chartDrawing">
    <cdr:from>
      <cdr:x>0.72017</cdr:x>
      <cdr:y>0.89119</cdr:y>
    </cdr:from>
    <cdr:to>
      <cdr:x>0.94707</cdr:x>
      <cdr:y>0.99302</cdr:y>
    </cdr:to>
    <cdr:sp macro="" textlink="">
      <cdr:nvSpPr>
        <cdr:cNvPr id="7" name="8460ef89-23e2-4bee-bd16-2535b551439f">
          <a:extLst xmlns:a="http://schemas.openxmlformats.org/drawingml/2006/main">
            <a:ext uri="{FF2B5EF4-FFF2-40B4-BE49-F238E27FC236}">
              <a16:creationId xmlns:a16="http://schemas.microsoft.com/office/drawing/2014/main" id="{5B7D8E1D-23DE-0089-90C4-A3C5B80CFF5D}"/>
            </a:ext>
          </a:extLst>
        </cdr:cNvPr>
        <cdr:cNvSpPr txBox="1"/>
      </cdr:nvSpPr>
      <cdr:spPr>
        <a:xfrm xmlns:a="http://schemas.openxmlformats.org/drawingml/2006/main">
          <a:off x="3211506" y="1621657"/>
          <a:ext cx="1011831" cy="185293"/>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0" tIns="0" rIns="0" bIns="0" rtlCol="0" anchorCtr="1"/>
        <a:lstStyle xmlns:a="http://schemas.openxmlformats.org/drawingml/2006/main"/>
        <a:p xmlns:a="http://schemas.openxmlformats.org/drawingml/2006/main">
          <a:pPr algn="ctr" defTabSz="495300"/>
          <a:r>
            <a:rPr lang="de-DE" sz="1200" b="1">
              <a:solidFill>
                <a:schemeClr val="tx1"/>
              </a:solidFill>
              <a:latin typeface="+mn-lt"/>
            </a:rPr>
            <a:t>Keine Angabe</a:t>
          </a:r>
        </a:p>
      </cdr:txBody>
    </cdr:sp>
  </cdr:relSizeAnchor>
  <cdr:relSizeAnchor xmlns:cdr="http://schemas.openxmlformats.org/drawingml/2006/chartDrawing">
    <cdr:from>
      <cdr:x>0.80066</cdr:x>
      <cdr:y>0.48747</cdr:y>
    </cdr:from>
    <cdr:to>
      <cdr:x>0.866</cdr:x>
      <cdr:y>0.58035</cdr:y>
    </cdr:to>
    <cdr:sp macro="" textlink="">
      <cdr:nvSpPr>
        <cdr:cNvPr id="35" name="ddb37580-2b14-4a85-807e-a395d6e5848c">
          <a:extLst xmlns:a="http://schemas.openxmlformats.org/drawingml/2006/main">
            <a:ext uri="{FF2B5EF4-FFF2-40B4-BE49-F238E27FC236}">
              <a16:creationId xmlns:a16="http://schemas.microsoft.com/office/drawing/2014/main" id="{5E88E4C6-B19D-C167-8BA7-0BA968DEB63B}"/>
            </a:ext>
          </a:extLst>
        </cdr:cNvPr>
        <cdr:cNvSpPr txBox="1"/>
      </cdr:nvSpPr>
      <cdr:spPr>
        <a:xfrm xmlns:a="http://schemas.openxmlformats.org/drawingml/2006/main">
          <a:off x="3570441" y="887016"/>
          <a:ext cx="291375" cy="169022"/>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kern="1200">
              <a:solidFill>
                <a:schemeClr val="bg1"/>
              </a:solidFill>
              <a:latin typeface="+mn-lt"/>
            </a:rPr>
            <a:t>35%</a:t>
          </a:r>
        </a:p>
      </cdr:txBody>
    </cdr:sp>
  </cdr:relSizeAnchor>
  <cdr:relSizeAnchor xmlns:cdr="http://schemas.openxmlformats.org/drawingml/2006/chartDrawing">
    <cdr:from>
      <cdr:x>0.46733</cdr:x>
      <cdr:y>0.61067</cdr:y>
    </cdr:from>
    <cdr:to>
      <cdr:x>0.53268</cdr:x>
      <cdr:y>0.70356</cdr:y>
    </cdr:to>
    <cdr:sp macro="" textlink="">
      <cdr:nvSpPr>
        <cdr:cNvPr id="36" name="b5d287af-7933-49cd-a942-5b4e8ffa9b24">
          <a:extLst xmlns:a="http://schemas.openxmlformats.org/drawingml/2006/main">
            <a:ext uri="{FF2B5EF4-FFF2-40B4-BE49-F238E27FC236}">
              <a16:creationId xmlns:a16="http://schemas.microsoft.com/office/drawing/2014/main" id="{AAE88487-DB79-F4D6-41A0-F7422243ABFF}"/>
            </a:ext>
          </a:extLst>
        </cdr:cNvPr>
        <cdr:cNvSpPr txBox="1"/>
      </cdr:nvSpPr>
      <cdr:spPr>
        <a:xfrm xmlns:a="http://schemas.openxmlformats.org/drawingml/2006/main">
          <a:off x="2083998" y="1111214"/>
          <a:ext cx="291420" cy="169022"/>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kern="1200">
              <a:solidFill>
                <a:schemeClr val="bg1"/>
              </a:solidFill>
              <a:latin typeface="+mn-lt"/>
            </a:rPr>
            <a:t>20%</a:t>
          </a:r>
        </a:p>
      </cdr:txBody>
    </cdr:sp>
  </cdr:relSizeAnchor>
  <cdr:relSizeAnchor xmlns:cdr="http://schemas.openxmlformats.org/drawingml/2006/chartDrawing">
    <cdr:from>
      <cdr:x>0.13399</cdr:x>
      <cdr:y>0.39711</cdr:y>
    </cdr:from>
    <cdr:to>
      <cdr:x>0.19934</cdr:x>
      <cdr:y>0.49</cdr:y>
    </cdr:to>
    <cdr:sp macro="" textlink="">
      <cdr:nvSpPr>
        <cdr:cNvPr id="37" name="acbb09f5-7733-4723-8875-99675fe5d52d">
          <a:extLst xmlns:a="http://schemas.openxmlformats.org/drawingml/2006/main">
            <a:ext uri="{FF2B5EF4-FFF2-40B4-BE49-F238E27FC236}">
              <a16:creationId xmlns:a16="http://schemas.microsoft.com/office/drawing/2014/main" id="{93A69BD9-EF60-3907-58C8-C71160DB8CB5}"/>
            </a:ext>
          </a:extLst>
        </cdr:cNvPr>
        <cdr:cNvSpPr txBox="1"/>
      </cdr:nvSpPr>
      <cdr:spPr>
        <a:xfrm xmlns:a="http://schemas.openxmlformats.org/drawingml/2006/main">
          <a:off x="597511" y="722604"/>
          <a:ext cx="291420" cy="169022"/>
        </a:xfrm>
        <a:prstGeom xmlns:a="http://schemas.openxmlformats.org/drawingml/2006/main" prst="rect">
          <a:avLst/>
        </a:prstGeom>
        <a:ln xmlns:a="http://schemas.openxmlformats.org/drawingml/2006/main" w="0" cap="flat" cmpd="sng" algn="ctr">
          <a:solidFill>
            <a:prstClr val="black">
              <a:alpha val="0"/>
            </a:prstClr>
          </a:solidFill>
          <a:prstDash val="solid"/>
          <a:round/>
          <a:headEnd type="none" w="med" len="med"/>
          <a:tailEnd type="none" w="med" len="med"/>
        </a:ln>
      </cdr:spPr>
      <cdr:txBody>
        <a:bodyPr xmlns:a="http://schemas.openxmlformats.org/drawingml/2006/main" vertOverflow="clip" vert="horz" wrap="none" lIns="18000" tIns="7200" rIns="18000" bIns="7200" rtlCol="0" anchor="ctr" anchorCtr="1"/>
        <a:lstStyle xmlns:a="http://schemas.openxmlformats.org/drawingml/2006/main"/>
        <a:p xmlns:a="http://schemas.openxmlformats.org/drawingml/2006/main">
          <a:pPr algn="ctr" defTabSz="495300"/>
          <a:r>
            <a:rPr lang="de-DE" sz="1000" kern="1200">
              <a:solidFill>
                <a:schemeClr val="bg1"/>
              </a:solidFill>
              <a:latin typeface="+mn-lt"/>
            </a:rPr>
            <a:t>46%</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A06DF11-7194-4480-9E98-18EFB8241492}" type="datetimeFigureOut">
              <a:rPr lang="en-US"/>
              <a:t>12/2/2025</a:t>
            </a:fld>
            <a:endParaRPr lang="en-US"/>
          </a:p>
        </p:txBody>
      </p:sp>
      <p:sp>
        <p:nvSpPr>
          <p:cNvPr id="4" name="Slide Image Placehold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069A04-D131-43D5-9915-79F3D884610C}" type="slidenum">
              <a:rPr lang="en-US"/>
              <a:t>‹Nr.›</a:t>
            </a:fld>
            <a:endParaRPr lang="en-US"/>
          </a:p>
        </p:txBody>
      </p:sp>
    </p:spTree>
    <p:extLst>
      <p:ext uri="{BB962C8B-B14F-4D97-AF65-F5344CB8AC3E}">
        <p14:creationId xmlns:p14="http://schemas.microsoft.com/office/powerpoint/2010/main" val="9162571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2069A04-D131-43D5-9915-79F3D884610C}"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32625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721E2B-4293-791E-21C3-97DB6F713A1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9E0994D-D52B-ABDF-09F1-2A28CDD1431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63C63CB-0EBF-551E-F915-9AE8EFFD123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F6C0BA9B-91A9-A1A5-B7C4-C56E0F90C52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t>Seite </a:t>
            </a:r>
            <a:fld id="{C9D72C52-0FA4-416B-B540-C965FF65B235}"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72376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4E6BB4-07BF-1E83-1ABE-9128DAFFF30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9A836E7-A92E-EFC9-D4BA-81958E318EE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55A0634-5604-AB4A-884E-BC53C60B7E8F}"/>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16EC7541-43A1-30A9-0E3D-0E9D427283B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DEF2627-AC66-4D50-9EBE-0947A9B83E48}"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43239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5B15A5-D6D9-6936-B50C-04FD1076694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578FA44-4DE5-6050-473E-86F89A7897D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C030828-5AFE-347C-8B20-7E464F3D9867}"/>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2B270CAC-FD95-B617-2966-83FBC4220C8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rPr>
              <a:t>Seite </a:t>
            </a:r>
            <a:fld id="{C9D72C52-0FA4-416B-B540-C965FF65B235}"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23916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2069A04-D131-43D5-9915-79F3D884610C}"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61711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2069A04-D131-43D5-9915-79F3D884610C}"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91943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2069A04-D131-43D5-9915-79F3D884610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96037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4F066B-4F89-96D0-2A0B-14455102C8A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7BA85C0-32E6-06CA-8678-6AD0880E665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B948862-9664-B186-776E-F7714D1DB212}"/>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96A1DCD6-5CDE-9EAB-9BD5-AEE948028BFE}"/>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t>Seite </a:t>
            </a:r>
            <a:fld id="{C9D72C52-0FA4-416B-B540-C965FF65B235}"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55788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endParaRPr lang="de-DE"/>
          </a:p>
        </p:txBody>
      </p:sp>
      <p:sp>
        <p:nvSpPr>
          <p:cNvPr id="4" name="Foliennummernplatzhalt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t>Seite </a:t>
            </a:r>
            <a:fld id="{C9D72C52-0FA4-416B-B540-C965FF65B235}"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22051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0150" y="1143000"/>
            <a:ext cx="4457700" cy="3086100"/>
          </a:xfrm>
        </p:spPr>
      </p:sp>
      <p:sp>
        <p:nvSpPr>
          <p:cNvPr id="3" name="Notes Placeholder 2"/>
          <p:cNvSpPr>
            <a:spLocks noGrp="1"/>
          </p:cNvSpPr>
          <p:nvPr>
            <p:ph type="body" idx="1"/>
          </p:nvPr>
        </p:nvSpPr>
        <p:spPr/>
        <p:txBody>
          <a:bodyPr/>
          <a:lstStyle/>
          <a:p>
            <a:r>
              <a:rPr lang="en-US"/>
              <a:t>
Pflegesatzverhandlungen sind ein zentraler Bestandteil des wirtschaftlichen Erfolgs von Pflegeeinrichtungen. Sie bestimmen die Vergütung für erbrachte Pflegeleistungen und beeinflussen direkt die finanzielle Stabilität der Einrichtung. Eine erfolgreiche Verhandlung sichert nicht nur die Kostendeckung, sondern ermöglicht auch Investitionen in Personal, Ausstattung und Qualitätssicherung. Darüber hinaus sind Pflegesätze ein wichtiger Hebel, um die Pflegequalität langfristig zu gewährleisten, da sie die Grundlage für angemessene Personalschlüssel und Ressourcen bilden. Für Geschäftsführer bedeutet dies, dass sie die Verhandlungen strategisch angehen müssen, um sowohl die Interessen der Einrichtung als auch die gesetzlichen Anforderungen zu erfüllen. Die Verhandlungsposition gegenüber Kostenträgern wie Pflegekassen oder Sozialhilfeträgern ist dabei entscheidend. Wer gut vorbereitet ist, kann nicht nur höhere Pflegesätze durchsetzen, sondern auch Vertrauen und langfristige Partnerschaften mit Kostenträgern aufbauen. Ein weiterer Aspekt ist die Transparenz: Kostenträger erwarten nachvollziehbare Kalkulationen und eine klare Argumentation. Fehlende Vorbereitung oder unklare Zahlen können die Glaubwürdigkeit schwächen und zu schlechteren Ergebnissen führen. Deshalb ist es wichtig, die Bedeutung dieser Verhandlungen nicht zu unterschätzen und sie als strategisches Instrument zur Sicherung der Zukunftsfähigkeit der Einrichtung zu betrachte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DD6F49-EBB7-4CCF-97A8-E526BB28BB6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18157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0150" y="1143000"/>
            <a:ext cx="4457700" cy="3086100"/>
          </a:xfrm>
        </p:spPr>
      </p:sp>
      <p:sp>
        <p:nvSpPr>
          <p:cNvPr id="3" name="Notes Placeholder 2"/>
          <p:cNvSpPr>
            <a:spLocks noGrp="1"/>
          </p:cNvSpPr>
          <p:nvPr>
            <p:ph type="body" idx="1"/>
          </p:nvPr>
        </p:nvSpPr>
        <p:spPr/>
        <p:txBody>
          <a:bodyPr/>
          <a:lstStyle/>
          <a:p>
            <a:r>
              <a:rPr lang="en-US"/>
              <a:t>
Die rechtlichen Grundlagen für Pflegesatzverhandlungen sind in den Sozialgesetzbüchern SGB XI und SGB V verankert. Diese regeln die Finanzierung der Pflegeleistungen und die Pflichten der Kostenträger sowie der Pflegeeinrichtungen. Zusätzlich gibt es landesrechtliche Vorgaben, die die Ausgestaltung der Pflegesätze beeinflussen können. Geschäftsführer müssen die relevanten Paragraphen kennen, um rechtssicher zu agieren. Vertragsrechtliche Aspekte spielen ebenfalls eine Rolle, insbesondere bei der Ausgestaltung von Pflegeverträgen und Zusatzvereinbarungen. Die Verhandlungen erfolgen in der Regel mit Pflegekassen, Sozialhilfeträgern und gegebenenfalls privaten Kostenträgern. Dabei sind Fristen, Verfahrensregeln und Dokumentationspflichten einzuhalten. Ein fundiertes Verständnis dieser Rahmenbedingungen ist unerlässlich, um Argumentationen rechtlich abzusichern und Konflikte zu vermeiden. Wer die gesetzlichen Grundlagen ignoriert, riskiert nicht nur schlechte Verhandlungsergebnisse, sondern auch rechtliche Auseinandersetzungen. Daher sollte die rechtliche Analyse ein fester Bestandteil der Vorbereitung se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DD6F49-EBB7-4CCF-97A8-E526BB28BB6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418192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0150" y="1143000"/>
            <a:ext cx="4457700" cy="3086100"/>
          </a:xfrm>
        </p:spPr>
      </p:sp>
      <p:sp>
        <p:nvSpPr>
          <p:cNvPr id="3" name="Notes Placeholder 2"/>
          <p:cNvSpPr>
            <a:spLocks noGrp="1"/>
          </p:cNvSpPr>
          <p:nvPr>
            <p:ph type="body" idx="1"/>
          </p:nvPr>
        </p:nvSpPr>
        <p:spPr/>
        <p:txBody>
          <a:bodyPr/>
          <a:lstStyle/>
          <a:p>
            <a:r>
              <a:rPr lang="en-US"/>
              <a:t>
Die Vorbereitung ist der Schlüssel zu erfolgreichen Pflegesatzverhandlungen. Zunächst muss die Kostenstruktur der Einrichtung detailliert analysiert werden. Dazu gehören Personalkosten, Sachkosten, Investitionen und kalkulatorische Kosten. Eine transparente und nachvollziehbare Kalkulation ist die Grundlage für jede Argumentation. Im nächsten Schritt sollte ein Benchmarking durchgeführt werden: Wie liegen die eigenen Pflegesätze im Vergleich zu ähnlichen Einrichtungen in der Region? Diese Daten helfen, die eigene Position zu stärken und realistische Ziele zu definieren. Schließlich ist die Entwicklung einer Argumentationsstrategie entscheidend. Diese sollte nicht nur Zahlen enthalten, sondern auch qualitative Aspekte wie Pflegequalität, Personalentwicklung und besondere Leistungen der Einrichtung. Eine klare Zieldefinition – beispielsweise die angestrebte Pflegesatzhöhe und mögliche Kompromisslinien – gehört ebenfalls dazu. Wer diese Schritte sorgfältig durchführt, tritt selbstbewusst und überzeugend in die Verhandlung e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DD6F49-EBB7-4CCF-97A8-E526BB28BB6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7612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0150" y="1143000"/>
            <a:ext cx="4457700" cy="3086100"/>
          </a:xfrm>
        </p:spPr>
      </p:sp>
      <p:sp>
        <p:nvSpPr>
          <p:cNvPr id="3" name="Notes Placeholder 2"/>
          <p:cNvSpPr>
            <a:spLocks noGrp="1"/>
          </p:cNvSpPr>
          <p:nvPr>
            <p:ph type="body" idx="1"/>
          </p:nvPr>
        </p:nvSpPr>
        <p:spPr/>
        <p:txBody>
          <a:bodyPr/>
          <a:lstStyle/>
          <a:p>
            <a:r>
              <a:rPr lang="en-US"/>
              <a:t>
Die Art und Weise, wie eine Verhandlung geführt wird, ist ebenso wichtig wie die inhaltliche Vorbereitung. Effektive Gesprächstechniken wie aktives Zuhören, offene Fragen und strukturierte Argumentation sind essenziell. Geschäftsführer sollten darauf achten, eine positive Gesprächsatmosphäre zu schaffen und Konflikte konstruktiv zu lösen. Der Umgang mit Einwänden erfordert Fingerspitzengefühl: Statt in Konfrontation zu gehen, sollten Einwände als Chance genutzt werden, die eigene Position zu verdeutlichen. Psychologische Aspekte spielen ebenfalls eine große Rolle. Dazu gehören das Verständnis für die Interessen des Gegenübers, die Fähigkeit zur Empathie und der Einsatz von Verhandlungstaktiken wie das Setzen von Ankern oder das Nutzen von Pausen. Wer diese Techniken beherrscht, kann nicht nur bessere Ergebnisse erzielen, sondern auch langfristige Beziehungen zu Kostenträgern aufbaue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DD6F49-EBB7-4CCF-97A8-E526BB28BB6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057913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0150" y="1143000"/>
            <a:ext cx="4457700" cy="3086100"/>
          </a:xfrm>
        </p:spPr>
      </p:sp>
      <p:sp>
        <p:nvSpPr>
          <p:cNvPr id="3" name="Notes Placeholder 2"/>
          <p:cNvSpPr>
            <a:spLocks noGrp="1"/>
          </p:cNvSpPr>
          <p:nvPr>
            <p:ph type="body" idx="1"/>
          </p:nvPr>
        </p:nvSpPr>
        <p:spPr/>
        <p:txBody>
          <a:bodyPr/>
          <a:lstStyle/>
          <a:p>
            <a:r>
              <a:rPr lang="en-US"/>
              <a:t>
Pflegesatzverhandlungen sind komplex, aber beherrschbar, wenn sie strategisch angegangen werden. Die wichtigsten Erfolgsfaktoren sind eine gründliche Vorbereitung, rechtliche Sicherheit, überzeugende Argumentation und professionelle Gesprächsführung. Geschäftsführer sollten klare Ziele definieren, ihre Kostenstruktur transparent darstellen und eine fundierte Strategie entwickeln. Nach der Verhandlung ist es sinnvoll, die Ergebnisse zu analysieren und Verbesserungsmöglichkeiten zu identifizieren. Handlungsempfehlungen umfassen die regelmäßige Schulung des Führungspersonals, den Aufbau von Datenbanken für Benchmarking und die Pflege guter Beziehungen zu Kostenträgern. Wer diese Schritte beachtet, sichert nicht nur die wirtschaftliche Stabilität der Einrichtung, sondern trägt auch zur langfristigen Qualitätssicherung in der Pflege bei.</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DD6F49-EBB7-4CCF-97A8-E526BB28BB6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290266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721E2B-4293-791E-21C3-97DB6F713A1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9E0994D-D52B-ABDF-09F1-2A28CDD1431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63C63CB-0EBF-551E-F915-9AE8EFFD123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F6C0BA9B-91A9-A1A5-B7C4-C56E0F90C52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t>Seite </a:t>
            </a:r>
            <a:fld id="{C9D72C52-0FA4-416B-B540-C965FF65B235}"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94012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pic>
        <p:nvPicPr>
          <p:cNvPr id="26" name="Grafik 25"/>
          <p:cNvPicPr>
            <a:picLocks noChangeAspect="1"/>
          </p:cNvPicPr>
          <p:nvPr/>
        </p:nvPicPr>
        <p:blipFill>
          <a:blip r:embed="rId3"/>
          <a:stretch>
            <a:fillRect/>
          </a:stretch>
        </p:blipFill>
        <p:spPr>
          <a:xfrm>
            <a:off x="-6301" y="1413176"/>
            <a:ext cx="8135817" cy="3600000"/>
          </a:xfrm>
          <a:prstGeom prst="rect">
            <a:avLst/>
          </a:prstGeom>
        </p:spPr>
      </p:pic>
      <p:graphicFrame>
        <p:nvGraphicFramePr>
          <p:cNvPr id="11" name="Objekt 10" hidden="1"/>
          <p:cNvGraphicFramePr>
            <a:graphicFrameLocks noChangeAspect="1"/>
          </p:cNvGraphicFramePr>
          <p:nvPr>
            <p:custDataLst>
              <p:tags r:id="rId1"/>
            </p:custDataLst>
            <p:extLst>
              <p:ext uri="{D42A27DB-BD31-4B8C-83A1-F6EECF244321}">
                <p14:modId xmlns:p14="http://schemas.microsoft.com/office/powerpoint/2010/main" val="4038154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1" name="Objek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itle 1"/>
          <p:cNvSpPr>
            <a:spLocks noGrp="1"/>
          </p:cNvSpPr>
          <p:nvPr>
            <p:ph type="ctrTitle"/>
          </p:nvPr>
        </p:nvSpPr>
        <p:spPr bwMode="white">
          <a:xfrm>
            <a:off x="777552" y="2132816"/>
            <a:ext cx="6983760" cy="1656184"/>
          </a:xfrm>
        </p:spPr>
        <p:txBody>
          <a:bodyPr anchor="t"/>
          <a:lstStyle>
            <a:lvl1pPr algn="l">
              <a:defRPr sz="4000">
                <a:solidFill>
                  <a:schemeClr val="bg1"/>
                </a:solidFill>
              </a:defRPr>
            </a:lvl1pPr>
          </a:lstStyle>
          <a:p>
            <a:r>
              <a:rPr lang="de-DE"/>
              <a:t>Mastertitelformat bearbeiten</a:t>
            </a:r>
            <a:endParaRPr lang="en-US"/>
          </a:p>
        </p:txBody>
      </p:sp>
      <p:sp>
        <p:nvSpPr>
          <p:cNvPr id="21" name="Subtitle 2"/>
          <p:cNvSpPr>
            <a:spLocks noGrp="1"/>
          </p:cNvSpPr>
          <p:nvPr>
            <p:ph type="subTitle" idx="1" hasCustomPrompt="1"/>
          </p:nvPr>
        </p:nvSpPr>
        <p:spPr bwMode="white">
          <a:xfrm>
            <a:off x="776536" y="3861008"/>
            <a:ext cx="6984880" cy="368349"/>
          </a:xfrm>
        </p:spPr>
        <p:txBody>
          <a:bodyPr/>
          <a:lstStyle>
            <a:lvl1pPr marL="0" indent="0" algn="l">
              <a:buNone/>
              <a:defRPr sz="1400">
                <a:solidFill>
                  <a:schemeClr val="bg1"/>
                </a:solidFill>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Referent</a:t>
            </a:r>
          </a:p>
        </p:txBody>
      </p:sp>
      <p:sp>
        <p:nvSpPr>
          <p:cNvPr id="22" name="Text Placeholder 13">
            <a:extLst>
              <a:ext uri="{FF2B5EF4-FFF2-40B4-BE49-F238E27FC236}">
                <a16:creationId xmlns:a16="http://schemas.microsoft.com/office/drawing/2014/main" id="{8660655C-23D0-41FF-B076-7C5612CF55ED}"/>
              </a:ext>
            </a:extLst>
          </p:cNvPr>
          <p:cNvSpPr>
            <a:spLocks noGrp="1"/>
          </p:cNvSpPr>
          <p:nvPr>
            <p:ph type="body" sz="quarter" idx="17" hasCustomPrompt="1"/>
          </p:nvPr>
        </p:nvSpPr>
        <p:spPr bwMode="white">
          <a:xfrm>
            <a:off x="777552" y="1628800"/>
            <a:ext cx="6983760" cy="360000"/>
          </a:xfrm>
        </p:spPr>
        <p:txBody>
          <a:bodyPr anchor="b"/>
          <a:lstStyle>
            <a:lvl1pPr>
              <a:defRPr sz="1400">
                <a:solidFill>
                  <a:schemeClr val="bg1"/>
                </a:solidFill>
                <a:latin typeface="+mj-lt"/>
              </a:defRPr>
            </a:lvl1pPr>
          </a:lstStyle>
          <a:p>
            <a:pPr lvl="0"/>
            <a:r>
              <a:rPr lang="en-US" err="1"/>
              <a:t>Veranstaltung</a:t>
            </a:r>
            <a:r>
              <a:rPr lang="en-US"/>
              <a:t> / </a:t>
            </a:r>
            <a:r>
              <a:rPr lang="en-US" err="1"/>
              <a:t>Sitzung</a:t>
            </a:r>
            <a:endParaRPr lang="en-US"/>
          </a:p>
        </p:txBody>
      </p:sp>
      <p:sp>
        <p:nvSpPr>
          <p:cNvPr id="23" name="Text Placeholder 13">
            <a:extLst>
              <a:ext uri="{FF2B5EF4-FFF2-40B4-BE49-F238E27FC236}">
                <a16:creationId xmlns:a16="http://schemas.microsoft.com/office/drawing/2014/main" id="{C2D711AC-B2ED-471C-AC30-F61AFECD973D}"/>
              </a:ext>
            </a:extLst>
          </p:cNvPr>
          <p:cNvSpPr>
            <a:spLocks noGrp="1"/>
          </p:cNvSpPr>
          <p:nvPr>
            <p:ph type="body" sz="quarter" idx="18" hasCustomPrompt="1"/>
          </p:nvPr>
        </p:nvSpPr>
        <p:spPr bwMode="white">
          <a:xfrm>
            <a:off x="776536" y="4293056"/>
            <a:ext cx="6984880" cy="216000"/>
          </a:xfrm>
        </p:spPr>
        <p:txBody>
          <a:bodyPr anchor="ctr"/>
          <a:lstStyle>
            <a:lvl1pPr>
              <a:defRPr sz="1400" baseline="0">
                <a:solidFill>
                  <a:schemeClr val="bg1"/>
                </a:solidFill>
                <a:latin typeface="+mn-lt"/>
              </a:defRPr>
            </a:lvl1pPr>
          </a:lstStyle>
          <a:p>
            <a:pPr lvl="0"/>
            <a:r>
              <a:rPr lang="en-US"/>
              <a:t>TT.MM.JJJJ, Ort</a:t>
            </a:r>
          </a:p>
        </p:txBody>
      </p:sp>
      <p:sp>
        <p:nvSpPr>
          <p:cNvPr id="24" name="Inhaltsplatzhalter 27"/>
          <p:cNvSpPr>
            <a:spLocks noGrp="1"/>
          </p:cNvSpPr>
          <p:nvPr>
            <p:ph sz="quarter" idx="20" hasCustomPrompt="1"/>
          </p:nvPr>
        </p:nvSpPr>
        <p:spPr>
          <a:xfrm>
            <a:off x="776536" y="5877272"/>
            <a:ext cx="1944216" cy="720080"/>
          </a:xfrm>
        </p:spPr>
        <p:txBody>
          <a:bodyPr/>
          <a:lstStyle>
            <a:lvl1pPr>
              <a:defRPr/>
            </a:lvl1pPr>
          </a:lstStyle>
          <a:p>
            <a:pPr lvl="0"/>
            <a:r>
              <a:rPr lang="de-DE"/>
              <a:t>Kundenlogo</a:t>
            </a:r>
          </a:p>
        </p:txBody>
      </p:sp>
      <p:grpSp>
        <p:nvGrpSpPr>
          <p:cNvPr id="12" name="Graphic 10">
            <a:extLst>
              <a:ext uri="{FF2B5EF4-FFF2-40B4-BE49-F238E27FC236}">
                <a16:creationId xmlns:a16="http://schemas.microsoft.com/office/drawing/2014/main" id="{040841F3-CF94-436C-9952-0CC49C79368F}"/>
              </a:ext>
            </a:extLst>
          </p:cNvPr>
          <p:cNvGrpSpPr/>
          <p:nvPr/>
        </p:nvGrpSpPr>
        <p:grpSpPr>
          <a:xfrm>
            <a:off x="6783051" y="5786058"/>
            <a:ext cx="2793690" cy="768265"/>
            <a:chOff x="6783051" y="5786058"/>
            <a:chExt cx="2793690" cy="768265"/>
          </a:xfrm>
        </p:grpSpPr>
        <p:sp>
          <p:nvSpPr>
            <p:cNvPr id="13" name="Freeform: Shape 7">
              <a:extLst>
                <a:ext uri="{FF2B5EF4-FFF2-40B4-BE49-F238E27FC236}">
                  <a16:creationId xmlns:a16="http://schemas.microsoft.com/office/drawing/2014/main" id="{C66745C8-23DC-4EED-B9F9-5001D94341F4}"/>
                </a:ext>
              </a:extLst>
            </p:cNvPr>
            <p:cNvSpPr/>
            <p:nvPr/>
          </p:nvSpPr>
          <p:spPr>
            <a:xfrm>
              <a:off x="8756094" y="6202492"/>
              <a:ext cx="282861" cy="179790"/>
            </a:xfrm>
            <a:custGeom>
              <a:avLst/>
              <a:gdLst>
                <a:gd name="connsiteX0" fmla="*/ 282861 w 282861"/>
                <a:gd name="connsiteY0" fmla="*/ 63731 h 179790"/>
                <a:gd name="connsiteX1" fmla="*/ 123097 w 282861"/>
                <a:gd name="connsiteY1" fmla="*/ 175479 h 179790"/>
                <a:gd name="connsiteX2" fmla="*/ 0 w 282861"/>
                <a:gd name="connsiteY2" fmla="*/ 136192 h 179790"/>
                <a:gd name="connsiteX3" fmla="*/ 56747 w 282861"/>
                <a:gd name="connsiteY3" fmla="*/ 53255 h 179790"/>
                <a:gd name="connsiteX4" fmla="*/ 231352 w 282861"/>
                <a:gd name="connsiteY4" fmla="*/ 0 h 179790"/>
                <a:gd name="connsiteX5" fmla="*/ 282861 w 282861"/>
                <a:gd name="connsiteY5" fmla="*/ 63731 h 17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2861" h="179790">
                  <a:moveTo>
                    <a:pt x="282861" y="63731"/>
                  </a:moveTo>
                  <a:cubicBezTo>
                    <a:pt x="233098" y="125716"/>
                    <a:pt x="179844" y="163256"/>
                    <a:pt x="123097" y="175479"/>
                  </a:cubicBezTo>
                  <a:cubicBezTo>
                    <a:pt x="69842" y="187701"/>
                    <a:pt x="28810" y="173733"/>
                    <a:pt x="0" y="136192"/>
                  </a:cubicBezTo>
                  <a:lnTo>
                    <a:pt x="56747" y="53255"/>
                  </a:lnTo>
                  <a:cubicBezTo>
                    <a:pt x="98652" y="92541"/>
                    <a:pt x="170240" y="71588"/>
                    <a:pt x="231352" y="0"/>
                  </a:cubicBezTo>
                  <a:lnTo>
                    <a:pt x="282861" y="63731"/>
                  </a:lnTo>
                  <a:close/>
                </a:path>
              </a:pathLst>
            </a:custGeom>
            <a:solidFill>
              <a:srgbClr val="971940"/>
            </a:solidFill>
            <a:ln w="8721" cap="flat">
              <a:noFill/>
              <a:prstDash val="solid"/>
              <a:miter/>
            </a:ln>
          </p:spPr>
          <p:txBody>
            <a:bodyPr rtlCol="0" anchor="ctr"/>
            <a:lstStyle/>
            <a:p>
              <a:endParaRPr lang="en-US"/>
            </a:p>
          </p:txBody>
        </p:sp>
        <p:sp>
          <p:nvSpPr>
            <p:cNvPr id="14" name="Freeform: Shape 9">
              <a:extLst>
                <a:ext uri="{FF2B5EF4-FFF2-40B4-BE49-F238E27FC236}">
                  <a16:creationId xmlns:a16="http://schemas.microsoft.com/office/drawing/2014/main" id="{F4716122-1CAE-478F-A7E8-EAF412D29968}"/>
                </a:ext>
              </a:extLst>
            </p:cNvPr>
            <p:cNvSpPr/>
            <p:nvPr/>
          </p:nvSpPr>
          <p:spPr>
            <a:xfrm>
              <a:off x="8716993" y="5963282"/>
              <a:ext cx="108943" cy="343100"/>
            </a:xfrm>
            <a:custGeom>
              <a:avLst/>
              <a:gdLst>
                <a:gd name="connsiteX0" fmla="*/ 19021 w 108943"/>
                <a:gd name="connsiteY0" fmla="*/ 343100 h 343100"/>
                <a:gd name="connsiteX1" fmla="*/ 6799 w 108943"/>
                <a:gd name="connsiteY1" fmla="*/ 178971 h 343100"/>
                <a:gd name="connsiteX2" fmla="*/ 74895 w 108943"/>
                <a:gd name="connsiteY2" fmla="*/ 0 h 343100"/>
                <a:gd name="connsiteX3" fmla="*/ 108943 w 108943"/>
                <a:gd name="connsiteY3" fmla="*/ 41905 h 343100"/>
                <a:gd name="connsiteX4" fmla="*/ 74895 w 108943"/>
                <a:gd name="connsiteY4" fmla="*/ 261909 h 343100"/>
                <a:gd name="connsiteX5" fmla="*/ 19021 w 108943"/>
                <a:gd name="connsiteY5" fmla="*/ 343100 h 34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943" h="343100">
                  <a:moveTo>
                    <a:pt x="19021" y="343100"/>
                  </a:moveTo>
                  <a:cubicBezTo>
                    <a:pt x="-1058" y="299449"/>
                    <a:pt x="-5424" y="244448"/>
                    <a:pt x="6799" y="178971"/>
                  </a:cubicBezTo>
                  <a:cubicBezTo>
                    <a:pt x="17275" y="116113"/>
                    <a:pt x="39974" y="56747"/>
                    <a:pt x="74895" y="0"/>
                  </a:cubicBezTo>
                  <a:lnTo>
                    <a:pt x="108943" y="41905"/>
                  </a:lnTo>
                  <a:cubicBezTo>
                    <a:pt x="66165" y="117859"/>
                    <a:pt x="51323" y="206908"/>
                    <a:pt x="74895" y="261909"/>
                  </a:cubicBezTo>
                  <a:lnTo>
                    <a:pt x="19021" y="343100"/>
                  </a:lnTo>
                  <a:close/>
                </a:path>
              </a:pathLst>
            </a:custGeom>
            <a:solidFill>
              <a:srgbClr val="E78A03"/>
            </a:solidFill>
            <a:ln w="8721" cap="flat">
              <a:noFill/>
              <a:prstDash val="solid"/>
              <a:miter/>
            </a:ln>
          </p:spPr>
          <p:txBody>
            <a:bodyPr rtlCol="0" anchor="ctr"/>
            <a:lstStyle/>
            <a:p>
              <a:endParaRPr lang="en-US"/>
            </a:p>
          </p:txBody>
        </p:sp>
        <p:sp>
          <p:nvSpPr>
            <p:cNvPr id="15" name="Freeform: Shape 12">
              <a:extLst>
                <a:ext uri="{FF2B5EF4-FFF2-40B4-BE49-F238E27FC236}">
                  <a16:creationId xmlns:a16="http://schemas.microsoft.com/office/drawing/2014/main" id="{A350A3FB-9014-40F1-8CFB-86A354C44F46}"/>
                </a:ext>
              </a:extLst>
            </p:cNvPr>
            <p:cNvSpPr/>
            <p:nvPr/>
          </p:nvSpPr>
          <p:spPr>
            <a:xfrm>
              <a:off x="8822444" y="5786217"/>
              <a:ext cx="260162" cy="171827"/>
            </a:xfrm>
            <a:custGeom>
              <a:avLst/>
              <a:gdLst>
                <a:gd name="connsiteX0" fmla="*/ 0 w 260162"/>
                <a:gd name="connsiteY0" fmla="*/ 131668 h 171827"/>
                <a:gd name="connsiteX1" fmla="*/ 130954 w 260162"/>
                <a:gd name="connsiteY1" fmla="*/ 18174 h 171827"/>
                <a:gd name="connsiteX2" fmla="*/ 260162 w 260162"/>
                <a:gd name="connsiteY2" fmla="*/ 14682 h 171827"/>
                <a:gd name="connsiteX3" fmla="*/ 200796 w 260162"/>
                <a:gd name="connsiteY3" fmla="*/ 101112 h 171827"/>
                <a:gd name="connsiteX4" fmla="*/ 34921 w 260162"/>
                <a:gd name="connsiteY4" fmla="*/ 171827 h 171827"/>
                <a:gd name="connsiteX5" fmla="*/ 0 w 260162"/>
                <a:gd name="connsiteY5" fmla="*/ 131668 h 171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162" h="171827">
                  <a:moveTo>
                    <a:pt x="0" y="131668"/>
                  </a:moveTo>
                  <a:cubicBezTo>
                    <a:pt x="40159" y="77540"/>
                    <a:pt x="83811" y="40000"/>
                    <a:pt x="130954" y="18174"/>
                  </a:cubicBezTo>
                  <a:cubicBezTo>
                    <a:pt x="180717" y="-4525"/>
                    <a:pt x="223495" y="-6271"/>
                    <a:pt x="260162" y="14682"/>
                  </a:cubicBezTo>
                  <a:lnTo>
                    <a:pt x="200796" y="101112"/>
                  </a:lnTo>
                  <a:cubicBezTo>
                    <a:pt x="155399" y="75794"/>
                    <a:pt x="88176" y="106350"/>
                    <a:pt x="34921" y="171827"/>
                  </a:cubicBezTo>
                  <a:lnTo>
                    <a:pt x="0" y="131668"/>
                  </a:lnTo>
                  <a:close/>
                </a:path>
              </a:pathLst>
            </a:custGeom>
            <a:solidFill>
              <a:srgbClr val="F5BF06"/>
            </a:solidFill>
            <a:ln w="8721"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B4FA9530-CC68-40F7-AD10-20451EBF6F95}"/>
                </a:ext>
              </a:extLst>
            </p:cNvPr>
            <p:cNvSpPr/>
            <p:nvPr/>
          </p:nvSpPr>
          <p:spPr>
            <a:xfrm>
              <a:off x="9024987" y="5823598"/>
              <a:ext cx="129726" cy="385878"/>
            </a:xfrm>
            <a:custGeom>
              <a:avLst/>
              <a:gdLst>
                <a:gd name="connsiteX0" fmla="*/ 86430 w 129726"/>
                <a:gd name="connsiteY0" fmla="*/ 0 h 385878"/>
                <a:gd name="connsiteX1" fmla="*/ 125716 w 129726"/>
                <a:gd name="connsiteY1" fmla="*/ 88176 h 385878"/>
                <a:gd name="connsiteX2" fmla="*/ 113494 w 129726"/>
                <a:gd name="connsiteY2" fmla="*/ 247067 h 385878"/>
                <a:gd name="connsiteX3" fmla="*/ 53255 w 129726"/>
                <a:gd name="connsiteY3" fmla="*/ 385879 h 385878"/>
                <a:gd name="connsiteX4" fmla="*/ 0 w 129726"/>
                <a:gd name="connsiteY4" fmla="*/ 325640 h 385878"/>
                <a:gd name="connsiteX5" fmla="*/ 24445 w 129726"/>
                <a:gd name="connsiteY5" fmla="*/ 89049 h 385878"/>
                <a:gd name="connsiteX6" fmla="*/ 86430 w 129726"/>
                <a:gd name="connsiteY6" fmla="*/ 0 h 385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726" h="385878">
                  <a:moveTo>
                    <a:pt x="86430" y="0"/>
                  </a:moveTo>
                  <a:cubicBezTo>
                    <a:pt x="106510" y="21826"/>
                    <a:pt x="119605" y="50636"/>
                    <a:pt x="125716" y="88176"/>
                  </a:cubicBezTo>
                  <a:cubicBezTo>
                    <a:pt x="133573" y="135319"/>
                    <a:pt x="130081" y="188574"/>
                    <a:pt x="113494" y="247067"/>
                  </a:cubicBezTo>
                  <a:cubicBezTo>
                    <a:pt x="100398" y="295957"/>
                    <a:pt x="80319" y="342227"/>
                    <a:pt x="53255" y="385879"/>
                  </a:cubicBezTo>
                  <a:lnTo>
                    <a:pt x="0" y="325640"/>
                  </a:lnTo>
                  <a:cubicBezTo>
                    <a:pt x="49763" y="238337"/>
                    <a:pt x="59366" y="140558"/>
                    <a:pt x="24445" y="89049"/>
                  </a:cubicBezTo>
                  <a:lnTo>
                    <a:pt x="86430" y="0"/>
                  </a:lnTo>
                  <a:close/>
                </a:path>
              </a:pathLst>
            </a:custGeom>
            <a:solidFill>
              <a:srgbClr val="C02D41"/>
            </a:solidFill>
            <a:ln w="8721"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9EE5987A-4764-4AC7-A6AA-077FD743E69C}"/>
                </a:ext>
              </a:extLst>
            </p:cNvPr>
            <p:cNvSpPr/>
            <p:nvPr/>
          </p:nvSpPr>
          <p:spPr>
            <a:xfrm>
              <a:off x="6783051" y="5879472"/>
              <a:ext cx="2744800" cy="674850"/>
            </a:xfrm>
            <a:custGeom>
              <a:avLst/>
              <a:gdLst>
                <a:gd name="connsiteX0" fmla="*/ 379767 w 2744800"/>
                <a:gd name="connsiteY0" fmla="*/ 79446 h 674850"/>
                <a:gd name="connsiteX1" fmla="*/ 327386 w 2744800"/>
                <a:gd name="connsiteY1" fmla="*/ 129208 h 674850"/>
                <a:gd name="connsiteX2" fmla="*/ 207781 w 2744800"/>
                <a:gd name="connsiteY2" fmla="*/ 73334 h 674850"/>
                <a:gd name="connsiteX3" fmla="*/ 112621 w 2744800"/>
                <a:gd name="connsiteY3" fmla="*/ 111748 h 674850"/>
                <a:gd name="connsiteX4" fmla="*/ 74207 w 2744800"/>
                <a:gd name="connsiteY4" fmla="*/ 206035 h 674850"/>
                <a:gd name="connsiteX5" fmla="*/ 91668 w 2744800"/>
                <a:gd name="connsiteY5" fmla="*/ 275877 h 674850"/>
                <a:gd name="connsiteX6" fmla="*/ 139685 w 2744800"/>
                <a:gd name="connsiteY6" fmla="*/ 323894 h 674850"/>
                <a:gd name="connsiteX7" fmla="*/ 208654 w 2744800"/>
                <a:gd name="connsiteY7" fmla="*/ 341354 h 674850"/>
                <a:gd name="connsiteX8" fmla="*/ 268020 w 2744800"/>
                <a:gd name="connsiteY8" fmla="*/ 329132 h 674850"/>
                <a:gd name="connsiteX9" fmla="*/ 327386 w 2744800"/>
                <a:gd name="connsiteY9" fmla="*/ 284607 h 674850"/>
                <a:gd name="connsiteX10" fmla="*/ 378021 w 2744800"/>
                <a:gd name="connsiteY10" fmla="*/ 336989 h 674850"/>
                <a:gd name="connsiteX11" fmla="*/ 295957 w 2744800"/>
                <a:gd name="connsiteY11" fmla="*/ 395482 h 674850"/>
                <a:gd name="connsiteX12" fmla="*/ 207781 w 2744800"/>
                <a:gd name="connsiteY12" fmla="*/ 412069 h 674850"/>
                <a:gd name="connsiteX13" fmla="*/ 58493 w 2744800"/>
                <a:gd name="connsiteY13" fmla="*/ 354450 h 674850"/>
                <a:gd name="connsiteX14" fmla="*/ 0 w 2744800"/>
                <a:gd name="connsiteY14" fmla="*/ 206035 h 674850"/>
                <a:gd name="connsiteX15" fmla="*/ 26191 w 2744800"/>
                <a:gd name="connsiteY15" fmla="*/ 102144 h 674850"/>
                <a:gd name="connsiteX16" fmla="*/ 102144 w 2744800"/>
                <a:gd name="connsiteY16" fmla="*/ 28810 h 674850"/>
                <a:gd name="connsiteX17" fmla="*/ 208654 w 2744800"/>
                <a:gd name="connsiteY17" fmla="*/ 873 h 674850"/>
                <a:gd name="connsiteX18" fmla="*/ 302068 w 2744800"/>
                <a:gd name="connsiteY18" fmla="*/ 20953 h 674850"/>
                <a:gd name="connsiteX19" fmla="*/ 379767 w 2744800"/>
                <a:gd name="connsiteY19" fmla="*/ 79446 h 674850"/>
                <a:gd name="connsiteX20" fmla="*/ 895727 w 2744800"/>
                <a:gd name="connsiteY20" fmla="*/ 78573 h 674850"/>
                <a:gd name="connsiteX21" fmla="*/ 982157 w 2744800"/>
                <a:gd name="connsiteY21" fmla="*/ 129208 h 674850"/>
                <a:gd name="connsiteX22" fmla="*/ 895727 w 2744800"/>
                <a:gd name="connsiteY22" fmla="*/ 181590 h 674850"/>
                <a:gd name="connsiteX23" fmla="*/ 895727 w 2744800"/>
                <a:gd name="connsiteY23" fmla="*/ 78573 h 674850"/>
                <a:gd name="connsiteX24" fmla="*/ 895727 w 2744800"/>
                <a:gd name="connsiteY24" fmla="*/ 249686 h 674850"/>
                <a:gd name="connsiteX25" fmla="*/ 1003982 w 2744800"/>
                <a:gd name="connsiteY25" fmla="*/ 402466 h 674850"/>
                <a:gd name="connsiteX26" fmla="*/ 1095650 w 2744800"/>
                <a:gd name="connsiteY26" fmla="*/ 402466 h 674850"/>
                <a:gd name="connsiteX27" fmla="*/ 973426 w 2744800"/>
                <a:gd name="connsiteY27" fmla="*/ 238337 h 674850"/>
                <a:gd name="connsiteX28" fmla="*/ 1053745 w 2744800"/>
                <a:gd name="connsiteY28" fmla="*/ 127462 h 674850"/>
                <a:gd name="connsiteX29" fmla="*/ 996998 w 2744800"/>
                <a:gd name="connsiteY29" fmla="*/ 28810 h 674850"/>
                <a:gd name="connsiteX30" fmla="*/ 890489 w 2744800"/>
                <a:gd name="connsiteY30" fmla="*/ 10476 h 674850"/>
                <a:gd name="connsiteX31" fmla="*/ 819773 w 2744800"/>
                <a:gd name="connsiteY31" fmla="*/ 10476 h 674850"/>
                <a:gd name="connsiteX32" fmla="*/ 819773 w 2744800"/>
                <a:gd name="connsiteY32" fmla="*/ 401593 h 674850"/>
                <a:gd name="connsiteX33" fmla="*/ 895727 w 2744800"/>
                <a:gd name="connsiteY33" fmla="*/ 401593 h 674850"/>
                <a:gd name="connsiteX34" fmla="*/ 895727 w 2744800"/>
                <a:gd name="connsiteY34" fmla="*/ 249686 h 674850"/>
                <a:gd name="connsiteX35" fmla="*/ 433022 w 2744800"/>
                <a:gd name="connsiteY35" fmla="*/ 254051 h 674850"/>
                <a:gd name="connsiteX36" fmla="*/ 584929 w 2744800"/>
                <a:gd name="connsiteY36" fmla="*/ 412069 h 674850"/>
                <a:gd name="connsiteX37" fmla="*/ 736836 w 2744800"/>
                <a:gd name="connsiteY37" fmla="*/ 254051 h 674850"/>
                <a:gd name="connsiteX38" fmla="*/ 736836 w 2744800"/>
                <a:gd name="connsiteY38" fmla="*/ 10476 h 674850"/>
                <a:gd name="connsiteX39" fmla="*/ 661755 w 2744800"/>
                <a:gd name="connsiteY39" fmla="*/ 10476 h 674850"/>
                <a:gd name="connsiteX40" fmla="*/ 661755 w 2744800"/>
                <a:gd name="connsiteY40" fmla="*/ 238337 h 674850"/>
                <a:gd name="connsiteX41" fmla="*/ 584929 w 2744800"/>
                <a:gd name="connsiteY41" fmla="*/ 340481 h 674850"/>
                <a:gd name="connsiteX42" fmla="*/ 508102 w 2744800"/>
                <a:gd name="connsiteY42" fmla="*/ 238337 h 674850"/>
                <a:gd name="connsiteX43" fmla="*/ 508102 w 2744800"/>
                <a:gd name="connsiteY43" fmla="*/ 10476 h 674850"/>
                <a:gd name="connsiteX44" fmla="*/ 433022 w 2744800"/>
                <a:gd name="connsiteY44" fmla="*/ 10476 h 674850"/>
                <a:gd name="connsiteX45" fmla="*/ 433022 w 2744800"/>
                <a:gd name="connsiteY45" fmla="*/ 254051 h 674850"/>
                <a:gd name="connsiteX46" fmla="*/ 1273748 w 2744800"/>
                <a:gd name="connsiteY46" fmla="*/ 10476 h 674850"/>
                <a:gd name="connsiteX47" fmla="*/ 1122714 w 2744800"/>
                <a:gd name="connsiteY47" fmla="*/ 402466 h 674850"/>
                <a:gd name="connsiteX48" fmla="*/ 1200414 w 2744800"/>
                <a:gd name="connsiteY48" fmla="*/ 402466 h 674850"/>
                <a:gd name="connsiteX49" fmla="*/ 1232716 w 2744800"/>
                <a:gd name="connsiteY49" fmla="*/ 322147 h 674850"/>
                <a:gd name="connsiteX50" fmla="*/ 1392480 w 2744800"/>
                <a:gd name="connsiteY50" fmla="*/ 322147 h 674850"/>
                <a:gd name="connsiteX51" fmla="*/ 1423036 w 2744800"/>
                <a:gd name="connsiteY51" fmla="*/ 402466 h 674850"/>
                <a:gd name="connsiteX52" fmla="*/ 1500735 w 2744800"/>
                <a:gd name="connsiteY52" fmla="*/ 402466 h 674850"/>
                <a:gd name="connsiteX53" fmla="*/ 1349702 w 2744800"/>
                <a:gd name="connsiteY53" fmla="*/ 10476 h 674850"/>
                <a:gd name="connsiteX54" fmla="*/ 1273748 w 2744800"/>
                <a:gd name="connsiteY54" fmla="*/ 10476 h 674850"/>
                <a:gd name="connsiteX55" fmla="*/ 1312161 w 2744800"/>
                <a:gd name="connsiteY55" fmla="*/ 114367 h 674850"/>
                <a:gd name="connsiteX56" fmla="*/ 1363670 w 2744800"/>
                <a:gd name="connsiteY56" fmla="*/ 248813 h 674850"/>
                <a:gd name="connsiteX57" fmla="*/ 1259780 w 2744800"/>
                <a:gd name="connsiteY57" fmla="*/ 248813 h 674850"/>
                <a:gd name="connsiteX58" fmla="*/ 1312161 w 2744800"/>
                <a:gd name="connsiteY58" fmla="*/ 114367 h 674850"/>
                <a:gd name="connsiteX59" fmla="*/ 2426145 w 2744800"/>
                <a:gd name="connsiteY59" fmla="*/ 10476 h 674850"/>
                <a:gd name="connsiteX60" fmla="*/ 2426145 w 2744800"/>
                <a:gd name="connsiteY60" fmla="*/ 403339 h 674850"/>
                <a:gd name="connsiteX61" fmla="*/ 2501226 w 2744800"/>
                <a:gd name="connsiteY61" fmla="*/ 403339 h 674850"/>
                <a:gd name="connsiteX62" fmla="*/ 2501226 w 2744800"/>
                <a:gd name="connsiteY62" fmla="*/ 145796 h 674850"/>
                <a:gd name="connsiteX63" fmla="*/ 2669720 w 2744800"/>
                <a:gd name="connsiteY63" fmla="*/ 403339 h 674850"/>
                <a:gd name="connsiteX64" fmla="*/ 2741308 w 2744800"/>
                <a:gd name="connsiteY64" fmla="*/ 403339 h 674850"/>
                <a:gd name="connsiteX65" fmla="*/ 2741308 w 2744800"/>
                <a:gd name="connsiteY65" fmla="*/ 10476 h 674850"/>
                <a:gd name="connsiteX66" fmla="*/ 2666228 w 2744800"/>
                <a:gd name="connsiteY66" fmla="*/ 10476 h 674850"/>
                <a:gd name="connsiteX67" fmla="*/ 2666228 w 2744800"/>
                <a:gd name="connsiteY67" fmla="*/ 268893 h 674850"/>
                <a:gd name="connsiteX68" fmla="*/ 2497734 w 2744800"/>
                <a:gd name="connsiteY68" fmla="*/ 10476 h 674850"/>
                <a:gd name="connsiteX69" fmla="*/ 2426145 w 2744800"/>
                <a:gd name="connsiteY69" fmla="*/ 10476 h 674850"/>
                <a:gd name="connsiteX70" fmla="*/ 1890979 w 2744800"/>
                <a:gd name="connsiteY70" fmla="*/ 79446 h 674850"/>
                <a:gd name="connsiteX71" fmla="*/ 1813279 w 2744800"/>
                <a:gd name="connsiteY71" fmla="*/ 20953 h 674850"/>
                <a:gd name="connsiteX72" fmla="*/ 1719865 w 2744800"/>
                <a:gd name="connsiteY72" fmla="*/ 0 h 674850"/>
                <a:gd name="connsiteX73" fmla="*/ 1613356 w 2744800"/>
                <a:gd name="connsiteY73" fmla="*/ 27937 h 674850"/>
                <a:gd name="connsiteX74" fmla="*/ 1537403 w 2744800"/>
                <a:gd name="connsiteY74" fmla="*/ 101271 h 674850"/>
                <a:gd name="connsiteX75" fmla="*/ 1511212 w 2744800"/>
                <a:gd name="connsiteY75" fmla="*/ 206035 h 674850"/>
                <a:gd name="connsiteX76" fmla="*/ 1569705 w 2744800"/>
                <a:gd name="connsiteY76" fmla="*/ 355323 h 674850"/>
                <a:gd name="connsiteX77" fmla="*/ 1719865 w 2744800"/>
                <a:gd name="connsiteY77" fmla="*/ 412942 h 674850"/>
                <a:gd name="connsiteX78" fmla="*/ 1808041 w 2744800"/>
                <a:gd name="connsiteY78" fmla="*/ 396355 h 674850"/>
                <a:gd name="connsiteX79" fmla="*/ 1890106 w 2744800"/>
                <a:gd name="connsiteY79" fmla="*/ 336989 h 674850"/>
                <a:gd name="connsiteX80" fmla="*/ 1839470 w 2744800"/>
                <a:gd name="connsiteY80" fmla="*/ 283734 h 674850"/>
                <a:gd name="connsiteX81" fmla="*/ 1780104 w 2744800"/>
                <a:gd name="connsiteY81" fmla="*/ 328259 h 674850"/>
                <a:gd name="connsiteX82" fmla="*/ 1720739 w 2744800"/>
                <a:gd name="connsiteY82" fmla="*/ 340481 h 674850"/>
                <a:gd name="connsiteX83" fmla="*/ 1650896 w 2744800"/>
                <a:gd name="connsiteY83" fmla="*/ 323021 h 674850"/>
                <a:gd name="connsiteX84" fmla="*/ 1602880 w 2744800"/>
                <a:gd name="connsiteY84" fmla="*/ 275004 h 674850"/>
                <a:gd name="connsiteX85" fmla="*/ 1585419 w 2744800"/>
                <a:gd name="connsiteY85" fmla="*/ 205162 h 674850"/>
                <a:gd name="connsiteX86" fmla="*/ 1623832 w 2744800"/>
                <a:gd name="connsiteY86" fmla="*/ 110002 h 674850"/>
                <a:gd name="connsiteX87" fmla="*/ 1718992 w 2744800"/>
                <a:gd name="connsiteY87" fmla="*/ 71588 h 674850"/>
                <a:gd name="connsiteX88" fmla="*/ 1839470 w 2744800"/>
                <a:gd name="connsiteY88" fmla="*/ 128335 h 674850"/>
                <a:gd name="connsiteX89" fmla="*/ 1890979 w 2744800"/>
                <a:gd name="connsiteY89" fmla="*/ 79446 h 674850"/>
                <a:gd name="connsiteX90" fmla="*/ 33175 w 2744800"/>
                <a:gd name="connsiteY90" fmla="*/ 649533 h 674850"/>
                <a:gd name="connsiteX91" fmla="*/ 11349 w 2744800"/>
                <a:gd name="connsiteY91" fmla="*/ 587548 h 674850"/>
                <a:gd name="connsiteX92" fmla="*/ 1746 w 2744800"/>
                <a:gd name="connsiteY92" fmla="*/ 587548 h 674850"/>
                <a:gd name="connsiteX93" fmla="*/ 33175 w 2744800"/>
                <a:gd name="connsiteY93" fmla="*/ 674851 h 674850"/>
                <a:gd name="connsiteX94" fmla="*/ 60239 w 2744800"/>
                <a:gd name="connsiteY94" fmla="*/ 607628 h 674850"/>
                <a:gd name="connsiteX95" fmla="*/ 87303 w 2744800"/>
                <a:gd name="connsiteY95" fmla="*/ 674851 h 674850"/>
                <a:gd name="connsiteX96" fmla="*/ 118732 w 2744800"/>
                <a:gd name="connsiteY96" fmla="*/ 587548 h 674850"/>
                <a:gd name="connsiteX97" fmla="*/ 109129 w 2744800"/>
                <a:gd name="connsiteY97" fmla="*/ 587548 h 674850"/>
                <a:gd name="connsiteX98" fmla="*/ 87303 w 2744800"/>
                <a:gd name="connsiteY98" fmla="*/ 649533 h 674850"/>
                <a:gd name="connsiteX99" fmla="*/ 60239 w 2744800"/>
                <a:gd name="connsiteY99" fmla="*/ 583183 h 674850"/>
                <a:gd name="connsiteX100" fmla="*/ 33175 w 2744800"/>
                <a:gd name="connsiteY100" fmla="*/ 649533 h 674850"/>
                <a:gd name="connsiteX101" fmla="*/ 151034 w 2744800"/>
                <a:gd name="connsiteY101" fmla="*/ 587548 h 674850"/>
                <a:gd name="connsiteX102" fmla="*/ 151034 w 2744800"/>
                <a:gd name="connsiteY102" fmla="*/ 670486 h 674850"/>
                <a:gd name="connsiteX103" fmla="*/ 160637 w 2744800"/>
                <a:gd name="connsiteY103" fmla="*/ 670486 h 674850"/>
                <a:gd name="connsiteX104" fmla="*/ 160637 w 2744800"/>
                <a:gd name="connsiteY104" fmla="*/ 587548 h 674850"/>
                <a:gd name="connsiteX105" fmla="*/ 151034 w 2744800"/>
                <a:gd name="connsiteY105" fmla="*/ 587548 h 674850"/>
                <a:gd name="connsiteX106" fmla="*/ 199050 w 2744800"/>
                <a:gd name="connsiteY106" fmla="*/ 587548 h 674850"/>
                <a:gd name="connsiteX107" fmla="*/ 199050 w 2744800"/>
                <a:gd name="connsiteY107" fmla="*/ 670486 h 674850"/>
                <a:gd name="connsiteX108" fmla="*/ 208654 w 2744800"/>
                <a:gd name="connsiteY108" fmla="*/ 670486 h 674850"/>
                <a:gd name="connsiteX109" fmla="*/ 208654 w 2744800"/>
                <a:gd name="connsiteY109" fmla="*/ 633819 h 674850"/>
                <a:gd name="connsiteX110" fmla="*/ 211273 w 2744800"/>
                <a:gd name="connsiteY110" fmla="*/ 633819 h 674850"/>
                <a:gd name="connsiteX111" fmla="*/ 236591 w 2744800"/>
                <a:gd name="connsiteY111" fmla="*/ 670486 h 674850"/>
                <a:gd name="connsiteX112" fmla="*/ 247940 w 2744800"/>
                <a:gd name="connsiteY112" fmla="*/ 670486 h 674850"/>
                <a:gd name="connsiteX113" fmla="*/ 221749 w 2744800"/>
                <a:gd name="connsiteY113" fmla="*/ 632946 h 674850"/>
                <a:gd name="connsiteX114" fmla="*/ 242702 w 2744800"/>
                <a:gd name="connsiteY114" fmla="*/ 610247 h 674850"/>
                <a:gd name="connsiteX115" fmla="*/ 213019 w 2744800"/>
                <a:gd name="connsiteY115" fmla="*/ 587548 h 674850"/>
                <a:gd name="connsiteX116" fmla="*/ 199050 w 2744800"/>
                <a:gd name="connsiteY116" fmla="*/ 587548 h 674850"/>
                <a:gd name="connsiteX117" fmla="*/ 208654 w 2744800"/>
                <a:gd name="connsiteY117" fmla="*/ 596278 h 674850"/>
                <a:gd name="connsiteX118" fmla="*/ 213892 w 2744800"/>
                <a:gd name="connsiteY118" fmla="*/ 596278 h 674850"/>
                <a:gd name="connsiteX119" fmla="*/ 233099 w 2744800"/>
                <a:gd name="connsiteY119" fmla="*/ 611120 h 674850"/>
                <a:gd name="connsiteX120" fmla="*/ 213019 w 2744800"/>
                <a:gd name="connsiteY120" fmla="*/ 625961 h 674850"/>
                <a:gd name="connsiteX121" fmla="*/ 208654 w 2744800"/>
                <a:gd name="connsiteY121" fmla="*/ 625961 h 674850"/>
                <a:gd name="connsiteX122" fmla="*/ 208654 w 2744800"/>
                <a:gd name="connsiteY122" fmla="*/ 596278 h 674850"/>
                <a:gd name="connsiteX123" fmla="*/ 271512 w 2744800"/>
                <a:gd name="connsiteY123" fmla="*/ 587548 h 674850"/>
                <a:gd name="connsiteX124" fmla="*/ 271512 w 2744800"/>
                <a:gd name="connsiteY124" fmla="*/ 596278 h 674850"/>
                <a:gd name="connsiteX125" fmla="*/ 291591 w 2744800"/>
                <a:gd name="connsiteY125" fmla="*/ 596278 h 674850"/>
                <a:gd name="connsiteX126" fmla="*/ 291591 w 2744800"/>
                <a:gd name="connsiteY126" fmla="*/ 670486 h 674850"/>
                <a:gd name="connsiteX127" fmla="*/ 301195 w 2744800"/>
                <a:gd name="connsiteY127" fmla="*/ 670486 h 674850"/>
                <a:gd name="connsiteX128" fmla="*/ 301195 w 2744800"/>
                <a:gd name="connsiteY128" fmla="*/ 596278 h 674850"/>
                <a:gd name="connsiteX129" fmla="*/ 321274 w 2744800"/>
                <a:gd name="connsiteY129" fmla="*/ 596278 h 674850"/>
                <a:gd name="connsiteX130" fmla="*/ 321274 w 2744800"/>
                <a:gd name="connsiteY130" fmla="*/ 587548 h 674850"/>
                <a:gd name="connsiteX131" fmla="*/ 271512 w 2744800"/>
                <a:gd name="connsiteY131" fmla="*/ 587548 h 674850"/>
                <a:gd name="connsiteX132" fmla="*/ 397228 w 2744800"/>
                <a:gd name="connsiteY132" fmla="*/ 598898 h 674850"/>
                <a:gd name="connsiteX133" fmla="*/ 375402 w 2744800"/>
                <a:gd name="connsiteY133" fmla="*/ 585802 h 674850"/>
                <a:gd name="connsiteX134" fmla="*/ 351830 w 2744800"/>
                <a:gd name="connsiteY134" fmla="*/ 606755 h 674850"/>
                <a:gd name="connsiteX135" fmla="*/ 371037 w 2744800"/>
                <a:gd name="connsiteY135" fmla="*/ 628580 h 674850"/>
                <a:gd name="connsiteX136" fmla="*/ 390244 w 2744800"/>
                <a:gd name="connsiteY136" fmla="*/ 646914 h 674850"/>
                <a:gd name="connsiteX137" fmla="*/ 372783 w 2744800"/>
                <a:gd name="connsiteY137" fmla="*/ 663502 h 674850"/>
                <a:gd name="connsiteX138" fmla="*/ 356195 w 2744800"/>
                <a:gd name="connsiteY138" fmla="*/ 647787 h 674850"/>
                <a:gd name="connsiteX139" fmla="*/ 347465 w 2744800"/>
                <a:gd name="connsiteY139" fmla="*/ 650406 h 674850"/>
                <a:gd name="connsiteX140" fmla="*/ 373656 w 2744800"/>
                <a:gd name="connsiteY140" fmla="*/ 672232 h 674850"/>
                <a:gd name="connsiteX141" fmla="*/ 399847 w 2744800"/>
                <a:gd name="connsiteY141" fmla="*/ 646914 h 674850"/>
                <a:gd name="connsiteX142" fmla="*/ 382386 w 2744800"/>
                <a:gd name="connsiteY142" fmla="*/ 625088 h 674850"/>
                <a:gd name="connsiteX143" fmla="*/ 363180 w 2744800"/>
                <a:gd name="connsiteY143" fmla="*/ 614612 h 674850"/>
                <a:gd name="connsiteX144" fmla="*/ 361434 w 2744800"/>
                <a:gd name="connsiteY144" fmla="*/ 608501 h 674850"/>
                <a:gd name="connsiteX145" fmla="*/ 375402 w 2744800"/>
                <a:gd name="connsiteY145" fmla="*/ 595405 h 674850"/>
                <a:gd name="connsiteX146" fmla="*/ 389371 w 2744800"/>
                <a:gd name="connsiteY146" fmla="*/ 604136 h 674850"/>
                <a:gd name="connsiteX147" fmla="*/ 397228 w 2744800"/>
                <a:gd name="connsiteY147" fmla="*/ 598898 h 674850"/>
                <a:gd name="connsiteX148" fmla="*/ 499372 w 2744800"/>
                <a:gd name="connsiteY148" fmla="*/ 594532 h 674850"/>
                <a:gd name="connsiteX149" fmla="*/ 474927 w 2744800"/>
                <a:gd name="connsiteY149" fmla="*/ 586675 h 674850"/>
                <a:gd name="connsiteX150" fmla="*/ 431276 w 2744800"/>
                <a:gd name="connsiteY150" fmla="*/ 630327 h 674850"/>
                <a:gd name="connsiteX151" fmla="*/ 474927 w 2744800"/>
                <a:gd name="connsiteY151" fmla="*/ 673105 h 674850"/>
                <a:gd name="connsiteX152" fmla="*/ 499372 w 2744800"/>
                <a:gd name="connsiteY152" fmla="*/ 665248 h 674850"/>
                <a:gd name="connsiteX153" fmla="*/ 499372 w 2744800"/>
                <a:gd name="connsiteY153" fmla="*/ 653898 h 674850"/>
                <a:gd name="connsiteX154" fmla="*/ 474054 w 2744800"/>
                <a:gd name="connsiteY154" fmla="*/ 665248 h 674850"/>
                <a:gd name="connsiteX155" fmla="*/ 440006 w 2744800"/>
                <a:gd name="connsiteY155" fmla="*/ 631200 h 674850"/>
                <a:gd name="connsiteX156" fmla="*/ 473181 w 2744800"/>
                <a:gd name="connsiteY156" fmla="*/ 597151 h 674850"/>
                <a:gd name="connsiteX157" fmla="*/ 498499 w 2744800"/>
                <a:gd name="connsiteY157" fmla="*/ 608501 h 674850"/>
                <a:gd name="connsiteX158" fmla="*/ 498499 w 2744800"/>
                <a:gd name="connsiteY158" fmla="*/ 594532 h 674850"/>
                <a:gd name="connsiteX159" fmla="*/ 537785 w 2744800"/>
                <a:gd name="connsiteY159" fmla="*/ 587548 h 674850"/>
                <a:gd name="connsiteX160" fmla="*/ 537785 w 2744800"/>
                <a:gd name="connsiteY160" fmla="*/ 670486 h 674850"/>
                <a:gd name="connsiteX161" fmla="*/ 547389 w 2744800"/>
                <a:gd name="connsiteY161" fmla="*/ 670486 h 674850"/>
                <a:gd name="connsiteX162" fmla="*/ 547389 w 2744800"/>
                <a:gd name="connsiteY162" fmla="*/ 629454 h 674850"/>
                <a:gd name="connsiteX163" fmla="*/ 590167 w 2744800"/>
                <a:gd name="connsiteY163" fmla="*/ 629454 h 674850"/>
                <a:gd name="connsiteX164" fmla="*/ 590167 w 2744800"/>
                <a:gd name="connsiteY164" fmla="*/ 670486 h 674850"/>
                <a:gd name="connsiteX165" fmla="*/ 599770 w 2744800"/>
                <a:gd name="connsiteY165" fmla="*/ 670486 h 674850"/>
                <a:gd name="connsiteX166" fmla="*/ 599770 w 2744800"/>
                <a:gd name="connsiteY166" fmla="*/ 587548 h 674850"/>
                <a:gd name="connsiteX167" fmla="*/ 590167 w 2744800"/>
                <a:gd name="connsiteY167" fmla="*/ 587548 h 674850"/>
                <a:gd name="connsiteX168" fmla="*/ 590167 w 2744800"/>
                <a:gd name="connsiteY168" fmla="*/ 621596 h 674850"/>
                <a:gd name="connsiteX169" fmla="*/ 547389 w 2744800"/>
                <a:gd name="connsiteY169" fmla="*/ 621596 h 674850"/>
                <a:gd name="connsiteX170" fmla="*/ 547389 w 2744800"/>
                <a:gd name="connsiteY170" fmla="*/ 587548 h 674850"/>
                <a:gd name="connsiteX171" fmla="*/ 537785 w 2744800"/>
                <a:gd name="connsiteY171" fmla="*/ 587548 h 674850"/>
                <a:gd name="connsiteX172" fmla="*/ 630326 w 2744800"/>
                <a:gd name="connsiteY172" fmla="*/ 670486 h 674850"/>
                <a:gd name="connsiteX173" fmla="*/ 640803 w 2744800"/>
                <a:gd name="connsiteY173" fmla="*/ 670486 h 674850"/>
                <a:gd name="connsiteX174" fmla="*/ 650406 w 2744800"/>
                <a:gd name="connsiteY174" fmla="*/ 646914 h 674850"/>
                <a:gd name="connsiteX175" fmla="*/ 686200 w 2744800"/>
                <a:gd name="connsiteY175" fmla="*/ 646914 h 674850"/>
                <a:gd name="connsiteX176" fmla="*/ 695803 w 2744800"/>
                <a:gd name="connsiteY176" fmla="*/ 670486 h 674850"/>
                <a:gd name="connsiteX177" fmla="*/ 706280 w 2744800"/>
                <a:gd name="connsiteY177" fmla="*/ 670486 h 674850"/>
                <a:gd name="connsiteX178" fmla="*/ 668740 w 2744800"/>
                <a:gd name="connsiteY178" fmla="*/ 583183 h 674850"/>
                <a:gd name="connsiteX179" fmla="*/ 630326 w 2744800"/>
                <a:gd name="connsiteY179" fmla="*/ 670486 h 674850"/>
                <a:gd name="connsiteX180" fmla="*/ 668740 w 2744800"/>
                <a:gd name="connsiteY180" fmla="*/ 605009 h 674850"/>
                <a:gd name="connsiteX181" fmla="*/ 682708 w 2744800"/>
                <a:gd name="connsiteY181" fmla="*/ 638184 h 674850"/>
                <a:gd name="connsiteX182" fmla="*/ 654771 w 2744800"/>
                <a:gd name="connsiteY182" fmla="*/ 638184 h 674850"/>
                <a:gd name="connsiteX183" fmla="*/ 668740 w 2744800"/>
                <a:gd name="connsiteY183" fmla="*/ 605009 h 674850"/>
                <a:gd name="connsiteX184" fmla="*/ 736836 w 2744800"/>
                <a:gd name="connsiteY184" fmla="*/ 587548 h 674850"/>
                <a:gd name="connsiteX185" fmla="*/ 736836 w 2744800"/>
                <a:gd name="connsiteY185" fmla="*/ 670486 h 674850"/>
                <a:gd name="connsiteX186" fmla="*/ 746439 w 2744800"/>
                <a:gd name="connsiteY186" fmla="*/ 670486 h 674850"/>
                <a:gd name="connsiteX187" fmla="*/ 746439 w 2744800"/>
                <a:gd name="connsiteY187" fmla="*/ 629454 h 674850"/>
                <a:gd name="connsiteX188" fmla="*/ 774376 w 2744800"/>
                <a:gd name="connsiteY188" fmla="*/ 629454 h 674850"/>
                <a:gd name="connsiteX189" fmla="*/ 774376 w 2744800"/>
                <a:gd name="connsiteY189" fmla="*/ 620723 h 674850"/>
                <a:gd name="connsiteX190" fmla="*/ 746439 w 2744800"/>
                <a:gd name="connsiteY190" fmla="*/ 620723 h 674850"/>
                <a:gd name="connsiteX191" fmla="*/ 746439 w 2744800"/>
                <a:gd name="connsiteY191" fmla="*/ 596278 h 674850"/>
                <a:gd name="connsiteX192" fmla="*/ 775249 w 2744800"/>
                <a:gd name="connsiteY192" fmla="*/ 596278 h 674850"/>
                <a:gd name="connsiteX193" fmla="*/ 775249 w 2744800"/>
                <a:gd name="connsiteY193" fmla="*/ 587548 h 674850"/>
                <a:gd name="connsiteX194" fmla="*/ 736836 w 2744800"/>
                <a:gd name="connsiteY194" fmla="*/ 587548 h 674850"/>
                <a:gd name="connsiteX195" fmla="*/ 804059 w 2744800"/>
                <a:gd name="connsiteY195" fmla="*/ 587548 h 674850"/>
                <a:gd name="connsiteX196" fmla="*/ 804059 w 2744800"/>
                <a:gd name="connsiteY196" fmla="*/ 596278 h 674850"/>
                <a:gd name="connsiteX197" fmla="*/ 824139 w 2744800"/>
                <a:gd name="connsiteY197" fmla="*/ 596278 h 674850"/>
                <a:gd name="connsiteX198" fmla="*/ 824139 w 2744800"/>
                <a:gd name="connsiteY198" fmla="*/ 670486 h 674850"/>
                <a:gd name="connsiteX199" fmla="*/ 833742 w 2744800"/>
                <a:gd name="connsiteY199" fmla="*/ 670486 h 674850"/>
                <a:gd name="connsiteX200" fmla="*/ 833742 w 2744800"/>
                <a:gd name="connsiteY200" fmla="*/ 596278 h 674850"/>
                <a:gd name="connsiteX201" fmla="*/ 853822 w 2744800"/>
                <a:gd name="connsiteY201" fmla="*/ 596278 h 674850"/>
                <a:gd name="connsiteX202" fmla="*/ 853822 w 2744800"/>
                <a:gd name="connsiteY202" fmla="*/ 587548 h 674850"/>
                <a:gd name="connsiteX203" fmla="*/ 804059 w 2744800"/>
                <a:gd name="connsiteY203" fmla="*/ 587548 h 674850"/>
                <a:gd name="connsiteX204" fmla="*/ 930648 w 2744800"/>
                <a:gd name="connsiteY204" fmla="*/ 598898 h 674850"/>
                <a:gd name="connsiteX205" fmla="*/ 908822 w 2744800"/>
                <a:gd name="connsiteY205" fmla="*/ 585802 h 674850"/>
                <a:gd name="connsiteX206" fmla="*/ 885251 w 2744800"/>
                <a:gd name="connsiteY206" fmla="*/ 606755 h 674850"/>
                <a:gd name="connsiteX207" fmla="*/ 904457 w 2744800"/>
                <a:gd name="connsiteY207" fmla="*/ 628580 h 674850"/>
                <a:gd name="connsiteX208" fmla="*/ 923664 w 2744800"/>
                <a:gd name="connsiteY208" fmla="*/ 646914 h 674850"/>
                <a:gd name="connsiteX209" fmla="*/ 906203 w 2744800"/>
                <a:gd name="connsiteY209" fmla="*/ 663502 h 674850"/>
                <a:gd name="connsiteX210" fmla="*/ 889616 w 2744800"/>
                <a:gd name="connsiteY210" fmla="*/ 647787 h 674850"/>
                <a:gd name="connsiteX211" fmla="*/ 880885 w 2744800"/>
                <a:gd name="connsiteY211" fmla="*/ 650406 h 674850"/>
                <a:gd name="connsiteX212" fmla="*/ 907076 w 2744800"/>
                <a:gd name="connsiteY212" fmla="*/ 672232 h 674850"/>
                <a:gd name="connsiteX213" fmla="*/ 933267 w 2744800"/>
                <a:gd name="connsiteY213" fmla="*/ 646914 h 674850"/>
                <a:gd name="connsiteX214" fmla="*/ 915807 w 2744800"/>
                <a:gd name="connsiteY214" fmla="*/ 625088 h 674850"/>
                <a:gd name="connsiteX215" fmla="*/ 896600 w 2744800"/>
                <a:gd name="connsiteY215" fmla="*/ 614612 h 674850"/>
                <a:gd name="connsiteX216" fmla="*/ 894854 w 2744800"/>
                <a:gd name="connsiteY216" fmla="*/ 608501 h 674850"/>
                <a:gd name="connsiteX217" fmla="*/ 908822 w 2744800"/>
                <a:gd name="connsiteY217" fmla="*/ 595405 h 674850"/>
                <a:gd name="connsiteX218" fmla="*/ 922791 w 2744800"/>
                <a:gd name="connsiteY218" fmla="*/ 604136 h 674850"/>
                <a:gd name="connsiteX219" fmla="*/ 930648 w 2744800"/>
                <a:gd name="connsiteY219" fmla="*/ 598898 h 674850"/>
                <a:gd name="connsiteX220" fmla="*/ 969061 w 2744800"/>
                <a:gd name="connsiteY220" fmla="*/ 587548 h 674850"/>
                <a:gd name="connsiteX221" fmla="*/ 969061 w 2744800"/>
                <a:gd name="connsiteY221" fmla="*/ 670486 h 674850"/>
                <a:gd name="connsiteX222" fmla="*/ 978665 w 2744800"/>
                <a:gd name="connsiteY222" fmla="*/ 670486 h 674850"/>
                <a:gd name="connsiteX223" fmla="*/ 978665 w 2744800"/>
                <a:gd name="connsiteY223" fmla="*/ 633819 h 674850"/>
                <a:gd name="connsiteX224" fmla="*/ 986522 w 2744800"/>
                <a:gd name="connsiteY224" fmla="*/ 633819 h 674850"/>
                <a:gd name="connsiteX225" fmla="*/ 1006601 w 2744800"/>
                <a:gd name="connsiteY225" fmla="*/ 626834 h 674850"/>
                <a:gd name="connsiteX226" fmla="*/ 1012713 w 2744800"/>
                <a:gd name="connsiteY226" fmla="*/ 610247 h 674850"/>
                <a:gd name="connsiteX227" fmla="*/ 999617 w 2744800"/>
                <a:gd name="connsiteY227" fmla="*/ 589294 h 674850"/>
                <a:gd name="connsiteX228" fmla="*/ 983030 w 2744800"/>
                <a:gd name="connsiteY228" fmla="*/ 586675 h 674850"/>
                <a:gd name="connsiteX229" fmla="*/ 969061 w 2744800"/>
                <a:gd name="connsiteY229" fmla="*/ 586675 h 674850"/>
                <a:gd name="connsiteX230" fmla="*/ 978665 w 2744800"/>
                <a:gd name="connsiteY230" fmla="*/ 596278 h 674850"/>
                <a:gd name="connsiteX231" fmla="*/ 986522 w 2744800"/>
                <a:gd name="connsiteY231" fmla="*/ 596278 h 674850"/>
                <a:gd name="connsiteX232" fmla="*/ 1003109 w 2744800"/>
                <a:gd name="connsiteY232" fmla="*/ 611120 h 674850"/>
                <a:gd name="connsiteX233" fmla="*/ 983030 w 2744800"/>
                <a:gd name="connsiteY233" fmla="*/ 625961 h 674850"/>
                <a:gd name="connsiteX234" fmla="*/ 977792 w 2744800"/>
                <a:gd name="connsiteY234" fmla="*/ 625961 h 674850"/>
                <a:gd name="connsiteX235" fmla="*/ 977792 w 2744800"/>
                <a:gd name="connsiteY235" fmla="*/ 596278 h 674850"/>
                <a:gd name="connsiteX236" fmla="*/ 1046761 w 2744800"/>
                <a:gd name="connsiteY236" fmla="*/ 587548 h 674850"/>
                <a:gd name="connsiteX237" fmla="*/ 1046761 w 2744800"/>
                <a:gd name="connsiteY237" fmla="*/ 670486 h 674850"/>
                <a:gd name="connsiteX238" fmla="*/ 1056364 w 2744800"/>
                <a:gd name="connsiteY238" fmla="*/ 670486 h 674850"/>
                <a:gd name="connsiteX239" fmla="*/ 1056364 w 2744800"/>
                <a:gd name="connsiteY239" fmla="*/ 633819 h 674850"/>
                <a:gd name="connsiteX240" fmla="*/ 1058983 w 2744800"/>
                <a:gd name="connsiteY240" fmla="*/ 633819 h 674850"/>
                <a:gd name="connsiteX241" fmla="*/ 1084301 w 2744800"/>
                <a:gd name="connsiteY241" fmla="*/ 670486 h 674850"/>
                <a:gd name="connsiteX242" fmla="*/ 1095650 w 2744800"/>
                <a:gd name="connsiteY242" fmla="*/ 670486 h 674850"/>
                <a:gd name="connsiteX243" fmla="*/ 1069460 w 2744800"/>
                <a:gd name="connsiteY243" fmla="*/ 632946 h 674850"/>
                <a:gd name="connsiteX244" fmla="*/ 1090412 w 2744800"/>
                <a:gd name="connsiteY244" fmla="*/ 610247 h 674850"/>
                <a:gd name="connsiteX245" fmla="*/ 1060729 w 2744800"/>
                <a:gd name="connsiteY245" fmla="*/ 587548 h 674850"/>
                <a:gd name="connsiteX246" fmla="*/ 1046761 w 2744800"/>
                <a:gd name="connsiteY246" fmla="*/ 587548 h 674850"/>
                <a:gd name="connsiteX247" fmla="*/ 1056364 w 2744800"/>
                <a:gd name="connsiteY247" fmla="*/ 596278 h 674850"/>
                <a:gd name="connsiteX248" fmla="*/ 1061602 w 2744800"/>
                <a:gd name="connsiteY248" fmla="*/ 596278 h 674850"/>
                <a:gd name="connsiteX249" fmla="*/ 1080809 w 2744800"/>
                <a:gd name="connsiteY249" fmla="*/ 611120 h 674850"/>
                <a:gd name="connsiteX250" fmla="*/ 1060729 w 2744800"/>
                <a:gd name="connsiteY250" fmla="*/ 625961 h 674850"/>
                <a:gd name="connsiteX251" fmla="*/ 1056364 w 2744800"/>
                <a:gd name="connsiteY251" fmla="*/ 625961 h 674850"/>
                <a:gd name="connsiteX252" fmla="*/ 1056364 w 2744800"/>
                <a:gd name="connsiteY252" fmla="*/ 596278 h 674850"/>
                <a:gd name="connsiteX253" fmla="*/ 1127952 w 2744800"/>
                <a:gd name="connsiteY253" fmla="*/ 587548 h 674850"/>
                <a:gd name="connsiteX254" fmla="*/ 1127952 w 2744800"/>
                <a:gd name="connsiteY254" fmla="*/ 639930 h 674850"/>
                <a:gd name="connsiteX255" fmla="*/ 1136683 w 2744800"/>
                <a:gd name="connsiteY255" fmla="*/ 663502 h 674850"/>
                <a:gd name="connsiteX256" fmla="*/ 1157635 w 2744800"/>
                <a:gd name="connsiteY256" fmla="*/ 671359 h 674850"/>
                <a:gd name="connsiteX257" fmla="*/ 1183826 w 2744800"/>
                <a:gd name="connsiteY257" fmla="*/ 657390 h 674850"/>
                <a:gd name="connsiteX258" fmla="*/ 1187318 w 2744800"/>
                <a:gd name="connsiteY258" fmla="*/ 639930 h 674850"/>
                <a:gd name="connsiteX259" fmla="*/ 1187318 w 2744800"/>
                <a:gd name="connsiteY259" fmla="*/ 587548 h 674850"/>
                <a:gd name="connsiteX260" fmla="*/ 1178588 w 2744800"/>
                <a:gd name="connsiteY260" fmla="*/ 587548 h 674850"/>
                <a:gd name="connsiteX261" fmla="*/ 1178588 w 2744800"/>
                <a:gd name="connsiteY261" fmla="*/ 638184 h 674850"/>
                <a:gd name="connsiteX262" fmla="*/ 1176842 w 2744800"/>
                <a:gd name="connsiteY262" fmla="*/ 652152 h 674850"/>
                <a:gd name="connsiteX263" fmla="*/ 1158508 w 2744800"/>
                <a:gd name="connsiteY263" fmla="*/ 663502 h 674850"/>
                <a:gd name="connsiteX264" fmla="*/ 1147159 w 2744800"/>
                <a:gd name="connsiteY264" fmla="*/ 660010 h 674850"/>
                <a:gd name="connsiteX265" fmla="*/ 1138429 w 2744800"/>
                <a:gd name="connsiteY265" fmla="*/ 639057 h 674850"/>
                <a:gd name="connsiteX266" fmla="*/ 1138429 w 2744800"/>
                <a:gd name="connsiteY266" fmla="*/ 587548 h 674850"/>
                <a:gd name="connsiteX267" fmla="*/ 1127952 w 2744800"/>
                <a:gd name="connsiteY267" fmla="*/ 587548 h 674850"/>
                <a:gd name="connsiteX268" fmla="*/ 1153270 w 2744800"/>
                <a:gd name="connsiteY268" fmla="*/ 570088 h 674850"/>
                <a:gd name="connsiteX269" fmla="*/ 1147159 w 2744800"/>
                <a:gd name="connsiteY269" fmla="*/ 563976 h 674850"/>
                <a:gd name="connsiteX270" fmla="*/ 1141048 w 2744800"/>
                <a:gd name="connsiteY270" fmla="*/ 570088 h 674850"/>
                <a:gd name="connsiteX271" fmla="*/ 1147159 w 2744800"/>
                <a:gd name="connsiteY271" fmla="*/ 576199 h 674850"/>
                <a:gd name="connsiteX272" fmla="*/ 1153270 w 2744800"/>
                <a:gd name="connsiteY272" fmla="*/ 570088 h 674850"/>
                <a:gd name="connsiteX273" fmla="*/ 1174223 w 2744800"/>
                <a:gd name="connsiteY273" fmla="*/ 570088 h 674850"/>
                <a:gd name="connsiteX274" fmla="*/ 1168112 w 2744800"/>
                <a:gd name="connsiteY274" fmla="*/ 563976 h 674850"/>
                <a:gd name="connsiteX275" fmla="*/ 1162001 w 2744800"/>
                <a:gd name="connsiteY275" fmla="*/ 570088 h 674850"/>
                <a:gd name="connsiteX276" fmla="*/ 1168112 w 2744800"/>
                <a:gd name="connsiteY276" fmla="*/ 576199 h 674850"/>
                <a:gd name="connsiteX277" fmla="*/ 1174223 w 2744800"/>
                <a:gd name="connsiteY277" fmla="*/ 570088 h 674850"/>
                <a:gd name="connsiteX278" fmla="*/ 1225731 w 2744800"/>
                <a:gd name="connsiteY278" fmla="*/ 587548 h 674850"/>
                <a:gd name="connsiteX279" fmla="*/ 1225731 w 2744800"/>
                <a:gd name="connsiteY279" fmla="*/ 670486 h 674850"/>
                <a:gd name="connsiteX280" fmla="*/ 1235335 w 2744800"/>
                <a:gd name="connsiteY280" fmla="*/ 670486 h 674850"/>
                <a:gd name="connsiteX281" fmla="*/ 1235335 w 2744800"/>
                <a:gd name="connsiteY281" fmla="*/ 629454 h 674850"/>
                <a:gd name="connsiteX282" fmla="*/ 1263272 w 2744800"/>
                <a:gd name="connsiteY282" fmla="*/ 629454 h 674850"/>
                <a:gd name="connsiteX283" fmla="*/ 1263272 w 2744800"/>
                <a:gd name="connsiteY283" fmla="*/ 620723 h 674850"/>
                <a:gd name="connsiteX284" fmla="*/ 1235335 w 2744800"/>
                <a:gd name="connsiteY284" fmla="*/ 620723 h 674850"/>
                <a:gd name="connsiteX285" fmla="*/ 1235335 w 2744800"/>
                <a:gd name="connsiteY285" fmla="*/ 596278 h 674850"/>
                <a:gd name="connsiteX286" fmla="*/ 1264145 w 2744800"/>
                <a:gd name="connsiteY286" fmla="*/ 596278 h 674850"/>
                <a:gd name="connsiteX287" fmla="*/ 1264145 w 2744800"/>
                <a:gd name="connsiteY287" fmla="*/ 587548 h 674850"/>
                <a:gd name="connsiteX288" fmla="*/ 1225731 w 2744800"/>
                <a:gd name="connsiteY288" fmla="*/ 587548 h 674850"/>
                <a:gd name="connsiteX289" fmla="*/ 1300812 w 2744800"/>
                <a:gd name="connsiteY289" fmla="*/ 587548 h 674850"/>
                <a:gd name="connsiteX290" fmla="*/ 1300812 w 2744800"/>
                <a:gd name="connsiteY290" fmla="*/ 639930 h 674850"/>
                <a:gd name="connsiteX291" fmla="*/ 1309542 w 2744800"/>
                <a:gd name="connsiteY291" fmla="*/ 663502 h 674850"/>
                <a:gd name="connsiteX292" fmla="*/ 1330495 w 2744800"/>
                <a:gd name="connsiteY292" fmla="*/ 671359 h 674850"/>
                <a:gd name="connsiteX293" fmla="*/ 1356686 w 2744800"/>
                <a:gd name="connsiteY293" fmla="*/ 657390 h 674850"/>
                <a:gd name="connsiteX294" fmla="*/ 1360178 w 2744800"/>
                <a:gd name="connsiteY294" fmla="*/ 639930 h 674850"/>
                <a:gd name="connsiteX295" fmla="*/ 1360178 w 2744800"/>
                <a:gd name="connsiteY295" fmla="*/ 587548 h 674850"/>
                <a:gd name="connsiteX296" fmla="*/ 1350575 w 2744800"/>
                <a:gd name="connsiteY296" fmla="*/ 587548 h 674850"/>
                <a:gd name="connsiteX297" fmla="*/ 1350575 w 2744800"/>
                <a:gd name="connsiteY297" fmla="*/ 638184 h 674850"/>
                <a:gd name="connsiteX298" fmla="*/ 1348829 w 2744800"/>
                <a:gd name="connsiteY298" fmla="*/ 652152 h 674850"/>
                <a:gd name="connsiteX299" fmla="*/ 1330495 w 2744800"/>
                <a:gd name="connsiteY299" fmla="*/ 663502 h 674850"/>
                <a:gd name="connsiteX300" fmla="*/ 1319146 w 2744800"/>
                <a:gd name="connsiteY300" fmla="*/ 660010 h 674850"/>
                <a:gd name="connsiteX301" fmla="*/ 1310415 w 2744800"/>
                <a:gd name="connsiteY301" fmla="*/ 639057 h 674850"/>
                <a:gd name="connsiteX302" fmla="*/ 1310415 w 2744800"/>
                <a:gd name="connsiteY302" fmla="*/ 587548 h 674850"/>
                <a:gd name="connsiteX303" fmla="*/ 1300812 w 2744800"/>
                <a:gd name="connsiteY303" fmla="*/ 587548 h 674850"/>
                <a:gd name="connsiteX304" fmla="*/ 1398591 w 2744800"/>
                <a:gd name="connsiteY304" fmla="*/ 670486 h 674850"/>
                <a:gd name="connsiteX305" fmla="*/ 1408194 w 2744800"/>
                <a:gd name="connsiteY305" fmla="*/ 670486 h 674850"/>
                <a:gd name="connsiteX306" fmla="*/ 1408194 w 2744800"/>
                <a:gd name="connsiteY306" fmla="*/ 606755 h 674850"/>
                <a:gd name="connsiteX307" fmla="*/ 1472798 w 2744800"/>
                <a:gd name="connsiteY307" fmla="*/ 674851 h 674850"/>
                <a:gd name="connsiteX308" fmla="*/ 1472798 w 2744800"/>
                <a:gd name="connsiteY308" fmla="*/ 587548 h 674850"/>
                <a:gd name="connsiteX309" fmla="*/ 1463195 w 2744800"/>
                <a:gd name="connsiteY309" fmla="*/ 587548 h 674850"/>
                <a:gd name="connsiteX310" fmla="*/ 1463195 w 2744800"/>
                <a:gd name="connsiteY310" fmla="*/ 652152 h 674850"/>
                <a:gd name="connsiteX311" fmla="*/ 1398591 w 2744800"/>
                <a:gd name="connsiteY311" fmla="*/ 584056 h 674850"/>
                <a:gd name="connsiteX312" fmla="*/ 1398591 w 2744800"/>
                <a:gd name="connsiteY312" fmla="*/ 670486 h 674850"/>
                <a:gd name="connsiteX313" fmla="*/ 1586292 w 2744800"/>
                <a:gd name="connsiteY313" fmla="*/ 604136 h 674850"/>
                <a:gd name="connsiteX314" fmla="*/ 1551371 w 2744800"/>
                <a:gd name="connsiteY314" fmla="*/ 585802 h 674850"/>
                <a:gd name="connsiteX315" fmla="*/ 1507720 w 2744800"/>
                <a:gd name="connsiteY315" fmla="*/ 628580 h 674850"/>
                <a:gd name="connsiteX316" fmla="*/ 1550498 w 2744800"/>
                <a:gd name="connsiteY316" fmla="*/ 671359 h 674850"/>
                <a:gd name="connsiteX317" fmla="*/ 1579308 w 2744800"/>
                <a:gd name="connsiteY317" fmla="*/ 659136 h 674850"/>
                <a:gd name="connsiteX318" fmla="*/ 1589784 w 2744800"/>
                <a:gd name="connsiteY318" fmla="*/ 632946 h 674850"/>
                <a:gd name="connsiteX319" fmla="*/ 1589784 w 2744800"/>
                <a:gd name="connsiteY319" fmla="*/ 628580 h 674850"/>
                <a:gd name="connsiteX320" fmla="*/ 1554863 w 2744800"/>
                <a:gd name="connsiteY320" fmla="*/ 628580 h 674850"/>
                <a:gd name="connsiteX321" fmla="*/ 1554863 w 2744800"/>
                <a:gd name="connsiteY321" fmla="*/ 637311 h 674850"/>
                <a:gd name="connsiteX322" fmla="*/ 1579308 w 2744800"/>
                <a:gd name="connsiteY322" fmla="*/ 637311 h 674850"/>
                <a:gd name="connsiteX323" fmla="*/ 1549625 w 2744800"/>
                <a:gd name="connsiteY323" fmla="*/ 663502 h 674850"/>
                <a:gd name="connsiteX324" fmla="*/ 1516450 w 2744800"/>
                <a:gd name="connsiteY324" fmla="*/ 629454 h 674850"/>
                <a:gd name="connsiteX325" fmla="*/ 1550498 w 2744800"/>
                <a:gd name="connsiteY325" fmla="*/ 594532 h 674850"/>
                <a:gd name="connsiteX326" fmla="*/ 1579308 w 2744800"/>
                <a:gd name="connsiteY326" fmla="*/ 610247 h 674850"/>
                <a:gd name="connsiteX327" fmla="*/ 1586292 w 2744800"/>
                <a:gd name="connsiteY327" fmla="*/ 604136 h 674850"/>
                <a:gd name="connsiteX328" fmla="*/ 1680579 w 2744800"/>
                <a:gd name="connsiteY328" fmla="*/ 587548 h 674850"/>
                <a:gd name="connsiteX329" fmla="*/ 1680579 w 2744800"/>
                <a:gd name="connsiteY329" fmla="*/ 639930 h 674850"/>
                <a:gd name="connsiteX330" fmla="*/ 1689309 w 2744800"/>
                <a:gd name="connsiteY330" fmla="*/ 663502 h 674850"/>
                <a:gd name="connsiteX331" fmla="*/ 1710262 w 2744800"/>
                <a:gd name="connsiteY331" fmla="*/ 671359 h 674850"/>
                <a:gd name="connsiteX332" fmla="*/ 1736453 w 2744800"/>
                <a:gd name="connsiteY332" fmla="*/ 657390 h 674850"/>
                <a:gd name="connsiteX333" fmla="*/ 1739945 w 2744800"/>
                <a:gd name="connsiteY333" fmla="*/ 639930 h 674850"/>
                <a:gd name="connsiteX334" fmla="*/ 1739945 w 2744800"/>
                <a:gd name="connsiteY334" fmla="*/ 587548 h 674850"/>
                <a:gd name="connsiteX335" fmla="*/ 1730342 w 2744800"/>
                <a:gd name="connsiteY335" fmla="*/ 587548 h 674850"/>
                <a:gd name="connsiteX336" fmla="*/ 1730342 w 2744800"/>
                <a:gd name="connsiteY336" fmla="*/ 638184 h 674850"/>
                <a:gd name="connsiteX337" fmla="*/ 1728596 w 2744800"/>
                <a:gd name="connsiteY337" fmla="*/ 652152 h 674850"/>
                <a:gd name="connsiteX338" fmla="*/ 1710262 w 2744800"/>
                <a:gd name="connsiteY338" fmla="*/ 663502 h 674850"/>
                <a:gd name="connsiteX339" fmla="*/ 1698913 w 2744800"/>
                <a:gd name="connsiteY339" fmla="*/ 660010 h 674850"/>
                <a:gd name="connsiteX340" fmla="*/ 1690183 w 2744800"/>
                <a:gd name="connsiteY340" fmla="*/ 639057 h 674850"/>
                <a:gd name="connsiteX341" fmla="*/ 1690183 w 2744800"/>
                <a:gd name="connsiteY341" fmla="*/ 587548 h 674850"/>
                <a:gd name="connsiteX342" fmla="*/ 1680579 w 2744800"/>
                <a:gd name="connsiteY342" fmla="*/ 587548 h 674850"/>
                <a:gd name="connsiteX343" fmla="*/ 1778358 w 2744800"/>
                <a:gd name="connsiteY343" fmla="*/ 670486 h 674850"/>
                <a:gd name="connsiteX344" fmla="*/ 1787962 w 2744800"/>
                <a:gd name="connsiteY344" fmla="*/ 670486 h 674850"/>
                <a:gd name="connsiteX345" fmla="*/ 1787962 w 2744800"/>
                <a:gd name="connsiteY345" fmla="*/ 606755 h 674850"/>
                <a:gd name="connsiteX346" fmla="*/ 1852566 w 2744800"/>
                <a:gd name="connsiteY346" fmla="*/ 674851 h 674850"/>
                <a:gd name="connsiteX347" fmla="*/ 1852566 w 2744800"/>
                <a:gd name="connsiteY347" fmla="*/ 587548 h 674850"/>
                <a:gd name="connsiteX348" fmla="*/ 1842962 w 2744800"/>
                <a:gd name="connsiteY348" fmla="*/ 587548 h 674850"/>
                <a:gd name="connsiteX349" fmla="*/ 1842962 w 2744800"/>
                <a:gd name="connsiteY349" fmla="*/ 652152 h 674850"/>
                <a:gd name="connsiteX350" fmla="*/ 1778358 w 2744800"/>
                <a:gd name="connsiteY350" fmla="*/ 584056 h 674850"/>
                <a:gd name="connsiteX351" fmla="*/ 1778358 w 2744800"/>
                <a:gd name="connsiteY351" fmla="*/ 670486 h 674850"/>
                <a:gd name="connsiteX352" fmla="*/ 1891852 w 2744800"/>
                <a:gd name="connsiteY352" fmla="*/ 587548 h 674850"/>
                <a:gd name="connsiteX353" fmla="*/ 1891852 w 2744800"/>
                <a:gd name="connsiteY353" fmla="*/ 670486 h 674850"/>
                <a:gd name="connsiteX354" fmla="*/ 1909313 w 2744800"/>
                <a:gd name="connsiteY354" fmla="*/ 670486 h 674850"/>
                <a:gd name="connsiteX355" fmla="*/ 1934630 w 2744800"/>
                <a:gd name="connsiteY355" fmla="*/ 664375 h 674850"/>
                <a:gd name="connsiteX356" fmla="*/ 1952964 w 2744800"/>
                <a:gd name="connsiteY356" fmla="*/ 629454 h 674850"/>
                <a:gd name="connsiteX357" fmla="*/ 1938996 w 2744800"/>
                <a:gd name="connsiteY357" fmla="*/ 598024 h 674850"/>
                <a:gd name="connsiteX358" fmla="*/ 1908440 w 2744800"/>
                <a:gd name="connsiteY358" fmla="*/ 587548 h 674850"/>
                <a:gd name="connsiteX359" fmla="*/ 1891852 w 2744800"/>
                <a:gd name="connsiteY359" fmla="*/ 587548 h 674850"/>
                <a:gd name="connsiteX360" fmla="*/ 1901455 w 2744800"/>
                <a:gd name="connsiteY360" fmla="*/ 661756 h 674850"/>
                <a:gd name="connsiteX361" fmla="*/ 1901455 w 2744800"/>
                <a:gd name="connsiteY361" fmla="*/ 596278 h 674850"/>
                <a:gd name="connsiteX362" fmla="*/ 1909313 w 2744800"/>
                <a:gd name="connsiteY362" fmla="*/ 596278 h 674850"/>
                <a:gd name="connsiteX363" fmla="*/ 1931138 w 2744800"/>
                <a:gd name="connsiteY363" fmla="*/ 602390 h 674850"/>
                <a:gd name="connsiteX364" fmla="*/ 1945107 w 2744800"/>
                <a:gd name="connsiteY364" fmla="*/ 629454 h 674850"/>
                <a:gd name="connsiteX365" fmla="*/ 1910186 w 2744800"/>
                <a:gd name="connsiteY365" fmla="*/ 662629 h 674850"/>
                <a:gd name="connsiteX366" fmla="*/ 1901455 w 2744800"/>
                <a:gd name="connsiteY366" fmla="*/ 662629 h 674850"/>
                <a:gd name="connsiteX367" fmla="*/ 2044632 w 2744800"/>
                <a:gd name="connsiteY367" fmla="*/ 587548 h 674850"/>
                <a:gd name="connsiteX368" fmla="*/ 2044632 w 2744800"/>
                <a:gd name="connsiteY368" fmla="*/ 670486 h 674850"/>
                <a:gd name="connsiteX369" fmla="*/ 2064712 w 2744800"/>
                <a:gd name="connsiteY369" fmla="*/ 670486 h 674850"/>
                <a:gd name="connsiteX370" fmla="*/ 2093522 w 2744800"/>
                <a:gd name="connsiteY370" fmla="*/ 647787 h 674850"/>
                <a:gd name="connsiteX371" fmla="*/ 2077807 w 2744800"/>
                <a:gd name="connsiteY371" fmla="*/ 626834 h 674850"/>
                <a:gd name="connsiteX372" fmla="*/ 2085664 w 2744800"/>
                <a:gd name="connsiteY372" fmla="*/ 610247 h 674850"/>
                <a:gd name="connsiteX373" fmla="*/ 2058600 w 2744800"/>
                <a:gd name="connsiteY373" fmla="*/ 587548 h 674850"/>
                <a:gd name="connsiteX374" fmla="*/ 2044632 w 2744800"/>
                <a:gd name="connsiteY374" fmla="*/ 587548 h 674850"/>
                <a:gd name="connsiteX375" fmla="*/ 2054235 w 2744800"/>
                <a:gd name="connsiteY375" fmla="*/ 596278 h 674850"/>
                <a:gd name="connsiteX376" fmla="*/ 2058600 w 2744800"/>
                <a:gd name="connsiteY376" fmla="*/ 596278 h 674850"/>
                <a:gd name="connsiteX377" fmla="*/ 2076934 w 2744800"/>
                <a:gd name="connsiteY377" fmla="*/ 610247 h 674850"/>
                <a:gd name="connsiteX378" fmla="*/ 2062092 w 2744800"/>
                <a:gd name="connsiteY378" fmla="*/ 624215 h 674850"/>
                <a:gd name="connsiteX379" fmla="*/ 2054235 w 2744800"/>
                <a:gd name="connsiteY379" fmla="*/ 624215 h 674850"/>
                <a:gd name="connsiteX380" fmla="*/ 2054235 w 2744800"/>
                <a:gd name="connsiteY380" fmla="*/ 596278 h 674850"/>
                <a:gd name="connsiteX381" fmla="*/ 2054235 w 2744800"/>
                <a:gd name="connsiteY381" fmla="*/ 661756 h 674850"/>
                <a:gd name="connsiteX382" fmla="*/ 2054235 w 2744800"/>
                <a:gd name="connsiteY382" fmla="*/ 632073 h 674850"/>
                <a:gd name="connsiteX383" fmla="*/ 2062966 w 2744800"/>
                <a:gd name="connsiteY383" fmla="*/ 632073 h 674850"/>
                <a:gd name="connsiteX384" fmla="*/ 2084791 w 2744800"/>
                <a:gd name="connsiteY384" fmla="*/ 646914 h 674850"/>
                <a:gd name="connsiteX385" fmla="*/ 2063838 w 2744800"/>
                <a:gd name="connsiteY385" fmla="*/ 661756 h 674850"/>
                <a:gd name="connsiteX386" fmla="*/ 2054235 w 2744800"/>
                <a:gd name="connsiteY386" fmla="*/ 661756 h 674850"/>
                <a:gd name="connsiteX387" fmla="*/ 2129316 w 2744800"/>
                <a:gd name="connsiteY387" fmla="*/ 587548 h 674850"/>
                <a:gd name="connsiteX388" fmla="*/ 2129316 w 2744800"/>
                <a:gd name="connsiteY388" fmla="*/ 670486 h 674850"/>
                <a:gd name="connsiteX389" fmla="*/ 2172094 w 2744800"/>
                <a:gd name="connsiteY389" fmla="*/ 670486 h 674850"/>
                <a:gd name="connsiteX390" fmla="*/ 2172094 w 2744800"/>
                <a:gd name="connsiteY390" fmla="*/ 661756 h 674850"/>
                <a:gd name="connsiteX391" fmla="*/ 2138919 w 2744800"/>
                <a:gd name="connsiteY391" fmla="*/ 661756 h 674850"/>
                <a:gd name="connsiteX392" fmla="*/ 2138919 w 2744800"/>
                <a:gd name="connsiteY392" fmla="*/ 629454 h 674850"/>
                <a:gd name="connsiteX393" fmla="*/ 2172094 w 2744800"/>
                <a:gd name="connsiteY393" fmla="*/ 629454 h 674850"/>
                <a:gd name="connsiteX394" fmla="*/ 2172094 w 2744800"/>
                <a:gd name="connsiteY394" fmla="*/ 620723 h 674850"/>
                <a:gd name="connsiteX395" fmla="*/ 2138919 w 2744800"/>
                <a:gd name="connsiteY395" fmla="*/ 620723 h 674850"/>
                <a:gd name="connsiteX396" fmla="*/ 2138919 w 2744800"/>
                <a:gd name="connsiteY396" fmla="*/ 596278 h 674850"/>
                <a:gd name="connsiteX397" fmla="*/ 2172967 w 2744800"/>
                <a:gd name="connsiteY397" fmla="*/ 596278 h 674850"/>
                <a:gd name="connsiteX398" fmla="*/ 2172967 w 2744800"/>
                <a:gd name="connsiteY398" fmla="*/ 587548 h 674850"/>
                <a:gd name="connsiteX399" fmla="*/ 2129316 w 2744800"/>
                <a:gd name="connsiteY399" fmla="*/ 587548 h 674850"/>
                <a:gd name="connsiteX400" fmla="*/ 2210507 w 2744800"/>
                <a:gd name="connsiteY400" fmla="*/ 587548 h 674850"/>
                <a:gd name="connsiteX401" fmla="*/ 2210507 w 2744800"/>
                <a:gd name="connsiteY401" fmla="*/ 670486 h 674850"/>
                <a:gd name="connsiteX402" fmla="*/ 2220111 w 2744800"/>
                <a:gd name="connsiteY402" fmla="*/ 670486 h 674850"/>
                <a:gd name="connsiteX403" fmla="*/ 2220111 w 2744800"/>
                <a:gd name="connsiteY403" fmla="*/ 633819 h 674850"/>
                <a:gd name="connsiteX404" fmla="*/ 2222730 w 2744800"/>
                <a:gd name="connsiteY404" fmla="*/ 633819 h 674850"/>
                <a:gd name="connsiteX405" fmla="*/ 2248048 w 2744800"/>
                <a:gd name="connsiteY405" fmla="*/ 670486 h 674850"/>
                <a:gd name="connsiteX406" fmla="*/ 2259397 w 2744800"/>
                <a:gd name="connsiteY406" fmla="*/ 670486 h 674850"/>
                <a:gd name="connsiteX407" fmla="*/ 2233206 w 2744800"/>
                <a:gd name="connsiteY407" fmla="*/ 632946 h 674850"/>
                <a:gd name="connsiteX408" fmla="*/ 2254159 w 2744800"/>
                <a:gd name="connsiteY408" fmla="*/ 610247 h 674850"/>
                <a:gd name="connsiteX409" fmla="*/ 2224476 w 2744800"/>
                <a:gd name="connsiteY409" fmla="*/ 587548 h 674850"/>
                <a:gd name="connsiteX410" fmla="*/ 2210507 w 2744800"/>
                <a:gd name="connsiteY410" fmla="*/ 587548 h 674850"/>
                <a:gd name="connsiteX411" fmla="*/ 2220111 w 2744800"/>
                <a:gd name="connsiteY411" fmla="*/ 596278 h 674850"/>
                <a:gd name="connsiteX412" fmla="*/ 2225349 w 2744800"/>
                <a:gd name="connsiteY412" fmla="*/ 596278 h 674850"/>
                <a:gd name="connsiteX413" fmla="*/ 2244555 w 2744800"/>
                <a:gd name="connsiteY413" fmla="*/ 611120 h 674850"/>
                <a:gd name="connsiteX414" fmla="*/ 2224476 w 2744800"/>
                <a:gd name="connsiteY414" fmla="*/ 625961 h 674850"/>
                <a:gd name="connsiteX415" fmla="*/ 2220111 w 2744800"/>
                <a:gd name="connsiteY415" fmla="*/ 625961 h 674850"/>
                <a:gd name="connsiteX416" fmla="*/ 2220111 w 2744800"/>
                <a:gd name="connsiteY416" fmla="*/ 596278 h 674850"/>
                <a:gd name="connsiteX417" fmla="*/ 2284715 w 2744800"/>
                <a:gd name="connsiteY417" fmla="*/ 670486 h 674850"/>
                <a:gd name="connsiteX418" fmla="*/ 2295191 w 2744800"/>
                <a:gd name="connsiteY418" fmla="*/ 670486 h 674850"/>
                <a:gd name="connsiteX419" fmla="*/ 2304794 w 2744800"/>
                <a:gd name="connsiteY419" fmla="*/ 646914 h 674850"/>
                <a:gd name="connsiteX420" fmla="*/ 2340589 w 2744800"/>
                <a:gd name="connsiteY420" fmla="*/ 646914 h 674850"/>
                <a:gd name="connsiteX421" fmla="*/ 2350192 w 2744800"/>
                <a:gd name="connsiteY421" fmla="*/ 670486 h 674850"/>
                <a:gd name="connsiteX422" fmla="*/ 2360668 w 2744800"/>
                <a:gd name="connsiteY422" fmla="*/ 670486 h 674850"/>
                <a:gd name="connsiteX423" fmla="*/ 2323128 w 2744800"/>
                <a:gd name="connsiteY423" fmla="*/ 583183 h 674850"/>
                <a:gd name="connsiteX424" fmla="*/ 2284715 w 2744800"/>
                <a:gd name="connsiteY424" fmla="*/ 670486 h 674850"/>
                <a:gd name="connsiteX425" fmla="*/ 2322255 w 2744800"/>
                <a:gd name="connsiteY425" fmla="*/ 605009 h 674850"/>
                <a:gd name="connsiteX426" fmla="*/ 2336223 w 2744800"/>
                <a:gd name="connsiteY426" fmla="*/ 638184 h 674850"/>
                <a:gd name="connsiteX427" fmla="*/ 2308286 w 2744800"/>
                <a:gd name="connsiteY427" fmla="*/ 638184 h 674850"/>
                <a:gd name="connsiteX428" fmla="*/ 2322255 w 2744800"/>
                <a:gd name="connsiteY428" fmla="*/ 605009 h 674850"/>
                <a:gd name="connsiteX429" fmla="*/ 2375510 w 2744800"/>
                <a:gd name="connsiteY429" fmla="*/ 587548 h 674850"/>
                <a:gd name="connsiteX430" fmla="*/ 2375510 w 2744800"/>
                <a:gd name="connsiteY430" fmla="*/ 596278 h 674850"/>
                <a:gd name="connsiteX431" fmla="*/ 2395589 w 2744800"/>
                <a:gd name="connsiteY431" fmla="*/ 596278 h 674850"/>
                <a:gd name="connsiteX432" fmla="*/ 2395589 w 2744800"/>
                <a:gd name="connsiteY432" fmla="*/ 670486 h 674850"/>
                <a:gd name="connsiteX433" fmla="*/ 2405193 w 2744800"/>
                <a:gd name="connsiteY433" fmla="*/ 670486 h 674850"/>
                <a:gd name="connsiteX434" fmla="*/ 2405193 w 2744800"/>
                <a:gd name="connsiteY434" fmla="*/ 596278 h 674850"/>
                <a:gd name="connsiteX435" fmla="*/ 2425272 w 2744800"/>
                <a:gd name="connsiteY435" fmla="*/ 596278 h 674850"/>
                <a:gd name="connsiteX436" fmla="*/ 2425272 w 2744800"/>
                <a:gd name="connsiteY436" fmla="*/ 587548 h 674850"/>
                <a:gd name="connsiteX437" fmla="*/ 2375510 w 2744800"/>
                <a:gd name="connsiteY437" fmla="*/ 587548 h 674850"/>
                <a:gd name="connsiteX438" fmla="*/ 2455828 w 2744800"/>
                <a:gd name="connsiteY438" fmla="*/ 587548 h 674850"/>
                <a:gd name="connsiteX439" fmla="*/ 2455828 w 2744800"/>
                <a:gd name="connsiteY439" fmla="*/ 639930 h 674850"/>
                <a:gd name="connsiteX440" fmla="*/ 2464558 w 2744800"/>
                <a:gd name="connsiteY440" fmla="*/ 663502 h 674850"/>
                <a:gd name="connsiteX441" fmla="*/ 2485511 w 2744800"/>
                <a:gd name="connsiteY441" fmla="*/ 671359 h 674850"/>
                <a:gd name="connsiteX442" fmla="*/ 2511702 w 2744800"/>
                <a:gd name="connsiteY442" fmla="*/ 657390 h 674850"/>
                <a:gd name="connsiteX443" fmla="*/ 2515194 w 2744800"/>
                <a:gd name="connsiteY443" fmla="*/ 639930 h 674850"/>
                <a:gd name="connsiteX444" fmla="*/ 2515194 w 2744800"/>
                <a:gd name="connsiteY444" fmla="*/ 587548 h 674850"/>
                <a:gd name="connsiteX445" fmla="*/ 2505591 w 2744800"/>
                <a:gd name="connsiteY445" fmla="*/ 587548 h 674850"/>
                <a:gd name="connsiteX446" fmla="*/ 2505591 w 2744800"/>
                <a:gd name="connsiteY446" fmla="*/ 638184 h 674850"/>
                <a:gd name="connsiteX447" fmla="*/ 2503845 w 2744800"/>
                <a:gd name="connsiteY447" fmla="*/ 652152 h 674850"/>
                <a:gd name="connsiteX448" fmla="*/ 2485511 w 2744800"/>
                <a:gd name="connsiteY448" fmla="*/ 663502 h 674850"/>
                <a:gd name="connsiteX449" fmla="*/ 2474162 w 2744800"/>
                <a:gd name="connsiteY449" fmla="*/ 660010 h 674850"/>
                <a:gd name="connsiteX450" fmla="*/ 2465431 w 2744800"/>
                <a:gd name="connsiteY450" fmla="*/ 639057 h 674850"/>
                <a:gd name="connsiteX451" fmla="*/ 2465431 w 2744800"/>
                <a:gd name="connsiteY451" fmla="*/ 587548 h 674850"/>
                <a:gd name="connsiteX452" fmla="*/ 2455828 w 2744800"/>
                <a:gd name="connsiteY452" fmla="*/ 587548 h 674850"/>
                <a:gd name="connsiteX453" fmla="*/ 2554480 w 2744800"/>
                <a:gd name="connsiteY453" fmla="*/ 670486 h 674850"/>
                <a:gd name="connsiteX454" fmla="*/ 2564084 w 2744800"/>
                <a:gd name="connsiteY454" fmla="*/ 670486 h 674850"/>
                <a:gd name="connsiteX455" fmla="*/ 2564084 w 2744800"/>
                <a:gd name="connsiteY455" fmla="*/ 606755 h 674850"/>
                <a:gd name="connsiteX456" fmla="*/ 2628688 w 2744800"/>
                <a:gd name="connsiteY456" fmla="*/ 674851 h 674850"/>
                <a:gd name="connsiteX457" fmla="*/ 2628688 w 2744800"/>
                <a:gd name="connsiteY457" fmla="*/ 587548 h 674850"/>
                <a:gd name="connsiteX458" fmla="*/ 2619085 w 2744800"/>
                <a:gd name="connsiteY458" fmla="*/ 587548 h 674850"/>
                <a:gd name="connsiteX459" fmla="*/ 2619085 w 2744800"/>
                <a:gd name="connsiteY459" fmla="*/ 652152 h 674850"/>
                <a:gd name="connsiteX460" fmla="*/ 2554480 w 2744800"/>
                <a:gd name="connsiteY460" fmla="*/ 584056 h 674850"/>
                <a:gd name="connsiteX461" fmla="*/ 2554480 w 2744800"/>
                <a:gd name="connsiteY461" fmla="*/ 670486 h 674850"/>
                <a:gd name="connsiteX462" fmla="*/ 2741308 w 2744800"/>
                <a:gd name="connsiteY462" fmla="*/ 604136 h 674850"/>
                <a:gd name="connsiteX463" fmla="*/ 2706387 w 2744800"/>
                <a:gd name="connsiteY463" fmla="*/ 585802 h 674850"/>
                <a:gd name="connsiteX464" fmla="*/ 2662736 w 2744800"/>
                <a:gd name="connsiteY464" fmla="*/ 628580 h 674850"/>
                <a:gd name="connsiteX465" fmla="*/ 2705514 w 2744800"/>
                <a:gd name="connsiteY465" fmla="*/ 671359 h 674850"/>
                <a:gd name="connsiteX466" fmla="*/ 2734324 w 2744800"/>
                <a:gd name="connsiteY466" fmla="*/ 659136 h 674850"/>
                <a:gd name="connsiteX467" fmla="*/ 2744800 w 2744800"/>
                <a:gd name="connsiteY467" fmla="*/ 632946 h 674850"/>
                <a:gd name="connsiteX468" fmla="*/ 2744800 w 2744800"/>
                <a:gd name="connsiteY468" fmla="*/ 628580 h 674850"/>
                <a:gd name="connsiteX469" fmla="*/ 2709879 w 2744800"/>
                <a:gd name="connsiteY469" fmla="*/ 628580 h 674850"/>
                <a:gd name="connsiteX470" fmla="*/ 2709879 w 2744800"/>
                <a:gd name="connsiteY470" fmla="*/ 637311 h 674850"/>
                <a:gd name="connsiteX471" fmla="*/ 2734324 w 2744800"/>
                <a:gd name="connsiteY471" fmla="*/ 637311 h 674850"/>
                <a:gd name="connsiteX472" fmla="*/ 2704641 w 2744800"/>
                <a:gd name="connsiteY472" fmla="*/ 663502 h 674850"/>
                <a:gd name="connsiteX473" fmla="*/ 2671466 w 2744800"/>
                <a:gd name="connsiteY473" fmla="*/ 629454 h 674850"/>
                <a:gd name="connsiteX474" fmla="*/ 2705514 w 2744800"/>
                <a:gd name="connsiteY474" fmla="*/ 594532 h 674850"/>
                <a:gd name="connsiteX475" fmla="*/ 2734324 w 2744800"/>
                <a:gd name="connsiteY475" fmla="*/ 610247 h 674850"/>
                <a:gd name="connsiteX476" fmla="*/ 2741308 w 2744800"/>
                <a:gd name="connsiteY476" fmla="*/ 604136 h 67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Lst>
              <a:rect l="l" t="t" r="r" b="b"/>
              <a:pathLst>
                <a:path w="2744800" h="674850">
                  <a:moveTo>
                    <a:pt x="379767" y="79446"/>
                  </a:moveTo>
                  <a:lnTo>
                    <a:pt x="327386" y="129208"/>
                  </a:lnTo>
                  <a:cubicBezTo>
                    <a:pt x="291591" y="91668"/>
                    <a:pt x="252305" y="73334"/>
                    <a:pt x="207781" y="73334"/>
                  </a:cubicBezTo>
                  <a:cubicBezTo>
                    <a:pt x="170240" y="73334"/>
                    <a:pt x="138811" y="86430"/>
                    <a:pt x="112621" y="111748"/>
                  </a:cubicBezTo>
                  <a:cubicBezTo>
                    <a:pt x="87303" y="137065"/>
                    <a:pt x="74207" y="168494"/>
                    <a:pt x="74207" y="206035"/>
                  </a:cubicBezTo>
                  <a:cubicBezTo>
                    <a:pt x="74207" y="232226"/>
                    <a:pt x="80319" y="254924"/>
                    <a:pt x="91668" y="275877"/>
                  </a:cubicBezTo>
                  <a:cubicBezTo>
                    <a:pt x="103017" y="295957"/>
                    <a:pt x="118732" y="311671"/>
                    <a:pt x="139685" y="323894"/>
                  </a:cubicBezTo>
                  <a:cubicBezTo>
                    <a:pt x="160637" y="335243"/>
                    <a:pt x="183336" y="341354"/>
                    <a:pt x="208654" y="341354"/>
                  </a:cubicBezTo>
                  <a:cubicBezTo>
                    <a:pt x="230479" y="341354"/>
                    <a:pt x="249686" y="336989"/>
                    <a:pt x="268020" y="329132"/>
                  </a:cubicBezTo>
                  <a:cubicBezTo>
                    <a:pt x="286353" y="321274"/>
                    <a:pt x="305560" y="306433"/>
                    <a:pt x="327386" y="284607"/>
                  </a:cubicBezTo>
                  <a:lnTo>
                    <a:pt x="378021" y="336989"/>
                  </a:lnTo>
                  <a:cubicBezTo>
                    <a:pt x="349211" y="364926"/>
                    <a:pt x="322147" y="385006"/>
                    <a:pt x="295957" y="395482"/>
                  </a:cubicBezTo>
                  <a:cubicBezTo>
                    <a:pt x="270639" y="405958"/>
                    <a:pt x="240956" y="412069"/>
                    <a:pt x="207781" y="412069"/>
                  </a:cubicBezTo>
                  <a:cubicBezTo>
                    <a:pt x="146669" y="412069"/>
                    <a:pt x="96906" y="392863"/>
                    <a:pt x="58493" y="354450"/>
                  </a:cubicBezTo>
                  <a:cubicBezTo>
                    <a:pt x="19207" y="315163"/>
                    <a:pt x="0" y="266274"/>
                    <a:pt x="0" y="206035"/>
                  </a:cubicBezTo>
                  <a:cubicBezTo>
                    <a:pt x="0" y="166748"/>
                    <a:pt x="8730" y="132700"/>
                    <a:pt x="26191" y="102144"/>
                  </a:cubicBezTo>
                  <a:cubicBezTo>
                    <a:pt x="43651" y="71588"/>
                    <a:pt x="68969" y="47144"/>
                    <a:pt x="102144" y="28810"/>
                  </a:cubicBezTo>
                  <a:cubicBezTo>
                    <a:pt x="135319" y="10476"/>
                    <a:pt x="170240" y="873"/>
                    <a:pt x="208654" y="873"/>
                  </a:cubicBezTo>
                  <a:cubicBezTo>
                    <a:pt x="240956" y="873"/>
                    <a:pt x="272385" y="7857"/>
                    <a:pt x="302068" y="20953"/>
                  </a:cubicBezTo>
                  <a:cubicBezTo>
                    <a:pt x="331751" y="34921"/>
                    <a:pt x="357942" y="54128"/>
                    <a:pt x="379767" y="79446"/>
                  </a:cubicBezTo>
                  <a:close/>
                  <a:moveTo>
                    <a:pt x="895727" y="78573"/>
                  </a:moveTo>
                  <a:cubicBezTo>
                    <a:pt x="930648" y="78573"/>
                    <a:pt x="982157" y="82065"/>
                    <a:pt x="982157" y="129208"/>
                  </a:cubicBezTo>
                  <a:cubicBezTo>
                    <a:pt x="982157" y="171987"/>
                    <a:pt x="946363" y="181590"/>
                    <a:pt x="895727" y="181590"/>
                  </a:cubicBezTo>
                  <a:lnTo>
                    <a:pt x="895727" y="78573"/>
                  </a:lnTo>
                  <a:close/>
                  <a:moveTo>
                    <a:pt x="895727" y="249686"/>
                  </a:moveTo>
                  <a:lnTo>
                    <a:pt x="1003982" y="402466"/>
                  </a:lnTo>
                  <a:lnTo>
                    <a:pt x="1095650" y="402466"/>
                  </a:lnTo>
                  <a:lnTo>
                    <a:pt x="973426" y="238337"/>
                  </a:lnTo>
                  <a:cubicBezTo>
                    <a:pt x="1022316" y="223495"/>
                    <a:pt x="1053745" y="178971"/>
                    <a:pt x="1053745" y="127462"/>
                  </a:cubicBezTo>
                  <a:cubicBezTo>
                    <a:pt x="1053745" y="88176"/>
                    <a:pt x="1033665" y="48890"/>
                    <a:pt x="996998" y="28810"/>
                  </a:cubicBezTo>
                  <a:cubicBezTo>
                    <a:pt x="963823" y="10476"/>
                    <a:pt x="923664" y="10476"/>
                    <a:pt x="890489" y="10476"/>
                  </a:cubicBezTo>
                  <a:lnTo>
                    <a:pt x="819773" y="10476"/>
                  </a:lnTo>
                  <a:lnTo>
                    <a:pt x="819773" y="401593"/>
                  </a:lnTo>
                  <a:lnTo>
                    <a:pt x="895727" y="401593"/>
                  </a:lnTo>
                  <a:lnTo>
                    <a:pt x="895727" y="249686"/>
                  </a:lnTo>
                  <a:close/>
                  <a:moveTo>
                    <a:pt x="433022" y="254051"/>
                  </a:moveTo>
                  <a:cubicBezTo>
                    <a:pt x="433022" y="340481"/>
                    <a:pt x="489769" y="412069"/>
                    <a:pt x="584929" y="412069"/>
                  </a:cubicBezTo>
                  <a:cubicBezTo>
                    <a:pt x="680089" y="412069"/>
                    <a:pt x="736836" y="340481"/>
                    <a:pt x="736836" y="254051"/>
                  </a:cubicBezTo>
                  <a:lnTo>
                    <a:pt x="736836" y="10476"/>
                  </a:lnTo>
                  <a:lnTo>
                    <a:pt x="661755" y="10476"/>
                  </a:lnTo>
                  <a:lnTo>
                    <a:pt x="661755" y="238337"/>
                  </a:lnTo>
                  <a:cubicBezTo>
                    <a:pt x="661755" y="295957"/>
                    <a:pt x="644295" y="340481"/>
                    <a:pt x="584929" y="340481"/>
                  </a:cubicBezTo>
                  <a:cubicBezTo>
                    <a:pt x="524690" y="340481"/>
                    <a:pt x="508102" y="295957"/>
                    <a:pt x="508102" y="238337"/>
                  </a:cubicBezTo>
                  <a:lnTo>
                    <a:pt x="508102" y="10476"/>
                  </a:lnTo>
                  <a:lnTo>
                    <a:pt x="433022" y="10476"/>
                  </a:lnTo>
                  <a:lnTo>
                    <a:pt x="433022" y="254051"/>
                  </a:lnTo>
                  <a:close/>
                  <a:moveTo>
                    <a:pt x="1273748" y="10476"/>
                  </a:moveTo>
                  <a:lnTo>
                    <a:pt x="1122714" y="402466"/>
                  </a:lnTo>
                  <a:lnTo>
                    <a:pt x="1200414" y="402466"/>
                  </a:lnTo>
                  <a:lnTo>
                    <a:pt x="1232716" y="322147"/>
                  </a:lnTo>
                  <a:lnTo>
                    <a:pt x="1392480" y="322147"/>
                  </a:lnTo>
                  <a:lnTo>
                    <a:pt x="1423036" y="402466"/>
                  </a:lnTo>
                  <a:lnTo>
                    <a:pt x="1500735" y="402466"/>
                  </a:lnTo>
                  <a:lnTo>
                    <a:pt x="1349702" y="10476"/>
                  </a:lnTo>
                  <a:lnTo>
                    <a:pt x="1273748" y="10476"/>
                  </a:lnTo>
                  <a:close/>
                  <a:moveTo>
                    <a:pt x="1312161" y="114367"/>
                  </a:moveTo>
                  <a:lnTo>
                    <a:pt x="1363670" y="248813"/>
                  </a:lnTo>
                  <a:lnTo>
                    <a:pt x="1259780" y="248813"/>
                  </a:lnTo>
                  <a:lnTo>
                    <a:pt x="1312161" y="114367"/>
                  </a:lnTo>
                  <a:close/>
                  <a:moveTo>
                    <a:pt x="2426145" y="10476"/>
                  </a:moveTo>
                  <a:lnTo>
                    <a:pt x="2426145" y="403339"/>
                  </a:lnTo>
                  <a:lnTo>
                    <a:pt x="2501226" y="403339"/>
                  </a:lnTo>
                  <a:lnTo>
                    <a:pt x="2501226" y="145796"/>
                  </a:lnTo>
                  <a:lnTo>
                    <a:pt x="2669720" y="403339"/>
                  </a:lnTo>
                  <a:lnTo>
                    <a:pt x="2741308" y="403339"/>
                  </a:lnTo>
                  <a:lnTo>
                    <a:pt x="2741308" y="10476"/>
                  </a:lnTo>
                  <a:lnTo>
                    <a:pt x="2666228" y="10476"/>
                  </a:lnTo>
                  <a:lnTo>
                    <a:pt x="2666228" y="268893"/>
                  </a:lnTo>
                  <a:lnTo>
                    <a:pt x="2497734" y="10476"/>
                  </a:lnTo>
                  <a:lnTo>
                    <a:pt x="2426145" y="10476"/>
                  </a:lnTo>
                  <a:close/>
                  <a:moveTo>
                    <a:pt x="1890979" y="79446"/>
                  </a:moveTo>
                  <a:cubicBezTo>
                    <a:pt x="1869153" y="54128"/>
                    <a:pt x="1842962" y="34921"/>
                    <a:pt x="1813279" y="20953"/>
                  </a:cubicBezTo>
                  <a:cubicBezTo>
                    <a:pt x="1783597" y="6984"/>
                    <a:pt x="1752167" y="0"/>
                    <a:pt x="1719865" y="0"/>
                  </a:cubicBezTo>
                  <a:cubicBezTo>
                    <a:pt x="1681452" y="0"/>
                    <a:pt x="1646531" y="9603"/>
                    <a:pt x="1613356" y="27937"/>
                  </a:cubicBezTo>
                  <a:cubicBezTo>
                    <a:pt x="1580181" y="46271"/>
                    <a:pt x="1554863" y="70715"/>
                    <a:pt x="1537403" y="101271"/>
                  </a:cubicBezTo>
                  <a:cubicBezTo>
                    <a:pt x="1519942" y="131827"/>
                    <a:pt x="1511212" y="166748"/>
                    <a:pt x="1511212" y="206035"/>
                  </a:cubicBezTo>
                  <a:cubicBezTo>
                    <a:pt x="1511212" y="266274"/>
                    <a:pt x="1530418" y="316036"/>
                    <a:pt x="1569705" y="355323"/>
                  </a:cubicBezTo>
                  <a:cubicBezTo>
                    <a:pt x="1608991" y="393736"/>
                    <a:pt x="1658754" y="412942"/>
                    <a:pt x="1719865" y="412942"/>
                  </a:cubicBezTo>
                  <a:cubicBezTo>
                    <a:pt x="1753041" y="412942"/>
                    <a:pt x="1782723" y="407704"/>
                    <a:pt x="1808041" y="396355"/>
                  </a:cubicBezTo>
                  <a:cubicBezTo>
                    <a:pt x="1834232" y="385006"/>
                    <a:pt x="1861296" y="365799"/>
                    <a:pt x="1890106" y="336989"/>
                  </a:cubicBezTo>
                  <a:lnTo>
                    <a:pt x="1839470" y="283734"/>
                  </a:lnTo>
                  <a:cubicBezTo>
                    <a:pt x="1817645" y="304687"/>
                    <a:pt x="1798438" y="319528"/>
                    <a:pt x="1780104" y="328259"/>
                  </a:cubicBezTo>
                  <a:cubicBezTo>
                    <a:pt x="1761771" y="336116"/>
                    <a:pt x="1742564" y="340481"/>
                    <a:pt x="1720739" y="340481"/>
                  </a:cubicBezTo>
                  <a:cubicBezTo>
                    <a:pt x="1695421" y="340481"/>
                    <a:pt x="1671849" y="334370"/>
                    <a:pt x="1650896" y="323021"/>
                  </a:cubicBezTo>
                  <a:cubicBezTo>
                    <a:pt x="1629944" y="311671"/>
                    <a:pt x="1614229" y="295084"/>
                    <a:pt x="1602880" y="275004"/>
                  </a:cubicBezTo>
                  <a:cubicBezTo>
                    <a:pt x="1591530" y="254924"/>
                    <a:pt x="1585419" y="231353"/>
                    <a:pt x="1585419" y="205162"/>
                  </a:cubicBezTo>
                  <a:cubicBezTo>
                    <a:pt x="1585419" y="167621"/>
                    <a:pt x="1598515" y="136192"/>
                    <a:pt x="1623832" y="110002"/>
                  </a:cubicBezTo>
                  <a:cubicBezTo>
                    <a:pt x="1650023" y="84684"/>
                    <a:pt x="1681452" y="71588"/>
                    <a:pt x="1718992" y="71588"/>
                  </a:cubicBezTo>
                  <a:cubicBezTo>
                    <a:pt x="1763517" y="71588"/>
                    <a:pt x="1803676" y="90795"/>
                    <a:pt x="1839470" y="128335"/>
                  </a:cubicBezTo>
                  <a:lnTo>
                    <a:pt x="1890979" y="79446"/>
                  </a:lnTo>
                  <a:close/>
                  <a:moveTo>
                    <a:pt x="33175" y="649533"/>
                  </a:moveTo>
                  <a:lnTo>
                    <a:pt x="11349" y="587548"/>
                  </a:lnTo>
                  <a:lnTo>
                    <a:pt x="1746" y="587548"/>
                  </a:lnTo>
                  <a:lnTo>
                    <a:pt x="33175" y="674851"/>
                  </a:lnTo>
                  <a:lnTo>
                    <a:pt x="60239" y="607628"/>
                  </a:lnTo>
                  <a:lnTo>
                    <a:pt x="87303" y="674851"/>
                  </a:lnTo>
                  <a:lnTo>
                    <a:pt x="118732" y="587548"/>
                  </a:lnTo>
                  <a:lnTo>
                    <a:pt x="109129" y="587548"/>
                  </a:lnTo>
                  <a:lnTo>
                    <a:pt x="87303" y="649533"/>
                  </a:lnTo>
                  <a:lnTo>
                    <a:pt x="60239" y="583183"/>
                  </a:lnTo>
                  <a:lnTo>
                    <a:pt x="33175" y="649533"/>
                  </a:lnTo>
                  <a:close/>
                  <a:moveTo>
                    <a:pt x="151034" y="587548"/>
                  </a:moveTo>
                  <a:lnTo>
                    <a:pt x="151034" y="670486"/>
                  </a:lnTo>
                  <a:lnTo>
                    <a:pt x="160637" y="670486"/>
                  </a:lnTo>
                  <a:lnTo>
                    <a:pt x="160637" y="587548"/>
                  </a:lnTo>
                  <a:lnTo>
                    <a:pt x="151034" y="587548"/>
                  </a:lnTo>
                  <a:close/>
                  <a:moveTo>
                    <a:pt x="199050" y="587548"/>
                  </a:moveTo>
                  <a:lnTo>
                    <a:pt x="199050" y="670486"/>
                  </a:lnTo>
                  <a:lnTo>
                    <a:pt x="208654" y="670486"/>
                  </a:lnTo>
                  <a:lnTo>
                    <a:pt x="208654" y="633819"/>
                  </a:lnTo>
                  <a:lnTo>
                    <a:pt x="211273" y="633819"/>
                  </a:lnTo>
                  <a:lnTo>
                    <a:pt x="236591" y="670486"/>
                  </a:lnTo>
                  <a:lnTo>
                    <a:pt x="247940" y="670486"/>
                  </a:lnTo>
                  <a:lnTo>
                    <a:pt x="221749" y="632946"/>
                  </a:lnTo>
                  <a:cubicBezTo>
                    <a:pt x="234845" y="632073"/>
                    <a:pt x="242702" y="622469"/>
                    <a:pt x="242702" y="610247"/>
                  </a:cubicBezTo>
                  <a:cubicBezTo>
                    <a:pt x="242702" y="594532"/>
                    <a:pt x="233099" y="587548"/>
                    <a:pt x="213019" y="587548"/>
                  </a:cubicBezTo>
                  <a:lnTo>
                    <a:pt x="199050" y="587548"/>
                  </a:lnTo>
                  <a:close/>
                  <a:moveTo>
                    <a:pt x="208654" y="596278"/>
                  </a:moveTo>
                  <a:lnTo>
                    <a:pt x="213892" y="596278"/>
                  </a:lnTo>
                  <a:cubicBezTo>
                    <a:pt x="230479" y="596278"/>
                    <a:pt x="233099" y="603263"/>
                    <a:pt x="233099" y="611120"/>
                  </a:cubicBezTo>
                  <a:cubicBezTo>
                    <a:pt x="233099" y="621596"/>
                    <a:pt x="225241" y="625961"/>
                    <a:pt x="213019" y="625961"/>
                  </a:cubicBezTo>
                  <a:lnTo>
                    <a:pt x="208654" y="625961"/>
                  </a:lnTo>
                  <a:lnTo>
                    <a:pt x="208654" y="596278"/>
                  </a:lnTo>
                  <a:close/>
                  <a:moveTo>
                    <a:pt x="271512" y="587548"/>
                  </a:moveTo>
                  <a:lnTo>
                    <a:pt x="271512" y="596278"/>
                  </a:lnTo>
                  <a:lnTo>
                    <a:pt x="291591" y="596278"/>
                  </a:lnTo>
                  <a:lnTo>
                    <a:pt x="291591" y="670486"/>
                  </a:lnTo>
                  <a:lnTo>
                    <a:pt x="301195" y="670486"/>
                  </a:lnTo>
                  <a:lnTo>
                    <a:pt x="301195" y="596278"/>
                  </a:lnTo>
                  <a:lnTo>
                    <a:pt x="321274" y="596278"/>
                  </a:lnTo>
                  <a:lnTo>
                    <a:pt x="321274" y="587548"/>
                  </a:lnTo>
                  <a:lnTo>
                    <a:pt x="271512" y="587548"/>
                  </a:lnTo>
                  <a:close/>
                  <a:moveTo>
                    <a:pt x="397228" y="598898"/>
                  </a:moveTo>
                  <a:cubicBezTo>
                    <a:pt x="392863" y="591040"/>
                    <a:pt x="385005" y="585802"/>
                    <a:pt x="375402" y="585802"/>
                  </a:cubicBezTo>
                  <a:cubicBezTo>
                    <a:pt x="363180" y="585802"/>
                    <a:pt x="351830" y="594532"/>
                    <a:pt x="351830" y="606755"/>
                  </a:cubicBezTo>
                  <a:cubicBezTo>
                    <a:pt x="351830" y="615485"/>
                    <a:pt x="356195" y="622469"/>
                    <a:pt x="371037" y="628580"/>
                  </a:cubicBezTo>
                  <a:cubicBezTo>
                    <a:pt x="383259" y="633819"/>
                    <a:pt x="390244" y="637311"/>
                    <a:pt x="390244" y="646914"/>
                  </a:cubicBezTo>
                  <a:cubicBezTo>
                    <a:pt x="390244" y="655644"/>
                    <a:pt x="382386" y="663502"/>
                    <a:pt x="372783" y="663502"/>
                  </a:cubicBezTo>
                  <a:cubicBezTo>
                    <a:pt x="364053" y="663502"/>
                    <a:pt x="357942" y="657390"/>
                    <a:pt x="356195" y="647787"/>
                  </a:cubicBezTo>
                  <a:lnTo>
                    <a:pt x="347465" y="650406"/>
                  </a:lnTo>
                  <a:cubicBezTo>
                    <a:pt x="350084" y="663502"/>
                    <a:pt x="360561" y="672232"/>
                    <a:pt x="373656" y="672232"/>
                  </a:cubicBezTo>
                  <a:cubicBezTo>
                    <a:pt x="388498" y="672232"/>
                    <a:pt x="399847" y="660883"/>
                    <a:pt x="399847" y="646914"/>
                  </a:cubicBezTo>
                  <a:cubicBezTo>
                    <a:pt x="399847" y="634692"/>
                    <a:pt x="391990" y="628580"/>
                    <a:pt x="382386" y="625088"/>
                  </a:cubicBezTo>
                  <a:cubicBezTo>
                    <a:pt x="375402" y="621596"/>
                    <a:pt x="366672" y="618977"/>
                    <a:pt x="363180" y="614612"/>
                  </a:cubicBezTo>
                  <a:cubicBezTo>
                    <a:pt x="361434" y="612866"/>
                    <a:pt x="361434" y="610247"/>
                    <a:pt x="361434" y="608501"/>
                  </a:cubicBezTo>
                  <a:cubicBezTo>
                    <a:pt x="361434" y="600644"/>
                    <a:pt x="367545" y="595405"/>
                    <a:pt x="375402" y="595405"/>
                  </a:cubicBezTo>
                  <a:cubicBezTo>
                    <a:pt x="381513" y="595405"/>
                    <a:pt x="385878" y="598024"/>
                    <a:pt x="389371" y="604136"/>
                  </a:cubicBezTo>
                  <a:lnTo>
                    <a:pt x="397228" y="598898"/>
                  </a:lnTo>
                  <a:close/>
                  <a:moveTo>
                    <a:pt x="499372" y="594532"/>
                  </a:moveTo>
                  <a:cubicBezTo>
                    <a:pt x="495880" y="591913"/>
                    <a:pt x="487150" y="586675"/>
                    <a:pt x="474927" y="586675"/>
                  </a:cubicBezTo>
                  <a:cubicBezTo>
                    <a:pt x="451356" y="586675"/>
                    <a:pt x="431276" y="605882"/>
                    <a:pt x="431276" y="630327"/>
                  </a:cubicBezTo>
                  <a:cubicBezTo>
                    <a:pt x="431276" y="654771"/>
                    <a:pt x="452229" y="673105"/>
                    <a:pt x="474927" y="673105"/>
                  </a:cubicBezTo>
                  <a:cubicBezTo>
                    <a:pt x="483658" y="673105"/>
                    <a:pt x="492388" y="670486"/>
                    <a:pt x="499372" y="665248"/>
                  </a:cubicBezTo>
                  <a:lnTo>
                    <a:pt x="499372" y="653898"/>
                  </a:lnTo>
                  <a:cubicBezTo>
                    <a:pt x="492388" y="660883"/>
                    <a:pt x="482785" y="665248"/>
                    <a:pt x="474054" y="665248"/>
                  </a:cubicBezTo>
                  <a:cubicBezTo>
                    <a:pt x="455721" y="665248"/>
                    <a:pt x="440006" y="648660"/>
                    <a:pt x="440006" y="631200"/>
                  </a:cubicBezTo>
                  <a:cubicBezTo>
                    <a:pt x="440006" y="611993"/>
                    <a:pt x="455721" y="597151"/>
                    <a:pt x="473181" y="597151"/>
                  </a:cubicBezTo>
                  <a:cubicBezTo>
                    <a:pt x="482785" y="597151"/>
                    <a:pt x="491515" y="601517"/>
                    <a:pt x="498499" y="608501"/>
                  </a:cubicBezTo>
                  <a:lnTo>
                    <a:pt x="498499" y="594532"/>
                  </a:lnTo>
                  <a:close/>
                  <a:moveTo>
                    <a:pt x="537785" y="587548"/>
                  </a:moveTo>
                  <a:lnTo>
                    <a:pt x="537785" y="670486"/>
                  </a:lnTo>
                  <a:lnTo>
                    <a:pt x="547389" y="670486"/>
                  </a:lnTo>
                  <a:lnTo>
                    <a:pt x="547389" y="629454"/>
                  </a:lnTo>
                  <a:lnTo>
                    <a:pt x="590167" y="629454"/>
                  </a:lnTo>
                  <a:lnTo>
                    <a:pt x="590167" y="670486"/>
                  </a:lnTo>
                  <a:lnTo>
                    <a:pt x="599770" y="670486"/>
                  </a:lnTo>
                  <a:lnTo>
                    <a:pt x="599770" y="587548"/>
                  </a:lnTo>
                  <a:lnTo>
                    <a:pt x="590167" y="587548"/>
                  </a:lnTo>
                  <a:lnTo>
                    <a:pt x="590167" y="621596"/>
                  </a:lnTo>
                  <a:lnTo>
                    <a:pt x="547389" y="621596"/>
                  </a:lnTo>
                  <a:lnTo>
                    <a:pt x="547389" y="587548"/>
                  </a:lnTo>
                  <a:lnTo>
                    <a:pt x="537785" y="587548"/>
                  </a:lnTo>
                  <a:close/>
                  <a:moveTo>
                    <a:pt x="630326" y="670486"/>
                  </a:moveTo>
                  <a:lnTo>
                    <a:pt x="640803" y="670486"/>
                  </a:lnTo>
                  <a:lnTo>
                    <a:pt x="650406" y="646914"/>
                  </a:lnTo>
                  <a:lnTo>
                    <a:pt x="686200" y="646914"/>
                  </a:lnTo>
                  <a:lnTo>
                    <a:pt x="695803" y="670486"/>
                  </a:lnTo>
                  <a:lnTo>
                    <a:pt x="706280" y="670486"/>
                  </a:lnTo>
                  <a:lnTo>
                    <a:pt x="668740" y="583183"/>
                  </a:lnTo>
                  <a:lnTo>
                    <a:pt x="630326" y="670486"/>
                  </a:lnTo>
                  <a:close/>
                  <a:moveTo>
                    <a:pt x="668740" y="605009"/>
                  </a:moveTo>
                  <a:lnTo>
                    <a:pt x="682708" y="638184"/>
                  </a:lnTo>
                  <a:lnTo>
                    <a:pt x="654771" y="638184"/>
                  </a:lnTo>
                  <a:lnTo>
                    <a:pt x="668740" y="605009"/>
                  </a:lnTo>
                  <a:close/>
                  <a:moveTo>
                    <a:pt x="736836" y="587548"/>
                  </a:moveTo>
                  <a:lnTo>
                    <a:pt x="736836" y="670486"/>
                  </a:lnTo>
                  <a:lnTo>
                    <a:pt x="746439" y="670486"/>
                  </a:lnTo>
                  <a:lnTo>
                    <a:pt x="746439" y="629454"/>
                  </a:lnTo>
                  <a:lnTo>
                    <a:pt x="774376" y="629454"/>
                  </a:lnTo>
                  <a:lnTo>
                    <a:pt x="774376" y="620723"/>
                  </a:lnTo>
                  <a:lnTo>
                    <a:pt x="746439" y="620723"/>
                  </a:lnTo>
                  <a:lnTo>
                    <a:pt x="746439" y="596278"/>
                  </a:lnTo>
                  <a:lnTo>
                    <a:pt x="775249" y="596278"/>
                  </a:lnTo>
                  <a:lnTo>
                    <a:pt x="775249" y="587548"/>
                  </a:lnTo>
                  <a:lnTo>
                    <a:pt x="736836" y="587548"/>
                  </a:lnTo>
                  <a:close/>
                  <a:moveTo>
                    <a:pt x="804059" y="587548"/>
                  </a:moveTo>
                  <a:lnTo>
                    <a:pt x="804059" y="596278"/>
                  </a:lnTo>
                  <a:lnTo>
                    <a:pt x="824139" y="596278"/>
                  </a:lnTo>
                  <a:lnTo>
                    <a:pt x="824139" y="670486"/>
                  </a:lnTo>
                  <a:lnTo>
                    <a:pt x="833742" y="670486"/>
                  </a:lnTo>
                  <a:lnTo>
                    <a:pt x="833742" y="596278"/>
                  </a:lnTo>
                  <a:lnTo>
                    <a:pt x="853822" y="596278"/>
                  </a:lnTo>
                  <a:lnTo>
                    <a:pt x="853822" y="587548"/>
                  </a:lnTo>
                  <a:lnTo>
                    <a:pt x="804059" y="587548"/>
                  </a:lnTo>
                  <a:close/>
                  <a:moveTo>
                    <a:pt x="930648" y="598898"/>
                  </a:moveTo>
                  <a:cubicBezTo>
                    <a:pt x="926283" y="591040"/>
                    <a:pt x="918426" y="585802"/>
                    <a:pt x="908822" y="585802"/>
                  </a:cubicBezTo>
                  <a:cubicBezTo>
                    <a:pt x="896600" y="585802"/>
                    <a:pt x="885251" y="594532"/>
                    <a:pt x="885251" y="606755"/>
                  </a:cubicBezTo>
                  <a:cubicBezTo>
                    <a:pt x="885251" y="615485"/>
                    <a:pt x="889616" y="622469"/>
                    <a:pt x="904457" y="628580"/>
                  </a:cubicBezTo>
                  <a:cubicBezTo>
                    <a:pt x="916680" y="633819"/>
                    <a:pt x="923664" y="637311"/>
                    <a:pt x="923664" y="646914"/>
                  </a:cubicBezTo>
                  <a:cubicBezTo>
                    <a:pt x="923664" y="655644"/>
                    <a:pt x="915807" y="663502"/>
                    <a:pt x="906203" y="663502"/>
                  </a:cubicBezTo>
                  <a:cubicBezTo>
                    <a:pt x="897473" y="663502"/>
                    <a:pt x="891362" y="657390"/>
                    <a:pt x="889616" y="647787"/>
                  </a:cubicBezTo>
                  <a:lnTo>
                    <a:pt x="880885" y="650406"/>
                  </a:lnTo>
                  <a:cubicBezTo>
                    <a:pt x="883504" y="663502"/>
                    <a:pt x="893981" y="672232"/>
                    <a:pt x="907076" y="672232"/>
                  </a:cubicBezTo>
                  <a:cubicBezTo>
                    <a:pt x="921918" y="672232"/>
                    <a:pt x="933267" y="660883"/>
                    <a:pt x="933267" y="646914"/>
                  </a:cubicBezTo>
                  <a:cubicBezTo>
                    <a:pt x="933267" y="634692"/>
                    <a:pt x="925410" y="628580"/>
                    <a:pt x="915807" y="625088"/>
                  </a:cubicBezTo>
                  <a:cubicBezTo>
                    <a:pt x="908822" y="621596"/>
                    <a:pt x="900092" y="618977"/>
                    <a:pt x="896600" y="614612"/>
                  </a:cubicBezTo>
                  <a:cubicBezTo>
                    <a:pt x="894854" y="612866"/>
                    <a:pt x="894854" y="610247"/>
                    <a:pt x="894854" y="608501"/>
                  </a:cubicBezTo>
                  <a:cubicBezTo>
                    <a:pt x="894854" y="600644"/>
                    <a:pt x="900965" y="595405"/>
                    <a:pt x="908822" y="595405"/>
                  </a:cubicBezTo>
                  <a:cubicBezTo>
                    <a:pt x="914934" y="595405"/>
                    <a:pt x="919299" y="598024"/>
                    <a:pt x="922791" y="604136"/>
                  </a:cubicBezTo>
                  <a:lnTo>
                    <a:pt x="930648" y="598898"/>
                  </a:lnTo>
                  <a:close/>
                  <a:moveTo>
                    <a:pt x="969061" y="587548"/>
                  </a:moveTo>
                  <a:lnTo>
                    <a:pt x="969061" y="670486"/>
                  </a:lnTo>
                  <a:lnTo>
                    <a:pt x="978665" y="670486"/>
                  </a:lnTo>
                  <a:lnTo>
                    <a:pt x="978665" y="633819"/>
                  </a:lnTo>
                  <a:lnTo>
                    <a:pt x="986522" y="633819"/>
                  </a:lnTo>
                  <a:cubicBezTo>
                    <a:pt x="996125" y="633819"/>
                    <a:pt x="1002236" y="631200"/>
                    <a:pt x="1006601" y="626834"/>
                  </a:cubicBezTo>
                  <a:cubicBezTo>
                    <a:pt x="1010967" y="622469"/>
                    <a:pt x="1012713" y="616358"/>
                    <a:pt x="1012713" y="610247"/>
                  </a:cubicBezTo>
                  <a:cubicBezTo>
                    <a:pt x="1012713" y="600644"/>
                    <a:pt x="1007475" y="592786"/>
                    <a:pt x="999617" y="589294"/>
                  </a:cubicBezTo>
                  <a:cubicBezTo>
                    <a:pt x="996125" y="587548"/>
                    <a:pt x="990887" y="586675"/>
                    <a:pt x="983030" y="586675"/>
                  </a:cubicBezTo>
                  <a:lnTo>
                    <a:pt x="969061" y="586675"/>
                  </a:lnTo>
                  <a:close/>
                  <a:moveTo>
                    <a:pt x="978665" y="596278"/>
                  </a:moveTo>
                  <a:lnTo>
                    <a:pt x="986522" y="596278"/>
                  </a:lnTo>
                  <a:cubicBezTo>
                    <a:pt x="999617" y="597151"/>
                    <a:pt x="1003109" y="601517"/>
                    <a:pt x="1003109" y="611120"/>
                  </a:cubicBezTo>
                  <a:cubicBezTo>
                    <a:pt x="1003109" y="624215"/>
                    <a:pt x="992633" y="625961"/>
                    <a:pt x="983030" y="625961"/>
                  </a:cubicBezTo>
                  <a:lnTo>
                    <a:pt x="977792" y="625961"/>
                  </a:lnTo>
                  <a:lnTo>
                    <a:pt x="977792" y="596278"/>
                  </a:lnTo>
                  <a:close/>
                  <a:moveTo>
                    <a:pt x="1046761" y="587548"/>
                  </a:moveTo>
                  <a:lnTo>
                    <a:pt x="1046761" y="670486"/>
                  </a:lnTo>
                  <a:lnTo>
                    <a:pt x="1056364" y="670486"/>
                  </a:lnTo>
                  <a:lnTo>
                    <a:pt x="1056364" y="633819"/>
                  </a:lnTo>
                  <a:lnTo>
                    <a:pt x="1058983" y="633819"/>
                  </a:lnTo>
                  <a:lnTo>
                    <a:pt x="1084301" y="670486"/>
                  </a:lnTo>
                  <a:lnTo>
                    <a:pt x="1095650" y="670486"/>
                  </a:lnTo>
                  <a:lnTo>
                    <a:pt x="1069460" y="632946"/>
                  </a:lnTo>
                  <a:cubicBezTo>
                    <a:pt x="1082555" y="632073"/>
                    <a:pt x="1090412" y="622469"/>
                    <a:pt x="1090412" y="610247"/>
                  </a:cubicBezTo>
                  <a:cubicBezTo>
                    <a:pt x="1090412" y="594532"/>
                    <a:pt x="1080809" y="587548"/>
                    <a:pt x="1060729" y="587548"/>
                  </a:cubicBezTo>
                  <a:lnTo>
                    <a:pt x="1046761" y="587548"/>
                  </a:lnTo>
                  <a:close/>
                  <a:moveTo>
                    <a:pt x="1056364" y="596278"/>
                  </a:moveTo>
                  <a:lnTo>
                    <a:pt x="1061602" y="596278"/>
                  </a:lnTo>
                  <a:cubicBezTo>
                    <a:pt x="1078190" y="596278"/>
                    <a:pt x="1080809" y="603263"/>
                    <a:pt x="1080809" y="611120"/>
                  </a:cubicBezTo>
                  <a:cubicBezTo>
                    <a:pt x="1080809" y="621596"/>
                    <a:pt x="1072952" y="625961"/>
                    <a:pt x="1060729" y="625961"/>
                  </a:cubicBezTo>
                  <a:lnTo>
                    <a:pt x="1056364" y="625961"/>
                  </a:lnTo>
                  <a:lnTo>
                    <a:pt x="1056364" y="596278"/>
                  </a:lnTo>
                  <a:close/>
                  <a:moveTo>
                    <a:pt x="1127952" y="587548"/>
                  </a:moveTo>
                  <a:lnTo>
                    <a:pt x="1127952" y="639930"/>
                  </a:lnTo>
                  <a:cubicBezTo>
                    <a:pt x="1127952" y="653025"/>
                    <a:pt x="1131445" y="658263"/>
                    <a:pt x="1136683" y="663502"/>
                  </a:cubicBezTo>
                  <a:cubicBezTo>
                    <a:pt x="1141921" y="668740"/>
                    <a:pt x="1149778" y="671359"/>
                    <a:pt x="1157635" y="671359"/>
                  </a:cubicBezTo>
                  <a:cubicBezTo>
                    <a:pt x="1168112" y="671359"/>
                    <a:pt x="1177715" y="666121"/>
                    <a:pt x="1183826" y="657390"/>
                  </a:cubicBezTo>
                  <a:cubicBezTo>
                    <a:pt x="1186445" y="653025"/>
                    <a:pt x="1187318" y="647787"/>
                    <a:pt x="1187318" y="639930"/>
                  </a:cubicBezTo>
                  <a:lnTo>
                    <a:pt x="1187318" y="587548"/>
                  </a:lnTo>
                  <a:lnTo>
                    <a:pt x="1178588" y="587548"/>
                  </a:lnTo>
                  <a:lnTo>
                    <a:pt x="1178588" y="638184"/>
                  </a:lnTo>
                  <a:cubicBezTo>
                    <a:pt x="1178588" y="646914"/>
                    <a:pt x="1177715" y="649533"/>
                    <a:pt x="1176842" y="652152"/>
                  </a:cubicBezTo>
                  <a:cubicBezTo>
                    <a:pt x="1174223" y="658263"/>
                    <a:pt x="1166366" y="663502"/>
                    <a:pt x="1158508" y="663502"/>
                  </a:cubicBezTo>
                  <a:cubicBezTo>
                    <a:pt x="1154143" y="663502"/>
                    <a:pt x="1150651" y="662629"/>
                    <a:pt x="1147159" y="660010"/>
                  </a:cubicBezTo>
                  <a:cubicBezTo>
                    <a:pt x="1140175" y="655644"/>
                    <a:pt x="1138429" y="650406"/>
                    <a:pt x="1138429" y="639057"/>
                  </a:cubicBezTo>
                  <a:lnTo>
                    <a:pt x="1138429" y="587548"/>
                  </a:lnTo>
                  <a:lnTo>
                    <a:pt x="1127952" y="587548"/>
                  </a:lnTo>
                  <a:close/>
                  <a:moveTo>
                    <a:pt x="1153270" y="570088"/>
                  </a:moveTo>
                  <a:cubicBezTo>
                    <a:pt x="1153270" y="566595"/>
                    <a:pt x="1150651" y="563976"/>
                    <a:pt x="1147159" y="563976"/>
                  </a:cubicBezTo>
                  <a:cubicBezTo>
                    <a:pt x="1143667" y="563976"/>
                    <a:pt x="1141048" y="566595"/>
                    <a:pt x="1141048" y="570088"/>
                  </a:cubicBezTo>
                  <a:cubicBezTo>
                    <a:pt x="1141048" y="573580"/>
                    <a:pt x="1143667" y="576199"/>
                    <a:pt x="1147159" y="576199"/>
                  </a:cubicBezTo>
                  <a:cubicBezTo>
                    <a:pt x="1150651" y="576199"/>
                    <a:pt x="1153270" y="573580"/>
                    <a:pt x="1153270" y="570088"/>
                  </a:cubicBezTo>
                  <a:close/>
                  <a:moveTo>
                    <a:pt x="1174223" y="570088"/>
                  </a:moveTo>
                  <a:cubicBezTo>
                    <a:pt x="1174223" y="566595"/>
                    <a:pt x="1171604" y="563976"/>
                    <a:pt x="1168112" y="563976"/>
                  </a:cubicBezTo>
                  <a:cubicBezTo>
                    <a:pt x="1164620" y="563976"/>
                    <a:pt x="1162001" y="566595"/>
                    <a:pt x="1162001" y="570088"/>
                  </a:cubicBezTo>
                  <a:cubicBezTo>
                    <a:pt x="1162001" y="573580"/>
                    <a:pt x="1164620" y="576199"/>
                    <a:pt x="1168112" y="576199"/>
                  </a:cubicBezTo>
                  <a:cubicBezTo>
                    <a:pt x="1172477" y="576199"/>
                    <a:pt x="1174223" y="573580"/>
                    <a:pt x="1174223" y="570088"/>
                  </a:cubicBezTo>
                  <a:close/>
                  <a:moveTo>
                    <a:pt x="1225731" y="587548"/>
                  </a:moveTo>
                  <a:lnTo>
                    <a:pt x="1225731" y="670486"/>
                  </a:lnTo>
                  <a:lnTo>
                    <a:pt x="1235335" y="670486"/>
                  </a:lnTo>
                  <a:lnTo>
                    <a:pt x="1235335" y="629454"/>
                  </a:lnTo>
                  <a:lnTo>
                    <a:pt x="1263272" y="629454"/>
                  </a:lnTo>
                  <a:lnTo>
                    <a:pt x="1263272" y="620723"/>
                  </a:lnTo>
                  <a:lnTo>
                    <a:pt x="1235335" y="620723"/>
                  </a:lnTo>
                  <a:lnTo>
                    <a:pt x="1235335" y="596278"/>
                  </a:lnTo>
                  <a:lnTo>
                    <a:pt x="1264145" y="596278"/>
                  </a:lnTo>
                  <a:lnTo>
                    <a:pt x="1264145" y="587548"/>
                  </a:lnTo>
                  <a:lnTo>
                    <a:pt x="1225731" y="587548"/>
                  </a:lnTo>
                  <a:close/>
                  <a:moveTo>
                    <a:pt x="1300812" y="587548"/>
                  </a:moveTo>
                  <a:lnTo>
                    <a:pt x="1300812" y="639930"/>
                  </a:lnTo>
                  <a:cubicBezTo>
                    <a:pt x="1300812" y="653025"/>
                    <a:pt x="1304304" y="658263"/>
                    <a:pt x="1309542" y="663502"/>
                  </a:cubicBezTo>
                  <a:cubicBezTo>
                    <a:pt x="1314780" y="668740"/>
                    <a:pt x="1322638" y="671359"/>
                    <a:pt x="1330495" y="671359"/>
                  </a:cubicBezTo>
                  <a:cubicBezTo>
                    <a:pt x="1340971" y="671359"/>
                    <a:pt x="1350575" y="666121"/>
                    <a:pt x="1356686" y="657390"/>
                  </a:cubicBezTo>
                  <a:cubicBezTo>
                    <a:pt x="1359305" y="653025"/>
                    <a:pt x="1360178" y="647787"/>
                    <a:pt x="1360178" y="639930"/>
                  </a:cubicBezTo>
                  <a:lnTo>
                    <a:pt x="1360178" y="587548"/>
                  </a:lnTo>
                  <a:lnTo>
                    <a:pt x="1350575" y="587548"/>
                  </a:lnTo>
                  <a:lnTo>
                    <a:pt x="1350575" y="638184"/>
                  </a:lnTo>
                  <a:cubicBezTo>
                    <a:pt x="1350575" y="646914"/>
                    <a:pt x="1349702" y="649533"/>
                    <a:pt x="1348829" y="652152"/>
                  </a:cubicBezTo>
                  <a:cubicBezTo>
                    <a:pt x="1346209" y="658263"/>
                    <a:pt x="1338352" y="663502"/>
                    <a:pt x="1330495" y="663502"/>
                  </a:cubicBezTo>
                  <a:cubicBezTo>
                    <a:pt x="1326130" y="663502"/>
                    <a:pt x="1322638" y="662629"/>
                    <a:pt x="1319146" y="660010"/>
                  </a:cubicBezTo>
                  <a:cubicBezTo>
                    <a:pt x="1312161" y="655644"/>
                    <a:pt x="1310415" y="650406"/>
                    <a:pt x="1310415" y="639057"/>
                  </a:cubicBezTo>
                  <a:lnTo>
                    <a:pt x="1310415" y="587548"/>
                  </a:lnTo>
                  <a:lnTo>
                    <a:pt x="1300812" y="587548"/>
                  </a:lnTo>
                  <a:close/>
                  <a:moveTo>
                    <a:pt x="1398591" y="670486"/>
                  </a:moveTo>
                  <a:lnTo>
                    <a:pt x="1408194" y="670486"/>
                  </a:lnTo>
                  <a:lnTo>
                    <a:pt x="1408194" y="606755"/>
                  </a:lnTo>
                  <a:lnTo>
                    <a:pt x="1472798" y="674851"/>
                  </a:lnTo>
                  <a:lnTo>
                    <a:pt x="1472798" y="587548"/>
                  </a:lnTo>
                  <a:lnTo>
                    <a:pt x="1463195" y="587548"/>
                  </a:lnTo>
                  <a:lnTo>
                    <a:pt x="1463195" y="652152"/>
                  </a:lnTo>
                  <a:lnTo>
                    <a:pt x="1398591" y="584056"/>
                  </a:lnTo>
                  <a:lnTo>
                    <a:pt x="1398591" y="670486"/>
                  </a:lnTo>
                  <a:close/>
                  <a:moveTo>
                    <a:pt x="1586292" y="604136"/>
                  </a:moveTo>
                  <a:cubicBezTo>
                    <a:pt x="1577562" y="592786"/>
                    <a:pt x="1565340" y="585802"/>
                    <a:pt x="1551371" y="585802"/>
                  </a:cubicBezTo>
                  <a:cubicBezTo>
                    <a:pt x="1527799" y="585802"/>
                    <a:pt x="1507720" y="605009"/>
                    <a:pt x="1507720" y="628580"/>
                  </a:cubicBezTo>
                  <a:cubicBezTo>
                    <a:pt x="1507720" y="652152"/>
                    <a:pt x="1527799" y="671359"/>
                    <a:pt x="1550498" y="671359"/>
                  </a:cubicBezTo>
                  <a:cubicBezTo>
                    <a:pt x="1560974" y="671359"/>
                    <a:pt x="1572324" y="666994"/>
                    <a:pt x="1579308" y="659136"/>
                  </a:cubicBezTo>
                  <a:cubicBezTo>
                    <a:pt x="1587165" y="651279"/>
                    <a:pt x="1589784" y="641676"/>
                    <a:pt x="1589784" y="632946"/>
                  </a:cubicBezTo>
                  <a:lnTo>
                    <a:pt x="1589784" y="628580"/>
                  </a:lnTo>
                  <a:lnTo>
                    <a:pt x="1554863" y="628580"/>
                  </a:lnTo>
                  <a:lnTo>
                    <a:pt x="1554863" y="637311"/>
                  </a:lnTo>
                  <a:lnTo>
                    <a:pt x="1579308" y="637311"/>
                  </a:lnTo>
                  <a:cubicBezTo>
                    <a:pt x="1579308" y="652152"/>
                    <a:pt x="1564466" y="663502"/>
                    <a:pt x="1549625" y="663502"/>
                  </a:cubicBezTo>
                  <a:cubicBezTo>
                    <a:pt x="1533910" y="663502"/>
                    <a:pt x="1516450" y="649533"/>
                    <a:pt x="1516450" y="629454"/>
                  </a:cubicBezTo>
                  <a:cubicBezTo>
                    <a:pt x="1516450" y="610247"/>
                    <a:pt x="1532164" y="594532"/>
                    <a:pt x="1550498" y="594532"/>
                  </a:cubicBezTo>
                  <a:cubicBezTo>
                    <a:pt x="1562720" y="594532"/>
                    <a:pt x="1572324" y="600644"/>
                    <a:pt x="1579308" y="610247"/>
                  </a:cubicBezTo>
                  <a:lnTo>
                    <a:pt x="1586292" y="604136"/>
                  </a:lnTo>
                  <a:close/>
                  <a:moveTo>
                    <a:pt x="1680579" y="587548"/>
                  </a:moveTo>
                  <a:lnTo>
                    <a:pt x="1680579" y="639930"/>
                  </a:lnTo>
                  <a:cubicBezTo>
                    <a:pt x="1680579" y="653025"/>
                    <a:pt x="1684071" y="658263"/>
                    <a:pt x="1689309" y="663502"/>
                  </a:cubicBezTo>
                  <a:cubicBezTo>
                    <a:pt x="1694548" y="668740"/>
                    <a:pt x="1702405" y="671359"/>
                    <a:pt x="1710262" y="671359"/>
                  </a:cubicBezTo>
                  <a:cubicBezTo>
                    <a:pt x="1720739" y="671359"/>
                    <a:pt x="1730342" y="666121"/>
                    <a:pt x="1736453" y="657390"/>
                  </a:cubicBezTo>
                  <a:cubicBezTo>
                    <a:pt x="1739072" y="653025"/>
                    <a:pt x="1739945" y="647787"/>
                    <a:pt x="1739945" y="639930"/>
                  </a:cubicBezTo>
                  <a:lnTo>
                    <a:pt x="1739945" y="587548"/>
                  </a:lnTo>
                  <a:lnTo>
                    <a:pt x="1730342" y="587548"/>
                  </a:lnTo>
                  <a:lnTo>
                    <a:pt x="1730342" y="638184"/>
                  </a:lnTo>
                  <a:cubicBezTo>
                    <a:pt x="1730342" y="646914"/>
                    <a:pt x="1729469" y="649533"/>
                    <a:pt x="1728596" y="652152"/>
                  </a:cubicBezTo>
                  <a:cubicBezTo>
                    <a:pt x="1725977" y="658263"/>
                    <a:pt x="1718119" y="663502"/>
                    <a:pt x="1710262" y="663502"/>
                  </a:cubicBezTo>
                  <a:cubicBezTo>
                    <a:pt x="1705897" y="663502"/>
                    <a:pt x="1702405" y="662629"/>
                    <a:pt x="1698913" y="660010"/>
                  </a:cubicBezTo>
                  <a:cubicBezTo>
                    <a:pt x="1691929" y="655644"/>
                    <a:pt x="1690183" y="650406"/>
                    <a:pt x="1690183" y="639057"/>
                  </a:cubicBezTo>
                  <a:lnTo>
                    <a:pt x="1690183" y="587548"/>
                  </a:lnTo>
                  <a:lnTo>
                    <a:pt x="1680579" y="587548"/>
                  </a:lnTo>
                  <a:close/>
                  <a:moveTo>
                    <a:pt x="1778358" y="670486"/>
                  </a:moveTo>
                  <a:lnTo>
                    <a:pt x="1787962" y="670486"/>
                  </a:lnTo>
                  <a:lnTo>
                    <a:pt x="1787962" y="606755"/>
                  </a:lnTo>
                  <a:lnTo>
                    <a:pt x="1852566" y="674851"/>
                  </a:lnTo>
                  <a:lnTo>
                    <a:pt x="1852566" y="587548"/>
                  </a:lnTo>
                  <a:lnTo>
                    <a:pt x="1842962" y="587548"/>
                  </a:lnTo>
                  <a:lnTo>
                    <a:pt x="1842962" y="652152"/>
                  </a:lnTo>
                  <a:lnTo>
                    <a:pt x="1778358" y="584056"/>
                  </a:lnTo>
                  <a:lnTo>
                    <a:pt x="1778358" y="670486"/>
                  </a:lnTo>
                  <a:close/>
                  <a:moveTo>
                    <a:pt x="1891852" y="587548"/>
                  </a:moveTo>
                  <a:lnTo>
                    <a:pt x="1891852" y="670486"/>
                  </a:lnTo>
                  <a:lnTo>
                    <a:pt x="1909313" y="670486"/>
                  </a:lnTo>
                  <a:cubicBezTo>
                    <a:pt x="1920662" y="670486"/>
                    <a:pt x="1928519" y="667867"/>
                    <a:pt x="1934630" y="664375"/>
                  </a:cubicBezTo>
                  <a:cubicBezTo>
                    <a:pt x="1946853" y="656517"/>
                    <a:pt x="1952964" y="644295"/>
                    <a:pt x="1952964" y="629454"/>
                  </a:cubicBezTo>
                  <a:cubicBezTo>
                    <a:pt x="1952964" y="617231"/>
                    <a:pt x="1948599" y="605882"/>
                    <a:pt x="1938996" y="598024"/>
                  </a:cubicBezTo>
                  <a:cubicBezTo>
                    <a:pt x="1932011" y="591913"/>
                    <a:pt x="1922408" y="587548"/>
                    <a:pt x="1908440" y="587548"/>
                  </a:cubicBezTo>
                  <a:lnTo>
                    <a:pt x="1891852" y="587548"/>
                  </a:lnTo>
                  <a:close/>
                  <a:moveTo>
                    <a:pt x="1901455" y="661756"/>
                  </a:moveTo>
                  <a:lnTo>
                    <a:pt x="1901455" y="596278"/>
                  </a:lnTo>
                  <a:lnTo>
                    <a:pt x="1909313" y="596278"/>
                  </a:lnTo>
                  <a:cubicBezTo>
                    <a:pt x="1918043" y="596278"/>
                    <a:pt x="1925900" y="598024"/>
                    <a:pt x="1931138" y="602390"/>
                  </a:cubicBezTo>
                  <a:cubicBezTo>
                    <a:pt x="1939869" y="608501"/>
                    <a:pt x="1945107" y="618977"/>
                    <a:pt x="1945107" y="629454"/>
                  </a:cubicBezTo>
                  <a:cubicBezTo>
                    <a:pt x="1945107" y="644295"/>
                    <a:pt x="1935503" y="662629"/>
                    <a:pt x="1910186" y="662629"/>
                  </a:cubicBezTo>
                  <a:lnTo>
                    <a:pt x="1901455" y="662629"/>
                  </a:lnTo>
                  <a:close/>
                  <a:moveTo>
                    <a:pt x="2044632" y="587548"/>
                  </a:moveTo>
                  <a:lnTo>
                    <a:pt x="2044632" y="670486"/>
                  </a:lnTo>
                  <a:lnTo>
                    <a:pt x="2064712" y="670486"/>
                  </a:lnTo>
                  <a:cubicBezTo>
                    <a:pt x="2082172" y="670486"/>
                    <a:pt x="2093522" y="662629"/>
                    <a:pt x="2093522" y="647787"/>
                  </a:cubicBezTo>
                  <a:cubicBezTo>
                    <a:pt x="2093522" y="637311"/>
                    <a:pt x="2087410" y="628580"/>
                    <a:pt x="2077807" y="626834"/>
                  </a:cubicBezTo>
                  <a:cubicBezTo>
                    <a:pt x="2083918" y="623342"/>
                    <a:pt x="2085664" y="617231"/>
                    <a:pt x="2085664" y="610247"/>
                  </a:cubicBezTo>
                  <a:cubicBezTo>
                    <a:pt x="2085664" y="595405"/>
                    <a:pt x="2076061" y="587548"/>
                    <a:pt x="2058600" y="587548"/>
                  </a:cubicBezTo>
                  <a:lnTo>
                    <a:pt x="2044632" y="587548"/>
                  </a:lnTo>
                  <a:close/>
                  <a:moveTo>
                    <a:pt x="2054235" y="596278"/>
                  </a:moveTo>
                  <a:lnTo>
                    <a:pt x="2058600" y="596278"/>
                  </a:lnTo>
                  <a:cubicBezTo>
                    <a:pt x="2070823" y="596278"/>
                    <a:pt x="2076934" y="598898"/>
                    <a:pt x="2076934" y="610247"/>
                  </a:cubicBezTo>
                  <a:cubicBezTo>
                    <a:pt x="2076934" y="619850"/>
                    <a:pt x="2071696" y="624215"/>
                    <a:pt x="2062092" y="624215"/>
                  </a:cubicBezTo>
                  <a:lnTo>
                    <a:pt x="2054235" y="624215"/>
                  </a:lnTo>
                  <a:lnTo>
                    <a:pt x="2054235" y="596278"/>
                  </a:lnTo>
                  <a:close/>
                  <a:moveTo>
                    <a:pt x="2054235" y="661756"/>
                  </a:moveTo>
                  <a:lnTo>
                    <a:pt x="2054235" y="632073"/>
                  </a:lnTo>
                  <a:lnTo>
                    <a:pt x="2062966" y="632073"/>
                  </a:lnTo>
                  <a:cubicBezTo>
                    <a:pt x="2077807" y="632073"/>
                    <a:pt x="2084791" y="637311"/>
                    <a:pt x="2084791" y="646914"/>
                  </a:cubicBezTo>
                  <a:cubicBezTo>
                    <a:pt x="2084791" y="657390"/>
                    <a:pt x="2077807" y="661756"/>
                    <a:pt x="2063838" y="661756"/>
                  </a:cubicBezTo>
                  <a:lnTo>
                    <a:pt x="2054235" y="661756"/>
                  </a:lnTo>
                  <a:close/>
                  <a:moveTo>
                    <a:pt x="2129316" y="587548"/>
                  </a:moveTo>
                  <a:lnTo>
                    <a:pt x="2129316" y="670486"/>
                  </a:lnTo>
                  <a:lnTo>
                    <a:pt x="2172094" y="670486"/>
                  </a:lnTo>
                  <a:lnTo>
                    <a:pt x="2172094" y="661756"/>
                  </a:lnTo>
                  <a:lnTo>
                    <a:pt x="2138919" y="661756"/>
                  </a:lnTo>
                  <a:lnTo>
                    <a:pt x="2138919" y="629454"/>
                  </a:lnTo>
                  <a:lnTo>
                    <a:pt x="2172094" y="629454"/>
                  </a:lnTo>
                  <a:lnTo>
                    <a:pt x="2172094" y="620723"/>
                  </a:lnTo>
                  <a:lnTo>
                    <a:pt x="2138919" y="620723"/>
                  </a:lnTo>
                  <a:lnTo>
                    <a:pt x="2138919" y="596278"/>
                  </a:lnTo>
                  <a:lnTo>
                    <a:pt x="2172967" y="596278"/>
                  </a:lnTo>
                  <a:lnTo>
                    <a:pt x="2172967" y="587548"/>
                  </a:lnTo>
                  <a:lnTo>
                    <a:pt x="2129316" y="587548"/>
                  </a:lnTo>
                  <a:close/>
                  <a:moveTo>
                    <a:pt x="2210507" y="587548"/>
                  </a:moveTo>
                  <a:lnTo>
                    <a:pt x="2210507" y="670486"/>
                  </a:lnTo>
                  <a:lnTo>
                    <a:pt x="2220111" y="670486"/>
                  </a:lnTo>
                  <a:lnTo>
                    <a:pt x="2220111" y="633819"/>
                  </a:lnTo>
                  <a:lnTo>
                    <a:pt x="2222730" y="633819"/>
                  </a:lnTo>
                  <a:lnTo>
                    <a:pt x="2248048" y="670486"/>
                  </a:lnTo>
                  <a:lnTo>
                    <a:pt x="2259397" y="670486"/>
                  </a:lnTo>
                  <a:lnTo>
                    <a:pt x="2233206" y="632946"/>
                  </a:lnTo>
                  <a:cubicBezTo>
                    <a:pt x="2246301" y="632073"/>
                    <a:pt x="2254159" y="622469"/>
                    <a:pt x="2254159" y="610247"/>
                  </a:cubicBezTo>
                  <a:cubicBezTo>
                    <a:pt x="2254159" y="594532"/>
                    <a:pt x="2244555" y="587548"/>
                    <a:pt x="2224476" y="587548"/>
                  </a:cubicBezTo>
                  <a:lnTo>
                    <a:pt x="2210507" y="587548"/>
                  </a:lnTo>
                  <a:close/>
                  <a:moveTo>
                    <a:pt x="2220111" y="596278"/>
                  </a:moveTo>
                  <a:lnTo>
                    <a:pt x="2225349" y="596278"/>
                  </a:lnTo>
                  <a:cubicBezTo>
                    <a:pt x="2241936" y="596278"/>
                    <a:pt x="2244555" y="603263"/>
                    <a:pt x="2244555" y="611120"/>
                  </a:cubicBezTo>
                  <a:cubicBezTo>
                    <a:pt x="2244555" y="621596"/>
                    <a:pt x="2236698" y="625961"/>
                    <a:pt x="2224476" y="625961"/>
                  </a:cubicBezTo>
                  <a:lnTo>
                    <a:pt x="2220111" y="625961"/>
                  </a:lnTo>
                  <a:lnTo>
                    <a:pt x="2220111" y="596278"/>
                  </a:lnTo>
                  <a:close/>
                  <a:moveTo>
                    <a:pt x="2284715" y="670486"/>
                  </a:moveTo>
                  <a:lnTo>
                    <a:pt x="2295191" y="670486"/>
                  </a:lnTo>
                  <a:lnTo>
                    <a:pt x="2304794" y="646914"/>
                  </a:lnTo>
                  <a:lnTo>
                    <a:pt x="2340589" y="646914"/>
                  </a:lnTo>
                  <a:lnTo>
                    <a:pt x="2350192" y="670486"/>
                  </a:lnTo>
                  <a:lnTo>
                    <a:pt x="2360668" y="670486"/>
                  </a:lnTo>
                  <a:lnTo>
                    <a:pt x="2323128" y="583183"/>
                  </a:lnTo>
                  <a:lnTo>
                    <a:pt x="2284715" y="670486"/>
                  </a:lnTo>
                  <a:close/>
                  <a:moveTo>
                    <a:pt x="2322255" y="605009"/>
                  </a:moveTo>
                  <a:lnTo>
                    <a:pt x="2336223" y="638184"/>
                  </a:lnTo>
                  <a:lnTo>
                    <a:pt x="2308286" y="638184"/>
                  </a:lnTo>
                  <a:lnTo>
                    <a:pt x="2322255" y="605009"/>
                  </a:lnTo>
                  <a:close/>
                  <a:moveTo>
                    <a:pt x="2375510" y="587548"/>
                  </a:moveTo>
                  <a:lnTo>
                    <a:pt x="2375510" y="596278"/>
                  </a:lnTo>
                  <a:lnTo>
                    <a:pt x="2395589" y="596278"/>
                  </a:lnTo>
                  <a:lnTo>
                    <a:pt x="2395589" y="670486"/>
                  </a:lnTo>
                  <a:lnTo>
                    <a:pt x="2405193" y="670486"/>
                  </a:lnTo>
                  <a:lnTo>
                    <a:pt x="2405193" y="596278"/>
                  </a:lnTo>
                  <a:lnTo>
                    <a:pt x="2425272" y="596278"/>
                  </a:lnTo>
                  <a:lnTo>
                    <a:pt x="2425272" y="587548"/>
                  </a:lnTo>
                  <a:lnTo>
                    <a:pt x="2375510" y="587548"/>
                  </a:lnTo>
                  <a:close/>
                  <a:moveTo>
                    <a:pt x="2455828" y="587548"/>
                  </a:moveTo>
                  <a:lnTo>
                    <a:pt x="2455828" y="639930"/>
                  </a:lnTo>
                  <a:cubicBezTo>
                    <a:pt x="2455828" y="653025"/>
                    <a:pt x="2459320" y="658263"/>
                    <a:pt x="2464558" y="663502"/>
                  </a:cubicBezTo>
                  <a:cubicBezTo>
                    <a:pt x="2469797" y="668740"/>
                    <a:pt x="2477654" y="671359"/>
                    <a:pt x="2485511" y="671359"/>
                  </a:cubicBezTo>
                  <a:cubicBezTo>
                    <a:pt x="2495987" y="671359"/>
                    <a:pt x="2505591" y="666121"/>
                    <a:pt x="2511702" y="657390"/>
                  </a:cubicBezTo>
                  <a:cubicBezTo>
                    <a:pt x="2514321" y="653025"/>
                    <a:pt x="2515194" y="647787"/>
                    <a:pt x="2515194" y="639930"/>
                  </a:cubicBezTo>
                  <a:lnTo>
                    <a:pt x="2515194" y="587548"/>
                  </a:lnTo>
                  <a:lnTo>
                    <a:pt x="2505591" y="587548"/>
                  </a:lnTo>
                  <a:lnTo>
                    <a:pt x="2505591" y="638184"/>
                  </a:lnTo>
                  <a:cubicBezTo>
                    <a:pt x="2505591" y="646914"/>
                    <a:pt x="2504718" y="649533"/>
                    <a:pt x="2503845" y="652152"/>
                  </a:cubicBezTo>
                  <a:cubicBezTo>
                    <a:pt x="2501226" y="658263"/>
                    <a:pt x="2493369" y="663502"/>
                    <a:pt x="2485511" y="663502"/>
                  </a:cubicBezTo>
                  <a:cubicBezTo>
                    <a:pt x="2481146" y="663502"/>
                    <a:pt x="2477654" y="662629"/>
                    <a:pt x="2474162" y="660010"/>
                  </a:cubicBezTo>
                  <a:cubicBezTo>
                    <a:pt x="2467178" y="655644"/>
                    <a:pt x="2465431" y="650406"/>
                    <a:pt x="2465431" y="639057"/>
                  </a:cubicBezTo>
                  <a:lnTo>
                    <a:pt x="2465431" y="587548"/>
                  </a:lnTo>
                  <a:lnTo>
                    <a:pt x="2455828" y="587548"/>
                  </a:lnTo>
                  <a:close/>
                  <a:moveTo>
                    <a:pt x="2554480" y="670486"/>
                  </a:moveTo>
                  <a:lnTo>
                    <a:pt x="2564084" y="670486"/>
                  </a:lnTo>
                  <a:lnTo>
                    <a:pt x="2564084" y="606755"/>
                  </a:lnTo>
                  <a:lnTo>
                    <a:pt x="2628688" y="674851"/>
                  </a:lnTo>
                  <a:lnTo>
                    <a:pt x="2628688" y="587548"/>
                  </a:lnTo>
                  <a:lnTo>
                    <a:pt x="2619085" y="587548"/>
                  </a:lnTo>
                  <a:lnTo>
                    <a:pt x="2619085" y="652152"/>
                  </a:lnTo>
                  <a:lnTo>
                    <a:pt x="2554480" y="584056"/>
                  </a:lnTo>
                  <a:lnTo>
                    <a:pt x="2554480" y="670486"/>
                  </a:lnTo>
                  <a:close/>
                  <a:moveTo>
                    <a:pt x="2741308" y="604136"/>
                  </a:moveTo>
                  <a:cubicBezTo>
                    <a:pt x="2732578" y="592786"/>
                    <a:pt x="2720356" y="585802"/>
                    <a:pt x="2706387" y="585802"/>
                  </a:cubicBezTo>
                  <a:cubicBezTo>
                    <a:pt x="2682815" y="585802"/>
                    <a:pt x="2662736" y="605009"/>
                    <a:pt x="2662736" y="628580"/>
                  </a:cubicBezTo>
                  <a:cubicBezTo>
                    <a:pt x="2662736" y="652152"/>
                    <a:pt x="2682815" y="671359"/>
                    <a:pt x="2705514" y="671359"/>
                  </a:cubicBezTo>
                  <a:cubicBezTo>
                    <a:pt x="2715991" y="671359"/>
                    <a:pt x="2727340" y="666994"/>
                    <a:pt x="2734324" y="659136"/>
                  </a:cubicBezTo>
                  <a:cubicBezTo>
                    <a:pt x="2742182" y="651279"/>
                    <a:pt x="2744800" y="641676"/>
                    <a:pt x="2744800" y="632946"/>
                  </a:cubicBezTo>
                  <a:lnTo>
                    <a:pt x="2744800" y="628580"/>
                  </a:lnTo>
                  <a:lnTo>
                    <a:pt x="2709879" y="628580"/>
                  </a:lnTo>
                  <a:lnTo>
                    <a:pt x="2709879" y="637311"/>
                  </a:lnTo>
                  <a:lnTo>
                    <a:pt x="2734324" y="637311"/>
                  </a:lnTo>
                  <a:cubicBezTo>
                    <a:pt x="2734324" y="652152"/>
                    <a:pt x="2719483" y="663502"/>
                    <a:pt x="2704641" y="663502"/>
                  </a:cubicBezTo>
                  <a:cubicBezTo>
                    <a:pt x="2688927" y="663502"/>
                    <a:pt x="2671466" y="649533"/>
                    <a:pt x="2671466" y="629454"/>
                  </a:cubicBezTo>
                  <a:cubicBezTo>
                    <a:pt x="2671466" y="610247"/>
                    <a:pt x="2687181" y="594532"/>
                    <a:pt x="2705514" y="594532"/>
                  </a:cubicBezTo>
                  <a:cubicBezTo>
                    <a:pt x="2717737" y="594532"/>
                    <a:pt x="2727340" y="600644"/>
                    <a:pt x="2734324" y="610247"/>
                  </a:cubicBezTo>
                  <a:lnTo>
                    <a:pt x="2741308" y="604136"/>
                  </a:lnTo>
                  <a:close/>
                </a:path>
              </a:pathLst>
            </a:custGeom>
            <a:solidFill>
              <a:srgbClr val="929A9F"/>
            </a:solidFill>
            <a:ln w="8721" cap="flat">
              <a:noFill/>
              <a:prstDash val="solid"/>
              <a:miter/>
            </a:ln>
          </p:spPr>
          <p:txBody>
            <a:bodyPr rtlCol="0" anchor="ctr"/>
            <a:lstStyle/>
            <a:p>
              <a:endParaRPr lang="en-US"/>
            </a:p>
          </p:txBody>
        </p:sp>
      </p:grpSp>
    </p:spTree>
    <p:extLst>
      <p:ext uri="{BB962C8B-B14F-4D97-AF65-F5344CB8AC3E}">
        <p14:creationId xmlns:p14="http://schemas.microsoft.com/office/powerpoint/2010/main" val="3486039678"/>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act Slide / Four Members">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8" name="Objekt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C19EFE86-52CE-4A1C-8F6D-2322A3C359D7}"/>
              </a:ext>
            </a:extLst>
          </p:cNvPr>
          <p:cNvSpPr>
            <a:spLocks noGrp="1"/>
          </p:cNvSpPr>
          <p:nvPr>
            <p:ph type="sldNum" sz="quarter" idx="12"/>
          </p:nvPr>
        </p:nvSpPr>
        <p:spPr/>
        <p:txBody>
          <a:bodyPr/>
          <a:lstStyle/>
          <a:p>
            <a:pPr algn="r"/>
            <a:fld id="{F2322A94-3156-491B-AD20-567107C600A1}" type="slidenum">
              <a:rPr lang="en-US"/>
              <a:pPr algn="r"/>
              <a:t>‹Nr.›</a:t>
            </a:fld>
            <a:endParaRPr lang="en-US"/>
          </a:p>
        </p:txBody>
      </p:sp>
      <p:sp>
        <p:nvSpPr>
          <p:cNvPr id="27" name="Picture Placeholder 13">
            <a:extLst>
              <a:ext uri="{FF2B5EF4-FFF2-40B4-BE49-F238E27FC236}">
                <a16:creationId xmlns:a16="http://schemas.microsoft.com/office/drawing/2014/main" id="{2A522C20-B859-42CF-A840-C701F767C10B}"/>
              </a:ext>
            </a:extLst>
          </p:cNvPr>
          <p:cNvSpPr>
            <a:spLocks noGrp="1"/>
          </p:cNvSpPr>
          <p:nvPr>
            <p:ph type="pic" sz="quarter" idx="15" hasCustomPrompt="1"/>
          </p:nvPr>
        </p:nvSpPr>
        <p:spPr>
          <a:xfrm>
            <a:off x="416496" y="1988840"/>
            <a:ext cx="1368000" cy="1944000"/>
          </a:xfrm>
          <a:prstGeom prst="rect">
            <a:avLst/>
          </a:prstGeom>
          <a:noFill/>
        </p:spPr>
        <p:txBody>
          <a:bodyPr wrap="square" tIns="180000">
            <a:noAutofit/>
          </a:bodyPr>
          <a:lstStyle>
            <a:lvl1pPr algn="ctr">
              <a:defRPr>
                <a:latin typeface="+mj-lt"/>
              </a:defRPr>
            </a:lvl1pPr>
          </a:lstStyle>
          <a:p>
            <a:r>
              <a:rPr lang="en-US"/>
              <a:t>Bild</a:t>
            </a:r>
          </a:p>
        </p:txBody>
      </p:sp>
      <p:sp>
        <p:nvSpPr>
          <p:cNvPr id="28" name="Text Placeholder 25">
            <a:extLst>
              <a:ext uri="{FF2B5EF4-FFF2-40B4-BE49-F238E27FC236}">
                <a16:creationId xmlns:a16="http://schemas.microsoft.com/office/drawing/2014/main" id="{4B75FF0C-4D90-44A1-8174-1775BAD6978A}"/>
              </a:ext>
            </a:extLst>
          </p:cNvPr>
          <p:cNvSpPr>
            <a:spLocks noGrp="1"/>
          </p:cNvSpPr>
          <p:nvPr>
            <p:ph type="body" sz="quarter" idx="23"/>
          </p:nvPr>
        </p:nvSpPr>
        <p:spPr bwMode="ltGray">
          <a:xfrm>
            <a:off x="1640632" y="2060848"/>
            <a:ext cx="2952328" cy="864096"/>
          </a:xfrm>
          <a:solidFill>
            <a:schemeClr val="accent1"/>
          </a:solidFill>
        </p:spPr>
        <p:txBody>
          <a:bodyPr wrap="square" lIns="90000" tIns="46800" rIns="90000" bIns="46800" anchor="ctr" anchorCtr="0">
            <a:noAutofit/>
          </a:bodyPr>
          <a:lstStyle>
            <a:lvl1pPr>
              <a:spcBef>
                <a:spcPts val="1200"/>
              </a:spcBef>
              <a:defRPr>
                <a:solidFill>
                  <a:schemeClr val="bg1"/>
                </a:solidFill>
                <a:latin typeface="+mj-lt"/>
              </a:defRPr>
            </a:lvl1pPr>
            <a:lvl2pPr>
              <a:lnSpc>
                <a:spcPct val="100000"/>
              </a:lnSpc>
              <a:spcBef>
                <a:spcPts val="300"/>
              </a:spcBef>
              <a:defRPr sz="1000" b="0">
                <a:solidFill>
                  <a:schemeClr val="bg1"/>
                </a:solidFill>
              </a:defRPr>
            </a:lvl2pPr>
            <a:lvl3pPr marL="0" indent="0">
              <a:buNone/>
              <a:defRPr/>
            </a:lvl3pPr>
          </a:lstStyle>
          <a:p>
            <a:pPr lvl="0"/>
            <a:r>
              <a:rPr lang="de-DE"/>
              <a:t>Mastertextformat bearbeiten</a:t>
            </a:r>
          </a:p>
        </p:txBody>
      </p:sp>
      <p:sp>
        <p:nvSpPr>
          <p:cNvPr id="29" name="Rectangle 8">
            <a:extLst>
              <a:ext uri="{FF2B5EF4-FFF2-40B4-BE49-F238E27FC236}">
                <a16:creationId xmlns:a16="http://schemas.microsoft.com/office/drawing/2014/main" id="{1FB9B418-E23C-4478-A36C-97DE9E8276A7}"/>
              </a:ext>
            </a:extLst>
          </p:cNvPr>
          <p:cNvSpPr/>
          <p:nvPr/>
        </p:nvSpPr>
        <p:spPr>
          <a:xfrm rot="16200000">
            <a:off x="1658847" y="-1323271"/>
            <a:ext cx="1296145" cy="4608000"/>
          </a:xfrm>
          <a:prstGeom prst="rect">
            <a:avLst/>
          </a:prstGeom>
          <a:solidFill>
            <a:srgbClr val="C72A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30" name="Title 6">
            <a:extLst>
              <a:ext uri="{FF2B5EF4-FFF2-40B4-BE49-F238E27FC236}">
                <a16:creationId xmlns:a16="http://schemas.microsoft.com/office/drawing/2014/main" id="{BB52DA60-7E50-48EB-BEB8-943A41BD4CA9}"/>
              </a:ext>
            </a:extLst>
          </p:cNvPr>
          <p:cNvSpPr txBox="1">
            <a:spLocks/>
          </p:cNvSpPr>
          <p:nvPr/>
        </p:nvSpPr>
        <p:spPr>
          <a:xfrm>
            <a:off x="680782" y="785237"/>
            <a:ext cx="2544026" cy="699550"/>
          </a:xfrm>
          <a:prstGeom prst="rect">
            <a:avLst/>
          </a:prstGeom>
        </p:spPr>
        <p:txBody>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r>
              <a:rPr lang="de-DE" sz="4000">
                <a:solidFill>
                  <a:schemeClr val="bg1"/>
                </a:solidFill>
              </a:rPr>
              <a:t>Kontakt</a:t>
            </a:r>
          </a:p>
        </p:txBody>
      </p:sp>
      <p:sp>
        <p:nvSpPr>
          <p:cNvPr id="31" name="Text Placeholder 33">
            <a:extLst>
              <a:ext uri="{FF2B5EF4-FFF2-40B4-BE49-F238E27FC236}">
                <a16:creationId xmlns:a16="http://schemas.microsoft.com/office/drawing/2014/main" id="{B820EB28-5FDE-4276-8FB6-78969FA66DC1}"/>
              </a:ext>
            </a:extLst>
          </p:cNvPr>
          <p:cNvSpPr>
            <a:spLocks noGrp="1"/>
          </p:cNvSpPr>
          <p:nvPr>
            <p:ph type="body" sz="quarter" idx="31"/>
          </p:nvPr>
        </p:nvSpPr>
        <p:spPr>
          <a:xfrm>
            <a:off x="1856656" y="2996952"/>
            <a:ext cx="2736304" cy="935004"/>
          </a:xfrm>
        </p:spPr>
        <p:txBody>
          <a:bodyPr lIns="90000" tIns="46800" rIns="90000" bIns="46800" anchor="ctr"/>
          <a:lstStyle>
            <a:lvl1pPr>
              <a:defRPr sz="1050" baseline="0"/>
            </a:lvl1pPr>
          </a:lstStyle>
          <a:p>
            <a:pPr lvl="0"/>
            <a:r>
              <a:rPr lang="de-DE" sz="1200"/>
              <a:t>Mastertextformat bearbeiten</a:t>
            </a:r>
          </a:p>
        </p:txBody>
      </p:sp>
      <p:sp>
        <p:nvSpPr>
          <p:cNvPr id="25" name="Picture Placeholder 13">
            <a:extLst>
              <a:ext uri="{FF2B5EF4-FFF2-40B4-BE49-F238E27FC236}">
                <a16:creationId xmlns:a16="http://schemas.microsoft.com/office/drawing/2014/main" id="{2A522C20-B859-42CF-A840-C701F767C10B}"/>
              </a:ext>
            </a:extLst>
          </p:cNvPr>
          <p:cNvSpPr>
            <a:spLocks noGrp="1"/>
          </p:cNvSpPr>
          <p:nvPr>
            <p:ph type="pic" sz="quarter" idx="32" hasCustomPrompt="1"/>
          </p:nvPr>
        </p:nvSpPr>
        <p:spPr>
          <a:xfrm>
            <a:off x="5313040" y="1988840"/>
            <a:ext cx="1368000" cy="1944000"/>
          </a:xfrm>
          <a:prstGeom prst="rect">
            <a:avLst/>
          </a:prstGeom>
          <a:noFill/>
        </p:spPr>
        <p:txBody>
          <a:bodyPr wrap="square" tIns="180000">
            <a:noAutofit/>
          </a:bodyPr>
          <a:lstStyle>
            <a:lvl1pPr algn="ctr">
              <a:defRPr>
                <a:latin typeface="+mj-lt"/>
              </a:defRPr>
            </a:lvl1pPr>
          </a:lstStyle>
          <a:p>
            <a:r>
              <a:rPr lang="en-US"/>
              <a:t>Bild</a:t>
            </a:r>
          </a:p>
        </p:txBody>
      </p:sp>
      <p:sp>
        <p:nvSpPr>
          <p:cNvPr id="26" name="Text Placeholder 25">
            <a:extLst>
              <a:ext uri="{FF2B5EF4-FFF2-40B4-BE49-F238E27FC236}">
                <a16:creationId xmlns:a16="http://schemas.microsoft.com/office/drawing/2014/main" id="{4B75FF0C-4D90-44A1-8174-1775BAD6978A}"/>
              </a:ext>
            </a:extLst>
          </p:cNvPr>
          <p:cNvSpPr>
            <a:spLocks noGrp="1"/>
          </p:cNvSpPr>
          <p:nvPr>
            <p:ph type="body" sz="quarter" idx="33"/>
          </p:nvPr>
        </p:nvSpPr>
        <p:spPr bwMode="ltGray">
          <a:xfrm>
            <a:off x="6537176" y="2060848"/>
            <a:ext cx="2952328" cy="864096"/>
          </a:xfrm>
          <a:solidFill>
            <a:schemeClr val="accent1"/>
          </a:solidFill>
        </p:spPr>
        <p:txBody>
          <a:bodyPr wrap="square" lIns="90000" tIns="46800" rIns="90000" bIns="46800" anchor="ctr" anchorCtr="0">
            <a:noAutofit/>
          </a:bodyPr>
          <a:lstStyle>
            <a:lvl1pPr>
              <a:spcBef>
                <a:spcPts val="1200"/>
              </a:spcBef>
              <a:defRPr>
                <a:solidFill>
                  <a:schemeClr val="bg1"/>
                </a:solidFill>
                <a:latin typeface="+mj-lt"/>
              </a:defRPr>
            </a:lvl1pPr>
            <a:lvl2pPr>
              <a:lnSpc>
                <a:spcPct val="100000"/>
              </a:lnSpc>
              <a:spcBef>
                <a:spcPts val="300"/>
              </a:spcBef>
              <a:defRPr sz="1000" b="0">
                <a:solidFill>
                  <a:schemeClr val="bg1"/>
                </a:solidFill>
              </a:defRPr>
            </a:lvl2pPr>
            <a:lvl3pPr marL="0" indent="0">
              <a:buNone/>
              <a:defRPr/>
            </a:lvl3pPr>
          </a:lstStyle>
          <a:p>
            <a:pPr lvl="0"/>
            <a:r>
              <a:rPr lang="de-DE"/>
              <a:t>Mastertextformat bearbeiten</a:t>
            </a:r>
          </a:p>
        </p:txBody>
      </p:sp>
      <p:sp>
        <p:nvSpPr>
          <p:cNvPr id="35" name="Text Placeholder 33">
            <a:extLst>
              <a:ext uri="{FF2B5EF4-FFF2-40B4-BE49-F238E27FC236}">
                <a16:creationId xmlns:a16="http://schemas.microsoft.com/office/drawing/2014/main" id="{B820EB28-5FDE-4276-8FB6-78969FA66DC1}"/>
              </a:ext>
            </a:extLst>
          </p:cNvPr>
          <p:cNvSpPr>
            <a:spLocks noGrp="1"/>
          </p:cNvSpPr>
          <p:nvPr>
            <p:ph type="body" sz="quarter" idx="34"/>
          </p:nvPr>
        </p:nvSpPr>
        <p:spPr>
          <a:xfrm>
            <a:off x="6753200" y="2996952"/>
            <a:ext cx="2736304" cy="935004"/>
          </a:xfrm>
        </p:spPr>
        <p:txBody>
          <a:bodyPr lIns="90000" tIns="46800" rIns="90000" bIns="46800" anchor="ctr"/>
          <a:lstStyle>
            <a:lvl1pPr>
              <a:defRPr sz="1050" baseline="0"/>
            </a:lvl1pPr>
          </a:lstStyle>
          <a:p>
            <a:pPr lvl="0"/>
            <a:r>
              <a:rPr lang="de-DE" sz="1200"/>
              <a:t>Mastertextformat bearbeiten</a:t>
            </a:r>
          </a:p>
        </p:txBody>
      </p:sp>
      <p:sp>
        <p:nvSpPr>
          <p:cNvPr id="36" name="Picture Placeholder 13">
            <a:extLst>
              <a:ext uri="{FF2B5EF4-FFF2-40B4-BE49-F238E27FC236}">
                <a16:creationId xmlns:a16="http://schemas.microsoft.com/office/drawing/2014/main" id="{2A522C20-B859-42CF-A840-C701F767C10B}"/>
              </a:ext>
            </a:extLst>
          </p:cNvPr>
          <p:cNvSpPr>
            <a:spLocks noGrp="1"/>
          </p:cNvSpPr>
          <p:nvPr>
            <p:ph type="pic" sz="quarter" idx="35" hasCustomPrompt="1"/>
          </p:nvPr>
        </p:nvSpPr>
        <p:spPr>
          <a:xfrm>
            <a:off x="416496" y="4221088"/>
            <a:ext cx="1368000" cy="1944000"/>
          </a:xfrm>
          <a:prstGeom prst="rect">
            <a:avLst/>
          </a:prstGeom>
          <a:noFill/>
        </p:spPr>
        <p:txBody>
          <a:bodyPr wrap="square" tIns="180000">
            <a:noAutofit/>
          </a:bodyPr>
          <a:lstStyle>
            <a:lvl1pPr algn="ctr">
              <a:defRPr>
                <a:latin typeface="+mj-lt"/>
              </a:defRPr>
            </a:lvl1pPr>
          </a:lstStyle>
          <a:p>
            <a:r>
              <a:rPr lang="en-US"/>
              <a:t>Bild</a:t>
            </a:r>
          </a:p>
        </p:txBody>
      </p:sp>
      <p:sp>
        <p:nvSpPr>
          <p:cNvPr id="37" name="Text Placeholder 25">
            <a:extLst>
              <a:ext uri="{FF2B5EF4-FFF2-40B4-BE49-F238E27FC236}">
                <a16:creationId xmlns:a16="http://schemas.microsoft.com/office/drawing/2014/main" id="{4B75FF0C-4D90-44A1-8174-1775BAD6978A}"/>
              </a:ext>
            </a:extLst>
          </p:cNvPr>
          <p:cNvSpPr>
            <a:spLocks noGrp="1"/>
          </p:cNvSpPr>
          <p:nvPr>
            <p:ph type="body" sz="quarter" idx="36"/>
          </p:nvPr>
        </p:nvSpPr>
        <p:spPr bwMode="ltGray">
          <a:xfrm>
            <a:off x="1640632" y="4293096"/>
            <a:ext cx="2952328" cy="864096"/>
          </a:xfrm>
          <a:solidFill>
            <a:schemeClr val="accent1"/>
          </a:solidFill>
        </p:spPr>
        <p:txBody>
          <a:bodyPr wrap="square" lIns="90000" tIns="46800" rIns="90000" bIns="46800" anchor="ctr" anchorCtr="0">
            <a:noAutofit/>
          </a:bodyPr>
          <a:lstStyle>
            <a:lvl1pPr>
              <a:spcBef>
                <a:spcPts val="1200"/>
              </a:spcBef>
              <a:defRPr>
                <a:solidFill>
                  <a:schemeClr val="bg1"/>
                </a:solidFill>
                <a:latin typeface="+mj-lt"/>
              </a:defRPr>
            </a:lvl1pPr>
            <a:lvl2pPr>
              <a:lnSpc>
                <a:spcPct val="100000"/>
              </a:lnSpc>
              <a:spcBef>
                <a:spcPts val="300"/>
              </a:spcBef>
              <a:defRPr sz="1000" b="0">
                <a:solidFill>
                  <a:schemeClr val="bg1"/>
                </a:solidFill>
              </a:defRPr>
            </a:lvl2pPr>
            <a:lvl3pPr marL="0" indent="0">
              <a:buNone/>
              <a:defRPr/>
            </a:lvl3pPr>
          </a:lstStyle>
          <a:p>
            <a:pPr lvl="0"/>
            <a:r>
              <a:rPr lang="de-DE"/>
              <a:t>Mastertextformat bearbeiten</a:t>
            </a:r>
          </a:p>
        </p:txBody>
      </p:sp>
      <p:sp>
        <p:nvSpPr>
          <p:cNvPr id="38" name="Text Placeholder 33">
            <a:extLst>
              <a:ext uri="{FF2B5EF4-FFF2-40B4-BE49-F238E27FC236}">
                <a16:creationId xmlns:a16="http://schemas.microsoft.com/office/drawing/2014/main" id="{B820EB28-5FDE-4276-8FB6-78969FA66DC1}"/>
              </a:ext>
            </a:extLst>
          </p:cNvPr>
          <p:cNvSpPr>
            <a:spLocks noGrp="1"/>
          </p:cNvSpPr>
          <p:nvPr>
            <p:ph type="body" sz="quarter" idx="37"/>
          </p:nvPr>
        </p:nvSpPr>
        <p:spPr>
          <a:xfrm>
            <a:off x="1856656" y="5229200"/>
            <a:ext cx="2736304" cy="935004"/>
          </a:xfrm>
        </p:spPr>
        <p:txBody>
          <a:bodyPr lIns="90000" tIns="46800" rIns="90000" bIns="46800" anchor="ctr"/>
          <a:lstStyle>
            <a:lvl1pPr>
              <a:defRPr sz="1050" baseline="0"/>
            </a:lvl1pPr>
          </a:lstStyle>
          <a:p>
            <a:pPr lvl="0"/>
            <a:r>
              <a:rPr lang="de-DE" sz="1200"/>
              <a:t>Mastertextformat bearbeiten</a:t>
            </a:r>
          </a:p>
        </p:txBody>
      </p:sp>
      <p:sp>
        <p:nvSpPr>
          <p:cNvPr id="39" name="Picture Placeholder 13">
            <a:extLst>
              <a:ext uri="{FF2B5EF4-FFF2-40B4-BE49-F238E27FC236}">
                <a16:creationId xmlns:a16="http://schemas.microsoft.com/office/drawing/2014/main" id="{2A522C20-B859-42CF-A840-C701F767C10B}"/>
              </a:ext>
            </a:extLst>
          </p:cNvPr>
          <p:cNvSpPr>
            <a:spLocks noGrp="1"/>
          </p:cNvSpPr>
          <p:nvPr>
            <p:ph type="pic" sz="quarter" idx="38" hasCustomPrompt="1"/>
          </p:nvPr>
        </p:nvSpPr>
        <p:spPr>
          <a:xfrm>
            <a:off x="5313040" y="4221088"/>
            <a:ext cx="1368000" cy="1944000"/>
          </a:xfrm>
          <a:prstGeom prst="rect">
            <a:avLst/>
          </a:prstGeom>
          <a:noFill/>
        </p:spPr>
        <p:txBody>
          <a:bodyPr wrap="square" tIns="180000">
            <a:noAutofit/>
          </a:bodyPr>
          <a:lstStyle>
            <a:lvl1pPr algn="ctr">
              <a:defRPr>
                <a:latin typeface="+mj-lt"/>
              </a:defRPr>
            </a:lvl1pPr>
          </a:lstStyle>
          <a:p>
            <a:r>
              <a:rPr lang="en-US"/>
              <a:t>Bild</a:t>
            </a:r>
          </a:p>
        </p:txBody>
      </p:sp>
      <p:sp>
        <p:nvSpPr>
          <p:cNvPr id="40" name="Text Placeholder 25">
            <a:extLst>
              <a:ext uri="{FF2B5EF4-FFF2-40B4-BE49-F238E27FC236}">
                <a16:creationId xmlns:a16="http://schemas.microsoft.com/office/drawing/2014/main" id="{4B75FF0C-4D90-44A1-8174-1775BAD6978A}"/>
              </a:ext>
            </a:extLst>
          </p:cNvPr>
          <p:cNvSpPr>
            <a:spLocks noGrp="1"/>
          </p:cNvSpPr>
          <p:nvPr>
            <p:ph type="body" sz="quarter" idx="39"/>
          </p:nvPr>
        </p:nvSpPr>
        <p:spPr bwMode="ltGray">
          <a:xfrm>
            <a:off x="6537176" y="4293096"/>
            <a:ext cx="2952328" cy="864096"/>
          </a:xfrm>
          <a:solidFill>
            <a:schemeClr val="accent1"/>
          </a:solidFill>
        </p:spPr>
        <p:txBody>
          <a:bodyPr wrap="square" lIns="90000" tIns="46800" rIns="90000" bIns="46800" anchor="ctr" anchorCtr="0">
            <a:noAutofit/>
          </a:bodyPr>
          <a:lstStyle>
            <a:lvl1pPr>
              <a:spcBef>
                <a:spcPts val="1200"/>
              </a:spcBef>
              <a:defRPr>
                <a:solidFill>
                  <a:schemeClr val="bg1"/>
                </a:solidFill>
                <a:latin typeface="+mj-lt"/>
              </a:defRPr>
            </a:lvl1pPr>
            <a:lvl2pPr>
              <a:lnSpc>
                <a:spcPct val="100000"/>
              </a:lnSpc>
              <a:spcBef>
                <a:spcPts val="300"/>
              </a:spcBef>
              <a:defRPr sz="1000" b="0">
                <a:solidFill>
                  <a:schemeClr val="bg1"/>
                </a:solidFill>
              </a:defRPr>
            </a:lvl2pPr>
            <a:lvl3pPr marL="0" indent="0">
              <a:buNone/>
              <a:defRPr/>
            </a:lvl3pPr>
          </a:lstStyle>
          <a:p>
            <a:pPr lvl="0"/>
            <a:r>
              <a:rPr lang="de-DE"/>
              <a:t>Mastertextformat bearbeiten</a:t>
            </a:r>
          </a:p>
        </p:txBody>
      </p:sp>
      <p:sp>
        <p:nvSpPr>
          <p:cNvPr id="41" name="Text Placeholder 33">
            <a:extLst>
              <a:ext uri="{FF2B5EF4-FFF2-40B4-BE49-F238E27FC236}">
                <a16:creationId xmlns:a16="http://schemas.microsoft.com/office/drawing/2014/main" id="{B820EB28-5FDE-4276-8FB6-78969FA66DC1}"/>
              </a:ext>
            </a:extLst>
          </p:cNvPr>
          <p:cNvSpPr>
            <a:spLocks noGrp="1"/>
          </p:cNvSpPr>
          <p:nvPr>
            <p:ph type="body" sz="quarter" idx="40"/>
          </p:nvPr>
        </p:nvSpPr>
        <p:spPr>
          <a:xfrm>
            <a:off x="6753200" y="5229200"/>
            <a:ext cx="2736304" cy="935004"/>
          </a:xfrm>
        </p:spPr>
        <p:txBody>
          <a:bodyPr lIns="90000" tIns="46800" rIns="90000" bIns="46800" anchor="ctr"/>
          <a:lstStyle>
            <a:lvl1pPr>
              <a:defRPr sz="1050" baseline="0"/>
            </a:lvl1pPr>
          </a:lstStyle>
          <a:p>
            <a:pPr lvl="0"/>
            <a:r>
              <a:rPr lang="de-DE" sz="1200"/>
              <a:t>Mastertextformat bearbeiten</a:t>
            </a:r>
          </a:p>
        </p:txBody>
      </p:sp>
    </p:spTree>
    <p:extLst>
      <p:ext uri="{BB962C8B-B14F-4D97-AF65-F5344CB8AC3E}">
        <p14:creationId xmlns:p14="http://schemas.microsoft.com/office/powerpoint/2010/main" val="3922441340"/>
      </p:ext>
    </p:extLst>
  </p:cSld>
  <p:clrMapOvr>
    <a:masterClrMapping/>
  </p:clrMapOvr>
  <p:hf hdr="0" dt="0"/>
  <p:extLst>
    <p:ext uri="{DCECCB84-F9BA-43D5-87BE-67443E8EF086}">
      <p15:sldGuideLst xmlns:p15="http://schemas.microsoft.com/office/powerpoint/2012/main">
        <p15:guide id="1" pos="3347">
          <p15:clr>
            <a:srgbClr val="FBAE40"/>
          </p15:clr>
        </p15:guide>
        <p15:guide id="2" pos="262">
          <p15:clr>
            <a:srgbClr val="FBAE40"/>
          </p15:clr>
        </p15:guide>
        <p15:guide id="3" orient="horz" pos="1253">
          <p15:clr>
            <a:srgbClr val="FBAE40"/>
          </p15:clr>
        </p15:guide>
        <p15:guide id="4" orient="horz" pos="2659">
          <p15:clr>
            <a:srgbClr val="FBAE40"/>
          </p15:clr>
        </p15:guide>
        <p15:guide id="5" pos="2893">
          <p15:clr>
            <a:srgbClr val="FBAE40"/>
          </p15:clr>
        </p15:guide>
        <p15:guide id="6" pos="597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lvl1pPr>
              <a:spcBef>
                <a:spcPts val="0"/>
              </a:spcBef>
              <a:spcAft>
                <a:spcPts val="900"/>
              </a:spcAft>
              <a:defRPr sz="2000">
                <a:solidFill>
                  <a:srgbClr val="707070"/>
                </a:solidFill>
              </a:defRPr>
            </a:lvl1pPr>
            <a:lvl2pPr marL="742932" indent="-382578">
              <a:spcBef>
                <a:spcPts val="0"/>
              </a:spcBef>
              <a:spcAft>
                <a:spcPts val="900"/>
              </a:spcAft>
              <a:defRPr sz="2000">
                <a:solidFill>
                  <a:srgbClr val="707070"/>
                </a:solidFill>
              </a:defRPr>
            </a:lvl2pPr>
            <a:lvl3pPr marL="1079473" indent="-360354">
              <a:spcBef>
                <a:spcPts val="0"/>
              </a:spcBef>
              <a:spcAft>
                <a:spcPts val="900"/>
              </a:spcAft>
              <a:defRPr sz="2000">
                <a:solidFill>
                  <a:srgbClr val="707070"/>
                </a:solidFill>
              </a:defRPr>
            </a:lvl3pPr>
            <a:lvl4pPr marL="1600160" indent="-228594">
              <a:spcBef>
                <a:spcPts val="0"/>
              </a:spcBef>
              <a:spcAft>
                <a:spcPts val="900"/>
              </a:spcAft>
              <a:buClr>
                <a:schemeClr val="tx1"/>
              </a:buClr>
              <a:buFont typeface="Arial" panose="020B0604020202020204" pitchFamily="34" charset="0"/>
              <a:buChar char="•"/>
              <a:defRPr sz="2000">
                <a:solidFill>
                  <a:srgbClr val="707070"/>
                </a:solidFill>
              </a:defRPr>
            </a:lvl4pPr>
            <a:lvl5pPr marL="2057349" indent="-228594">
              <a:spcBef>
                <a:spcPts val="0"/>
              </a:spcBef>
              <a:spcAft>
                <a:spcPts val="900"/>
              </a:spcAft>
              <a:buClr>
                <a:schemeClr val="tx1"/>
              </a:buClr>
              <a:buFont typeface="Arial" panose="020B0604020202020204" pitchFamily="34" charset="0"/>
              <a:buChar char="•"/>
              <a:defRPr sz="2000">
                <a:solidFill>
                  <a:srgbClr val="707070"/>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8" name="Rectangle 2"/>
          <p:cNvSpPr>
            <a:spLocks noGrp="1" noChangeArrowheads="1"/>
          </p:cNvSpPr>
          <p:nvPr>
            <p:ph type="title"/>
          </p:nvPr>
        </p:nvSpPr>
        <p:spPr bwMode="auto">
          <a:xfrm>
            <a:off x="624000" y="333380"/>
            <a:ext cx="8658000"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t" anchorCtr="0" compatLnSpc="1">
            <a:prstTxWarp prst="textNoShape">
              <a:avLst/>
            </a:prstTxWarp>
          </a:bodyPr>
          <a:lstStyle/>
          <a:p>
            <a:pPr lvl="0"/>
            <a:r>
              <a:rPr lang="de-DE"/>
              <a:t>Titelmasterformat durch Klicken bearbeiten</a:t>
            </a:r>
          </a:p>
        </p:txBody>
      </p:sp>
    </p:spTree>
    <p:extLst>
      <p:ext uri="{BB962C8B-B14F-4D97-AF65-F5344CB8AC3E}">
        <p14:creationId xmlns:p14="http://schemas.microsoft.com/office/powerpoint/2010/main" val="303742101"/>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pic>
        <p:nvPicPr>
          <p:cNvPr id="26" name="Grafik 25"/>
          <p:cNvPicPr>
            <a:picLocks noChangeAspect="1"/>
          </p:cNvPicPr>
          <p:nvPr/>
        </p:nvPicPr>
        <p:blipFill>
          <a:blip r:embed="rId3"/>
          <a:stretch>
            <a:fillRect/>
          </a:stretch>
        </p:blipFill>
        <p:spPr>
          <a:xfrm>
            <a:off x="-6301" y="1413176"/>
            <a:ext cx="8135817" cy="3600000"/>
          </a:xfrm>
          <a:prstGeom prst="rect">
            <a:avLst/>
          </a:prstGeom>
        </p:spPr>
      </p:pic>
      <p:graphicFrame>
        <p:nvGraphicFramePr>
          <p:cNvPr id="11" name="Objekt 10" hidden="1"/>
          <p:cNvGraphicFramePr>
            <a:graphicFrameLocks noChangeAspect="1"/>
          </p:cNvGraphicFramePr>
          <p:nvPr>
            <p:custDataLst>
              <p:tags r:id="rId1"/>
            </p:custDataLst>
            <p:extLst>
              <p:ext uri="{D42A27DB-BD31-4B8C-83A1-F6EECF244321}">
                <p14:modId xmlns:p14="http://schemas.microsoft.com/office/powerpoint/2010/main" val="4038154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1" name="Objek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itle 1"/>
          <p:cNvSpPr>
            <a:spLocks noGrp="1"/>
          </p:cNvSpPr>
          <p:nvPr>
            <p:ph type="ctrTitle"/>
          </p:nvPr>
        </p:nvSpPr>
        <p:spPr bwMode="white">
          <a:xfrm>
            <a:off x="777552" y="2132816"/>
            <a:ext cx="6983760" cy="1656184"/>
          </a:xfrm>
        </p:spPr>
        <p:txBody>
          <a:bodyPr anchor="t"/>
          <a:lstStyle>
            <a:lvl1pPr algn="l">
              <a:defRPr sz="4000">
                <a:solidFill>
                  <a:schemeClr val="bg1"/>
                </a:solidFill>
              </a:defRPr>
            </a:lvl1pPr>
          </a:lstStyle>
          <a:p>
            <a:r>
              <a:rPr lang="de-DE"/>
              <a:t>Mastertitelformat bearbeiten</a:t>
            </a:r>
            <a:endParaRPr lang="en-US" dirty="0"/>
          </a:p>
        </p:txBody>
      </p:sp>
      <p:sp>
        <p:nvSpPr>
          <p:cNvPr id="21" name="Subtitle 2"/>
          <p:cNvSpPr>
            <a:spLocks noGrp="1"/>
          </p:cNvSpPr>
          <p:nvPr>
            <p:ph type="subTitle" idx="1" hasCustomPrompt="1"/>
          </p:nvPr>
        </p:nvSpPr>
        <p:spPr bwMode="white">
          <a:xfrm>
            <a:off x="776536" y="3861008"/>
            <a:ext cx="6984880" cy="368349"/>
          </a:xfrm>
        </p:spPr>
        <p:txBody>
          <a:bodyPr/>
          <a:lstStyle>
            <a:lvl1pPr marL="0" indent="0" algn="l">
              <a:buNone/>
              <a:defRPr sz="1400">
                <a:solidFill>
                  <a:schemeClr val="bg1"/>
                </a:solidFill>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dirty="0"/>
              <a:t>Referent</a:t>
            </a:r>
          </a:p>
        </p:txBody>
      </p:sp>
      <p:sp>
        <p:nvSpPr>
          <p:cNvPr id="22" name="Text Placeholder 13">
            <a:extLst>
              <a:ext uri="{FF2B5EF4-FFF2-40B4-BE49-F238E27FC236}">
                <a16:creationId xmlns:a16="http://schemas.microsoft.com/office/drawing/2014/main" id="{8660655C-23D0-41FF-B076-7C5612CF55ED}"/>
              </a:ext>
            </a:extLst>
          </p:cNvPr>
          <p:cNvSpPr>
            <a:spLocks noGrp="1"/>
          </p:cNvSpPr>
          <p:nvPr>
            <p:ph type="body" sz="quarter" idx="17" hasCustomPrompt="1"/>
          </p:nvPr>
        </p:nvSpPr>
        <p:spPr bwMode="white">
          <a:xfrm>
            <a:off x="777552" y="1628800"/>
            <a:ext cx="6983760" cy="360000"/>
          </a:xfrm>
        </p:spPr>
        <p:txBody>
          <a:bodyPr anchor="b"/>
          <a:lstStyle>
            <a:lvl1pPr>
              <a:defRPr sz="1400">
                <a:solidFill>
                  <a:schemeClr val="bg1"/>
                </a:solidFill>
                <a:latin typeface="+mj-lt"/>
              </a:defRPr>
            </a:lvl1pPr>
          </a:lstStyle>
          <a:p>
            <a:pPr lvl="0"/>
            <a:r>
              <a:rPr lang="en-US" dirty="0" err="1"/>
              <a:t>Veranstaltung</a:t>
            </a:r>
            <a:r>
              <a:rPr lang="en-US" dirty="0"/>
              <a:t> / </a:t>
            </a:r>
            <a:r>
              <a:rPr lang="en-US" dirty="0" err="1"/>
              <a:t>Sitzung</a:t>
            </a:r>
            <a:endParaRPr lang="en-US" dirty="0"/>
          </a:p>
        </p:txBody>
      </p:sp>
      <p:sp>
        <p:nvSpPr>
          <p:cNvPr id="23" name="Text Placeholder 13">
            <a:extLst>
              <a:ext uri="{FF2B5EF4-FFF2-40B4-BE49-F238E27FC236}">
                <a16:creationId xmlns:a16="http://schemas.microsoft.com/office/drawing/2014/main" id="{C2D711AC-B2ED-471C-AC30-F61AFECD973D}"/>
              </a:ext>
            </a:extLst>
          </p:cNvPr>
          <p:cNvSpPr>
            <a:spLocks noGrp="1"/>
          </p:cNvSpPr>
          <p:nvPr>
            <p:ph type="body" sz="quarter" idx="18" hasCustomPrompt="1"/>
          </p:nvPr>
        </p:nvSpPr>
        <p:spPr bwMode="white">
          <a:xfrm>
            <a:off x="776536" y="4293056"/>
            <a:ext cx="6984880" cy="216000"/>
          </a:xfrm>
        </p:spPr>
        <p:txBody>
          <a:bodyPr anchor="ctr"/>
          <a:lstStyle>
            <a:lvl1pPr>
              <a:defRPr sz="1400" baseline="0">
                <a:solidFill>
                  <a:schemeClr val="bg1"/>
                </a:solidFill>
                <a:latin typeface="+mn-lt"/>
              </a:defRPr>
            </a:lvl1pPr>
          </a:lstStyle>
          <a:p>
            <a:pPr lvl="0"/>
            <a:r>
              <a:rPr lang="en-US" dirty="0"/>
              <a:t>TT.MM.JJJJ, Ort</a:t>
            </a:r>
          </a:p>
        </p:txBody>
      </p:sp>
      <p:sp>
        <p:nvSpPr>
          <p:cNvPr id="24" name="Inhaltsplatzhalter 27"/>
          <p:cNvSpPr>
            <a:spLocks noGrp="1"/>
          </p:cNvSpPr>
          <p:nvPr>
            <p:ph sz="quarter" idx="20" hasCustomPrompt="1"/>
          </p:nvPr>
        </p:nvSpPr>
        <p:spPr>
          <a:xfrm>
            <a:off x="776536" y="5877272"/>
            <a:ext cx="1944216" cy="720080"/>
          </a:xfrm>
        </p:spPr>
        <p:txBody>
          <a:bodyPr/>
          <a:lstStyle>
            <a:lvl1pPr>
              <a:defRPr/>
            </a:lvl1pPr>
          </a:lstStyle>
          <a:p>
            <a:pPr lvl="0"/>
            <a:r>
              <a:rPr lang="de-DE" dirty="0"/>
              <a:t>Kundenlogo</a:t>
            </a:r>
          </a:p>
        </p:txBody>
      </p:sp>
      <p:grpSp>
        <p:nvGrpSpPr>
          <p:cNvPr id="12" name="Graphic 10">
            <a:extLst>
              <a:ext uri="{FF2B5EF4-FFF2-40B4-BE49-F238E27FC236}">
                <a16:creationId xmlns:a16="http://schemas.microsoft.com/office/drawing/2014/main" id="{040841F3-CF94-436C-9952-0CC49C79368F}"/>
              </a:ext>
            </a:extLst>
          </p:cNvPr>
          <p:cNvGrpSpPr/>
          <p:nvPr/>
        </p:nvGrpSpPr>
        <p:grpSpPr>
          <a:xfrm>
            <a:off x="6783051" y="5786058"/>
            <a:ext cx="2793690" cy="768265"/>
            <a:chOff x="6783051" y="5786058"/>
            <a:chExt cx="2793690" cy="768265"/>
          </a:xfrm>
        </p:grpSpPr>
        <p:sp>
          <p:nvSpPr>
            <p:cNvPr id="13" name="Freeform: Shape 7">
              <a:extLst>
                <a:ext uri="{FF2B5EF4-FFF2-40B4-BE49-F238E27FC236}">
                  <a16:creationId xmlns:a16="http://schemas.microsoft.com/office/drawing/2014/main" id="{C66745C8-23DC-4EED-B9F9-5001D94341F4}"/>
                </a:ext>
              </a:extLst>
            </p:cNvPr>
            <p:cNvSpPr/>
            <p:nvPr/>
          </p:nvSpPr>
          <p:spPr>
            <a:xfrm>
              <a:off x="8756094" y="6202492"/>
              <a:ext cx="282861" cy="179790"/>
            </a:xfrm>
            <a:custGeom>
              <a:avLst/>
              <a:gdLst>
                <a:gd name="connsiteX0" fmla="*/ 282861 w 282861"/>
                <a:gd name="connsiteY0" fmla="*/ 63731 h 179790"/>
                <a:gd name="connsiteX1" fmla="*/ 123097 w 282861"/>
                <a:gd name="connsiteY1" fmla="*/ 175479 h 179790"/>
                <a:gd name="connsiteX2" fmla="*/ 0 w 282861"/>
                <a:gd name="connsiteY2" fmla="*/ 136192 h 179790"/>
                <a:gd name="connsiteX3" fmla="*/ 56747 w 282861"/>
                <a:gd name="connsiteY3" fmla="*/ 53255 h 179790"/>
                <a:gd name="connsiteX4" fmla="*/ 231352 w 282861"/>
                <a:gd name="connsiteY4" fmla="*/ 0 h 179790"/>
                <a:gd name="connsiteX5" fmla="*/ 282861 w 282861"/>
                <a:gd name="connsiteY5" fmla="*/ 63731 h 17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2861" h="179790">
                  <a:moveTo>
                    <a:pt x="282861" y="63731"/>
                  </a:moveTo>
                  <a:cubicBezTo>
                    <a:pt x="233098" y="125716"/>
                    <a:pt x="179844" y="163256"/>
                    <a:pt x="123097" y="175479"/>
                  </a:cubicBezTo>
                  <a:cubicBezTo>
                    <a:pt x="69842" y="187701"/>
                    <a:pt x="28810" y="173733"/>
                    <a:pt x="0" y="136192"/>
                  </a:cubicBezTo>
                  <a:lnTo>
                    <a:pt x="56747" y="53255"/>
                  </a:lnTo>
                  <a:cubicBezTo>
                    <a:pt x="98652" y="92541"/>
                    <a:pt x="170240" y="71588"/>
                    <a:pt x="231352" y="0"/>
                  </a:cubicBezTo>
                  <a:lnTo>
                    <a:pt x="282861" y="63731"/>
                  </a:lnTo>
                  <a:close/>
                </a:path>
              </a:pathLst>
            </a:custGeom>
            <a:solidFill>
              <a:srgbClr val="971940"/>
            </a:solidFill>
            <a:ln w="8721" cap="flat">
              <a:noFill/>
              <a:prstDash val="solid"/>
              <a:miter/>
            </a:ln>
          </p:spPr>
          <p:txBody>
            <a:bodyPr rtlCol="0" anchor="ctr"/>
            <a:lstStyle/>
            <a:p>
              <a:endParaRPr lang="en-US"/>
            </a:p>
          </p:txBody>
        </p:sp>
        <p:sp>
          <p:nvSpPr>
            <p:cNvPr id="14" name="Freeform: Shape 9">
              <a:extLst>
                <a:ext uri="{FF2B5EF4-FFF2-40B4-BE49-F238E27FC236}">
                  <a16:creationId xmlns:a16="http://schemas.microsoft.com/office/drawing/2014/main" id="{F4716122-1CAE-478F-A7E8-EAF412D29968}"/>
                </a:ext>
              </a:extLst>
            </p:cNvPr>
            <p:cNvSpPr/>
            <p:nvPr/>
          </p:nvSpPr>
          <p:spPr>
            <a:xfrm>
              <a:off x="8716993" y="5963282"/>
              <a:ext cx="108943" cy="343100"/>
            </a:xfrm>
            <a:custGeom>
              <a:avLst/>
              <a:gdLst>
                <a:gd name="connsiteX0" fmla="*/ 19021 w 108943"/>
                <a:gd name="connsiteY0" fmla="*/ 343100 h 343100"/>
                <a:gd name="connsiteX1" fmla="*/ 6799 w 108943"/>
                <a:gd name="connsiteY1" fmla="*/ 178971 h 343100"/>
                <a:gd name="connsiteX2" fmla="*/ 74895 w 108943"/>
                <a:gd name="connsiteY2" fmla="*/ 0 h 343100"/>
                <a:gd name="connsiteX3" fmla="*/ 108943 w 108943"/>
                <a:gd name="connsiteY3" fmla="*/ 41905 h 343100"/>
                <a:gd name="connsiteX4" fmla="*/ 74895 w 108943"/>
                <a:gd name="connsiteY4" fmla="*/ 261909 h 343100"/>
                <a:gd name="connsiteX5" fmla="*/ 19021 w 108943"/>
                <a:gd name="connsiteY5" fmla="*/ 343100 h 34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943" h="343100">
                  <a:moveTo>
                    <a:pt x="19021" y="343100"/>
                  </a:moveTo>
                  <a:cubicBezTo>
                    <a:pt x="-1058" y="299449"/>
                    <a:pt x="-5424" y="244448"/>
                    <a:pt x="6799" y="178971"/>
                  </a:cubicBezTo>
                  <a:cubicBezTo>
                    <a:pt x="17275" y="116113"/>
                    <a:pt x="39974" y="56747"/>
                    <a:pt x="74895" y="0"/>
                  </a:cubicBezTo>
                  <a:lnTo>
                    <a:pt x="108943" y="41905"/>
                  </a:lnTo>
                  <a:cubicBezTo>
                    <a:pt x="66165" y="117859"/>
                    <a:pt x="51323" y="206908"/>
                    <a:pt x="74895" y="261909"/>
                  </a:cubicBezTo>
                  <a:lnTo>
                    <a:pt x="19021" y="343100"/>
                  </a:lnTo>
                  <a:close/>
                </a:path>
              </a:pathLst>
            </a:custGeom>
            <a:solidFill>
              <a:srgbClr val="E78A03"/>
            </a:solidFill>
            <a:ln w="8721" cap="flat">
              <a:noFill/>
              <a:prstDash val="solid"/>
              <a:miter/>
            </a:ln>
          </p:spPr>
          <p:txBody>
            <a:bodyPr rtlCol="0" anchor="ctr"/>
            <a:lstStyle/>
            <a:p>
              <a:endParaRPr lang="en-US"/>
            </a:p>
          </p:txBody>
        </p:sp>
        <p:sp>
          <p:nvSpPr>
            <p:cNvPr id="15" name="Freeform: Shape 12">
              <a:extLst>
                <a:ext uri="{FF2B5EF4-FFF2-40B4-BE49-F238E27FC236}">
                  <a16:creationId xmlns:a16="http://schemas.microsoft.com/office/drawing/2014/main" id="{A350A3FB-9014-40F1-8CFB-86A354C44F46}"/>
                </a:ext>
              </a:extLst>
            </p:cNvPr>
            <p:cNvSpPr/>
            <p:nvPr/>
          </p:nvSpPr>
          <p:spPr>
            <a:xfrm>
              <a:off x="8822444" y="5786217"/>
              <a:ext cx="260162" cy="171827"/>
            </a:xfrm>
            <a:custGeom>
              <a:avLst/>
              <a:gdLst>
                <a:gd name="connsiteX0" fmla="*/ 0 w 260162"/>
                <a:gd name="connsiteY0" fmla="*/ 131668 h 171827"/>
                <a:gd name="connsiteX1" fmla="*/ 130954 w 260162"/>
                <a:gd name="connsiteY1" fmla="*/ 18174 h 171827"/>
                <a:gd name="connsiteX2" fmla="*/ 260162 w 260162"/>
                <a:gd name="connsiteY2" fmla="*/ 14682 h 171827"/>
                <a:gd name="connsiteX3" fmla="*/ 200796 w 260162"/>
                <a:gd name="connsiteY3" fmla="*/ 101112 h 171827"/>
                <a:gd name="connsiteX4" fmla="*/ 34921 w 260162"/>
                <a:gd name="connsiteY4" fmla="*/ 171827 h 171827"/>
                <a:gd name="connsiteX5" fmla="*/ 0 w 260162"/>
                <a:gd name="connsiteY5" fmla="*/ 131668 h 171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162" h="171827">
                  <a:moveTo>
                    <a:pt x="0" y="131668"/>
                  </a:moveTo>
                  <a:cubicBezTo>
                    <a:pt x="40159" y="77540"/>
                    <a:pt x="83811" y="40000"/>
                    <a:pt x="130954" y="18174"/>
                  </a:cubicBezTo>
                  <a:cubicBezTo>
                    <a:pt x="180717" y="-4525"/>
                    <a:pt x="223495" y="-6271"/>
                    <a:pt x="260162" y="14682"/>
                  </a:cubicBezTo>
                  <a:lnTo>
                    <a:pt x="200796" y="101112"/>
                  </a:lnTo>
                  <a:cubicBezTo>
                    <a:pt x="155399" y="75794"/>
                    <a:pt x="88176" y="106350"/>
                    <a:pt x="34921" y="171827"/>
                  </a:cubicBezTo>
                  <a:lnTo>
                    <a:pt x="0" y="131668"/>
                  </a:lnTo>
                  <a:close/>
                </a:path>
              </a:pathLst>
            </a:custGeom>
            <a:solidFill>
              <a:srgbClr val="F5BF06"/>
            </a:solidFill>
            <a:ln w="8721"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B4FA9530-CC68-40F7-AD10-20451EBF6F95}"/>
                </a:ext>
              </a:extLst>
            </p:cNvPr>
            <p:cNvSpPr/>
            <p:nvPr/>
          </p:nvSpPr>
          <p:spPr>
            <a:xfrm>
              <a:off x="9024987" y="5823598"/>
              <a:ext cx="129726" cy="385878"/>
            </a:xfrm>
            <a:custGeom>
              <a:avLst/>
              <a:gdLst>
                <a:gd name="connsiteX0" fmla="*/ 86430 w 129726"/>
                <a:gd name="connsiteY0" fmla="*/ 0 h 385878"/>
                <a:gd name="connsiteX1" fmla="*/ 125716 w 129726"/>
                <a:gd name="connsiteY1" fmla="*/ 88176 h 385878"/>
                <a:gd name="connsiteX2" fmla="*/ 113494 w 129726"/>
                <a:gd name="connsiteY2" fmla="*/ 247067 h 385878"/>
                <a:gd name="connsiteX3" fmla="*/ 53255 w 129726"/>
                <a:gd name="connsiteY3" fmla="*/ 385879 h 385878"/>
                <a:gd name="connsiteX4" fmla="*/ 0 w 129726"/>
                <a:gd name="connsiteY4" fmla="*/ 325640 h 385878"/>
                <a:gd name="connsiteX5" fmla="*/ 24445 w 129726"/>
                <a:gd name="connsiteY5" fmla="*/ 89049 h 385878"/>
                <a:gd name="connsiteX6" fmla="*/ 86430 w 129726"/>
                <a:gd name="connsiteY6" fmla="*/ 0 h 385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726" h="385878">
                  <a:moveTo>
                    <a:pt x="86430" y="0"/>
                  </a:moveTo>
                  <a:cubicBezTo>
                    <a:pt x="106510" y="21826"/>
                    <a:pt x="119605" y="50636"/>
                    <a:pt x="125716" y="88176"/>
                  </a:cubicBezTo>
                  <a:cubicBezTo>
                    <a:pt x="133573" y="135319"/>
                    <a:pt x="130081" y="188574"/>
                    <a:pt x="113494" y="247067"/>
                  </a:cubicBezTo>
                  <a:cubicBezTo>
                    <a:pt x="100398" y="295957"/>
                    <a:pt x="80319" y="342227"/>
                    <a:pt x="53255" y="385879"/>
                  </a:cubicBezTo>
                  <a:lnTo>
                    <a:pt x="0" y="325640"/>
                  </a:lnTo>
                  <a:cubicBezTo>
                    <a:pt x="49763" y="238337"/>
                    <a:pt x="59366" y="140558"/>
                    <a:pt x="24445" y="89049"/>
                  </a:cubicBezTo>
                  <a:lnTo>
                    <a:pt x="86430" y="0"/>
                  </a:lnTo>
                  <a:close/>
                </a:path>
              </a:pathLst>
            </a:custGeom>
            <a:solidFill>
              <a:srgbClr val="C02D41"/>
            </a:solidFill>
            <a:ln w="8721"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9EE5987A-4764-4AC7-A6AA-077FD743E69C}"/>
                </a:ext>
              </a:extLst>
            </p:cNvPr>
            <p:cNvSpPr/>
            <p:nvPr/>
          </p:nvSpPr>
          <p:spPr>
            <a:xfrm>
              <a:off x="6783051" y="5879472"/>
              <a:ext cx="2744800" cy="674850"/>
            </a:xfrm>
            <a:custGeom>
              <a:avLst/>
              <a:gdLst>
                <a:gd name="connsiteX0" fmla="*/ 379767 w 2744800"/>
                <a:gd name="connsiteY0" fmla="*/ 79446 h 674850"/>
                <a:gd name="connsiteX1" fmla="*/ 327386 w 2744800"/>
                <a:gd name="connsiteY1" fmla="*/ 129208 h 674850"/>
                <a:gd name="connsiteX2" fmla="*/ 207781 w 2744800"/>
                <a:gd name="connsiteY2" fmla="*/ 73334 h 674850"/>
                <a:gd name="connsiteX3" fmla="*/ 112621 w 2744800"/>
                <a:gd name="connsiteY3" fmla="*/ 111748 h 674850"/>
                <a:gd name="connsiteX4" fmla="*/ 74207 w 2744800"/>
                <a:gd name="connsiteY4" fmla="*/ 206035 h 674850"/>
                <a:gd name="connsiteX5" fmla="*/ 91668 w 2744800"/>
                <a:gd name="connsiteY5" fmla="*/ 275877 h 674850"/>
                <a:gd name="connsiteX6" fmla="*/ 139685 w 2744800"/>
                <a:gd name="connsiteY6" fmla="*/ 323894 h 674850"/>
                <a:gd name="connsiteX7" fmla="*/ 208654 w 2744800"/>
                <a:gd name="connsiteY7" fmla="*/ 341354 h 674850"/>
                <a:gd name="connsiteX8" fmla="*/ 268020 w 2744800"/>
                <a:gd name="connsiteY8" fmla="*/ 329132 h 674850"/>
                <a:gd name="connsiteX9" fmla="*/ 327386 w 2744800"/>
                <a:gd name="connsiteY9" fmla="*/ 284607 h 674850"/>
                <a:gd name="connsiteX10" fmla="*/ 378021 w 2744800"/>
                <a:gd name="connsiteY10" fmla="*/ 336989 h 674850"/>
                <a:gd name="connsiteX11" fmla="*/ 295957 w 2744800"/>
                <a:gd name="connsiteY11" fmla="*/ 395482 h 674850"/>
                <a:gd name="connsiteX12" fmla="*/ 207781 w 2744800"/>
                <a:gd name="connsiteY12" fmla="*/ 412069 h 674850"/>
                <a:gd name="connsiteX13" fmla="*/ 58493 w 2744800"/>
                <a:gd name="connsiteY13" fmla="*/ 354450 h 674850"/>
                <a:gd name="connsiteX14" fmla="*/ 0 w 2744800"/>
                <a:gd name="connsiteY14" fmla="*/ 206035 h 674850"/>
                <a:gd name="connsiteX15" fmla="*/ 26191 w 2744800"/>
                <a:gd name="connsiteY15" fmla="*/ 102144 h 674850"/>
                <a:gd name="connsiteX16" fmla="*/ 102144 w 2744800"/>
                <a:gd name="connsiteY16" fmla="*/ 28810 h 674850"/>
                <a:gd name="connsiteX17" fmla="*/ 208654 w 2744800"/>
                <a:gd name="connsiteY17" fmla="*/ 873 h 674850"/>
                <a:gd name="connsiteX18" fmla="*/ 302068 w 2744800"/>
                <a:gd name="connsiteY18" fmla="*/ 20953 h 674850"/>
                <a:gd name="connsiteX19" fmla="*/ 379767 w 2744800"/>
                <a:gd name="connsiteY19" fmla="*/ 79446 h 674850"/>
                <a:gd name="connsiteX20" fmla="*/ 895727 w 2744800"/>
                <a:gd name="connsiteY20" fmla="*/ 78573 h 674850"/>
                <a:gd name="connsiteX21" fmla="*/ 982157 w 2744800"/>
                <a:gd name="connsiteY21" fmla="*/ 129208 h 674850"/>
                <a:gd name="connsiteX22" fmla="*/ 895727 w 2744800"/>
                <a:gd name="connsiteY22" fmla="*/ 181590 h 674850"/>
                <a:gd name="connsiteX23" fmla="*/ 895727 w 2744800"/>
                <a:gd name="connsiteY23" fmla="*/ 78573 h 674850"/>
                <a:gd name="connsiteX24" fmla="*/ 895727 w 2744800"/>
                <a:gd name="connsiteY24" fmla="*/ 249686 h 674850"/>
                <a:gd name="connsiteX25" fmla="*/ 1003982 w 2744800"/>
                <a:gd name="connsiteY25" fmla="*/ 402466 h 674850"/>
                <a:gd name="connsiteX26" fmla="*/ 1095650 w 2744800"/>
                <a:gd name="connsiteY26" fmla="*/ 402466 h 674850"/>
                <a:gd name="connsiteX27" fmla="*/ 973426 w 2744800"/>
                <a:gd name="connsiteY27" fmla="*/ 238337 h 674850"/>
                <a:gd name="connsiteX28" fmla="*/ 1053745 w 2744800"/>
                <a:gd name="connsiteY28" fmla="*/ 127462 h 674850"/>
                <a:gd name="connsiteX29" fmla="*/ 996998 w 2744800"/>
                <a:gd name="connsiteY29" fmla="*/ 28810 h 674850"/>
                <a:gd name="connsiteX30" fmla="*/ 890489 w 2744800"/>
                <a:gd name="connsiteY30" fmla="*/ 10476 h 674850"/>
                <a:gd name="connsiteX31" fmla="*/ 819773 w 2744800"/>
                <a:gd name="connsiteY31" fmla="*/ 10476 h 674850"/>
                <a:gd name="connsiteX32" fmla="*/ 819773 w 2744800"/>
                <a:gd name="connsiteY32" fmla="*/ 401593 h 674850"/>
                <a:gd name="connsiteX33" fmla="*/ 895727 w 2744800"/>
                <a:gd name="connsiteY33" fmla="*/ 401593 h 674850"/>
                <a:gd name="connsiteX34" fmla="*/ 895727 w 2744800"/>
                <a:gd name="connsiteY34" fmla="*/ 249686 h 674850"/>
                <a:gd name="connsiteX35" fmla="*/ 433022 w 2744800"/>
                <a:gd name="connsiteY35" fmla="*/ 254051 h 674850"/>
                <a:gd name="connsiteX36" fmla="*/ 584929 w 2744800"/>
                <a:gd name="connsiteY36" fmla="*/ 412069 h 674850"/>
                <a:gd name="connsiteX37" fmla="*/ 736836 w 2744800"/>
                <a:gd name="connsiteY37" fmla="*/ 254051 h 674850"/>
                <a:gd name="connsiteX38" fmla="*/ 736836 w 2744800"/>
                <a:gd name="connsiteY38" fmla="*/ 10476 h 674850"/>
                <a:gd name="connsiteX39" fmla="*/ 661755 w 2744800"/>
                <a:gd name="connsiteY39" fmla="*/ 10476 h 674850"/>
                <a:gd name="connsiteX40" fmla="*/ 661755 w 2744800"/>
                <a:gd name="connsiteY40" fmla="*/ 238337 h 674850"/>
                <a:gd name="connsiteX41" fmla="*/ 584929 w 2744800"/>
                <a:gd name="connsiteY41" fmla="*/ 340481 h 674850"/>
                <a:gd name="connsiteX42" fmla="*/ 508102 w 2744800"/>
                <a:gd name="connsiteY42" fmla="*/ 238337 h 674850"/>
                <a:gd name="connsiteX43" fmla="*/ 508102 w 2744800"/>
                <a:gd name="connsiteY43" fmla="*/ 10476 h 674850"/>
                <a:gd name="connsiteX44" fmla="*/ 433022 w 2744800"/>
                <a:gd name="connsiteY44" fmla="*/ 10476 h 674850"/>
                <a:gd name="connsiteX45" fmla="*/ 433022 w 2744800"/>
                <a:gd name="connsiteY45" fmla="*/ 254051 h 674850"/>
                <a:gd name="connsiteX46" fmla="*/ 1273748 w 2744800"/>
                <a:gd name="connsiteY46" fmla="*/ 10476 h 674850"/>
                <a:gd name="connsiteX47" fmla="*/ 1122714 w 2744800"/>
                <a:gd name="connsiteY47" fmla="*/ 402466 h 674850"/>
                <a:gd name="connsiteX48" fmla="*/ 1200414 w 2744800"/>
                <a:gd name="connsiteY48" fmla="*/ 402466 h 674850"/>
                <a:gd name="connsiteX49" fmla="*/ 1232716 w 2744800"/>
                <a:gd name="connsiteY49" fmla="*/ 322147 h 674850"/>
                <a:gd name="connsiteX50" fmla="*/ 1392480 w 2744800"/>
                <a:gd name="connsiteY50" fmla="*/ 322147 h 674850"/>
                <a:gd name="connsiteX51" fmla="*/ 1423036 w 2744800"/>
                <a:gd name="connsiteY51" fmla="*/ 402466 h 674850"/>
                <a:gd name="connsiteX52" fmla="*/ 1500735 w 2744800"/>
                <a:gd name="connsiteY52" fmla="*/ 402466 h 674850"/>
                <a:gd name="connsiteX53" fmla="*/ 1349702 w 2744800"/>
                <a:gd name="connsiteY53" fmla="*/ 10476 h 674850"/>
                <a:gd name="connsiteX54" fmla="*/ 1273748 w 2744800"/>
                <a:gd name="connsiteY54" fmla="*/ 10476 h 674850"/>
                <a:gd name="connsiteX55" fmla="*/ 1312161 w 2744800"/>
                <a:gd name="connsiteY55" fmla="*/ 114367 h 674850"/>
                <a:gd name="connsiteX56" fmla="*/ 1363670 w 2744800"/>
                <a:gd name="connsiteY56" fmla="*/ 248813 h 674850"/>
                <a:gd name="connsiteX57" fmla="*/ 1259780 w 2744800"/>
                <a:gd name="connsiteY57" fmla="*/ 248813 h 674850"/>
                <a:gd name="connsiteX58" fmla="*/ 1312161 w 2744800"/>
                <a:gd name="connsiteY58" fmla="*/ 114367 h 674850"/>
                <a:gd name="connsiteX59" fmla="*/ 2426145 w 2744800"/>
                <a:gd name="connsiteY59" fmla="*/ 10476 h 674850"/>
                <a:gd name="connsiteX60" fmla="*/ 2426145 w 2744800"/>
                <a:gd name="connsiteY60" fmla="*/ 403339 h 674850"/>
                <a:gd name="connsiteX61" fmla="*/ 2501226 w 2744800"/>
                <a:gd name="connsiteY61" fmla="*/ 403339 h 674850"/>
                <a:gd name="connsiteX62" fmla="*/ 2501226 w 2744800"/>
                <a:gd name="connsiteY62" fmla="*/ 145796 h 674850"/>
                <a:gd name="connsiteX63" fmla="*/ 2669720 w 2744800"/>
                <a:gd name="connsiteY63" fmla="*/ 403339 h 674850"/>
                <a:gd name="connsiteX64" fmla="*/ 2741308 w 2744800"/>
                <a:gd name="connsiteY64" fmla="*/ 403339 h 674850"/>
                <a:gd name="connsiteX65" fmla="*/ 2741308 w 2744800"/>
                <a:gd name="connsiteY65" fmla="*/ 10476 h 674850"/>
                <a:gd name="connsiteX66" fmla="*/ 2666228 w 2744800"/>
                <a:gd name="connsiteY66" fmla="*/ 10476 h 674850"/>
                <a:gd name="connsiteX67" fmla="*/ 2666228 w 2744800"/>
                <a:gd name="connsiteY67" fmla="*/ 268893 h 674850"/>
                <a:gd name="connsiteX68" fmla="*/ 2497734 w 2744800"/>
                <a:gd name="connsiteY68" fmla="*/ 10476 h 674850"/>
                <a:gd name="connsiteX69" fmla="*/ 2426145 w 2744800"/>
                <a:gd name="connsiteY69" fmla="*/ 10476 h 674850"/>
                <a:gd name="connsiteX70" fmla="*/ 1890979 w 2744800"/>
                <a:gd name="connsiteY70" fmla="*/ 79446 h 674850"/>
                <a:gd name="connsiteX71" fmla="*/ 1813279 w 2744800"/>
                <a:gd name="connsiteY71" fmla="*/ 20953 h 674850"/>
                <a:gd name="connsiteX72" fmla="*/ 1719865 w 2744800"/>
                <a:gd name="connsiteY72" fmla="*/ 0 h 674850"/>
                <a:gd name="connsiteX73" fmla="*/ 1613356 w 2744800"/>
                <a:gd name="connsiteY73" fmla="*/ 27937 h 674850"/>
                <a:gd name="connsiteX74" fmla="*/ 1537403 w 2744800"/>
                <a:gd name="connsiteY74" fmla="*/ 101271 h 674850"/>
                <a:gd name="connsiteX75" fmla="*/ 1511212 w 2744800"/>
                <a:gd name="connsiteY75" fmla="*/ 206035 h 674850"/>
                <a:gd name="connsiteX76" fmla="*/ 1569705 w 2744800"/>
                <a:gd name="connsiteY76" fmla="*/ 355323 h 674850"/>
                <a:gd name="connsiteX77" fmla="*/ 1719865 w 2744800"/>
                <a:gd name="connsiteY77" fmla="*/ 412942 h 674850"/>
                <a:gd name="connsiteX78" fmla="*/ 1808041 w 2744800"/>
                <a:gd name="connsiteY78" fmla="*/ 396355 h 674850"/>
                <a:gd name="connsiteX79" fmla="*/ 1890106 w 2744800"/>
                <a:gd name="connsiteY79" fmla="*/ 336989 h 674850"/>
                <a:gd name="connsiteX80" fmla="*/ 1839470 w 2744800"/>
                <a:gd name="connsiteY80" fmla="*/ 283734 h 674850"/>
                <a:gd name="connsiteX81" fmla="*/ 1780104 w 2744800"/>
                <a:gd name="connsiteY81" fmla="*/ 328259 h 674850"/>
                <a:gd name="connsiteX82" fmla="*/ 1720739 w 2744800"/>
                <a:gd name="connsiteY82" fmla="*/ 340481 h 674850"/>
                <a:gd name="connsiteX83" fmla="*/ 1650896 w 2744800"/>
                <a:gd name="connsiteY83" fmla="*/ 323021 h 674850"/>
                <a:gd name="connsiteX84" fmla="*/ 1602880 w 2744800"/>
                <a:gd name="connsiteY84" fmla="*/ 275004 h 674850"/>
                <a:gd name="connsiteX85" fmla="*/ 1585419 w 2744800"/>
                <a:gd name="connsiteY85" fmla="*/ 205162 h 674850"/>
                <a:gd name="connsiteX86" fmla="*/ 1623832 w 2744800"/>
                <a:gd name="connsiteY86" fmla="*/ 110002 h 674850"/>
                <a:gd name="connsiteX87" fmla="*/ 1718992 w 2744800"/>
                <a:gd name="connsiteY87" fmla="*/ 71588 h 674850"/>
                <a:gd name="connsiteX88" fmla="*/ 1839470 w 2744800"/>
                <a:gd name="connsiteY88" fmla="*/ 128335 h 674850"/>
                <a:gd name="connsiteX89" fmla="*/ 1890979 w 2744800"/>
                <a:gd name="connsiteY89" fmla="*/ 79446 h 674850"/>
                <a:gd name="connsiteX90" fmla="*/ 33175 w 2744800"/>
                <a:gd name="connsiteY90" fmla="*/ 649533 h 674850"/>
                <a:gd name="connsiteX91" fmla="*/ 11349 w 2744800"/>
                <a:gd name="connsiteY91" fmla="*/ 587548 h 674850"/>
                <a:gd name="connsiteX92" fmla="*/ 1746 w 2744800"/>
                <a:gd name="connsiteY92" fmla="*/ 587548 h 674850"/>
                <a:gd name="connsiteX93" fmla="*/ 33175 w 2744800"/>
                <a:gd name="connsiteY93" fmla="*/ 674851 h 674850"/>
                <a:gd name="connsiteX94" fmla="*/ 60239 w 2744800"/>
                <a:gd name="connsiteY94" fmla="*/ 607628 h 674850"/>
                <a:gd name="connsiteX95" fmla="*/ 87303 w 2744800"/>
                <a:gd name="connsiteY95" fmla="*/ 674851 h 674850"/>
                <a:gd name="connsiteX96" fmla="*/ 118732 w 2744800"/>
                <a:gd name="connsiteY96" fmla="*/ 587548 h 674850"/>
                <a:gd name="connsiteX97" fmla="*/ 109129 w 2744800"/>
                <a:gd name="connsiteY97" fmla="*/ 587548 h 674850"/>
                <a:gd name="connsiteX98" fmla="*/ 87303 w 2744800"/>
                <a:gd name="connsiteY98" fmla="*/ 649533 h 674850"/>
                <a:gd name="connsiteX99" fmla="*/ 60239 w 2744800"/>
                <a:gd name="connsiteY99" fmla="*/ 583183 h 674850"/>
                <a:gd name="connsiteX100" fmla="*/ 33175 w 2744800"/>
                <a:gd name="connsiteY100" fmla="*/ 649533 h 674850"/>
                <a:gd name="connsiteX101" fmla="*/ 151034 w 2744800"/>
                <a:gd name="connsiteY101" fmla="*/ 587548 h 674850"/>
                <a:gd name="connsiteX102" fmla="*/ 151034 w 2744800"/>
                <a:gd name="connsiteY102" fmla="*/ 670486 h 674850"/>
                <a:gd name="connsiteX103" fmla="*/ 160637 w 2744800"/>
                <a:gd name="connsiteY103" fmla="*/ 670486 h 674850"/>
                <a:gd name="connsiteX104" fmla="*/ 160637 w 2744800"/>
                <a:gd name="connsiteY104" fmla="*/ 587548 h 674850"/>
                <a:gd name="connsiteX105" fmla="*/ 151034 w 2744800"/>
                <a:gd name="connsiteY105" fmla="*/ 587548 h 674850"/>
                <a:gd name="connsiteX106" fmla="*/ 199050 w 2744800"/>
                <a:gd name="connsiteY106" fmla="*/ 587548 h 674850"/>
                <a:gd name="connsiteX107" fmla="*/ 199050 w 2744800"/>
                <a:gd name="connsiteY107" fmla="*/ 670486 h 674850"/>
                <a:gd name="connsiteX108" fmla="*/ 208654 w 2744800"/>
                <a:gd name="connsiteY108" fmla="*/ 670486 h 674850"/>
                <a:gd name="connsiteX109" fmla="*/ 208654 w 2744800"/>
                <a:gd name="connsiteY109" fmla="*/ 633819 h 674850"/>
                <a:gd name="connsiteX110" fmla="*/ 211273 w 2744800"/>
                <a:gd name="connsiteY110" fmla="*/ 633819 h 674850"/>
                <a:gd name="connsiteX111" fmla="*/ 236591 w 2744800"/>
                <a:gd name="connsiteY111" fmla="*/ 670486 h 674850"/>
                <a:gd name="connsiteX112" fmla="*/ 247940 w 2744800"/>
                <a:gd name="connsiteY112" fmla="*/ 670486 h 674850"/>
                <a:gd name="connsiteX113" fmla="*/ 221749 w 2744800"/>
                <a:gd name="connsiteY113" fmla="*/ 632946 h 674850"/>
                <a:gd name="connsiteX114" fmla="*/ 242702 w 2744800"/>
                <a:gd name="connsiteY114" fmla="*/ 610247 h 674850"/>
                <a:gd name="connsiteX115" fmla="*/ 213019 w 2744800"/>
                <a:gd name="connsiteY115" fmla="*/ 587548 h 674850"/>
                <a:gd name="connsiteX116" fmla="*/ 199050 w 2744800"/>
                <a:gd name="connsiteY116" fmla="*/ 587548 h 674850"/>
                <a:gd name="connsiteX117" fmla="*/ 208654 w 2744800"/>
                <a:gd name="connsiteY117" fmla="*/ 596278 h 674850"/>
                <a:gd name="connsiteX118" fmla="*/ 213892 w 2744800"/>
                <a:gd name="connsiteY118" fmla="*/ 596278 h 674850"/>
                <a:gd name="connsiteX119" fmla="*/ 233099 w 2744800"/>
                <a:gd name="connsiteY119" fmla="*/ 611120 h 674850"/>
                <a:gd name="connsiteX120" fmla="*/ 213019 w 2744800"/>
                <a:gd name="connsiteY120" fmla="*/ 625961 h 674850"/>
                <a:gd name="connsiteX121" fmla="*/ 208654 w 2744800"/>
                <a:gd name="connsiteY121" fmla="*/ 625961 h 674850"/>
                <a:gd name="connsiteX122" fmla="*/ 208654 w 2744800"/>
                <a:gd name="connsiteY122" fmla="*/ 596278 h 674850"/>
                <a:gd name="connsiteX123" fmla="*/ 271512 w 2744800"/>
                <a:gd name="connsiteY123" fmla="*/ 587548 h 674850"/>
                <a:gd name="connsiteX124" fmla="*/ 271512 w 2744800"/>
                <a:gd name="connsiteY124" fmla="*/ 596278 h 674850"/>
                <a:gd name="connsiteX125" fmla="*/ 291591 w 2744800"/>
                <a:gd name="connsiteY125" fmla="*/ 596278 h 674850"/>
                <a:gd name="connsiteX126" fmla="*/ 291591 w 2744800"/>
                <a:gd name="connsiteY126" fmla="*/ 670486 h 674850"/>
                <a:gd name="connsiteX127" fmla="*/ 301195 w 2744800"/>
                <a:gd name="connsiteY127" fmla="*/ 670486 h 674850"/>
                <a:gd name="connsiteX128" fmla="*/ 301195 w 2744800"/>
                <a:gd name="connsiteY128" fmla="*/ 596278 h 674850"/>
                <a:gd name="connsiteX129" fmla="*/ 321274 w 2744800"/>
                <a:gd name="connsiteY129" fmla="*/ 596278 h 674850"/>
                <a:gd name="connsiteX130" fmla="*/ 321274 w 2744800"/>
                <a:gd name="connsiteY130" fmla="*/ 587548 h 674850"/>
                <a:gd name="connsiteX131" fmla="*/ 271512 w 2744800"/>
                <a:gd name="connsiteY131" fmla="*/ 587548 h 674850"/>
                <a:gd name="connsiteX132" fmla="*/ 397228 w 2744800"/>
                <a:gd name="connsiteY132" fmla="*/ 598898 h 674850"/>
                <a:gd name="connsiteX133" fmla="*/ 375402 w 2744800"/>
                <a:gd name="connsiteY133" fmla="*/ 585802 h 674850"/>
                <a:gd name="connsiteX134" fmla="*/ 351830 w 2744800"/>
                <a:gd name="connsiteY134" fmla="*/ 606755 h 674850"/>
                <a:gd name="connsiteX135" fmla="*/ 371037 w 2744800"/>
                <a:gd name="connsiteY135" fmla="*/ 628580 h 674850"/>
                <a:gd name="connsiteX136" fmla="*/ 390244 w 2744800"/>
                <a:gd name="connsiteY136" fmla="*/ 646914 h 674850"/>
                <a:gd name="connsiteX137" fmla="*/ 372783 w 2744800"/>
                <a:gd name="connsiteY137" fmla="*/ 663502 h 674850"/>
                <a:gd name="connsiteX138" fmla="*/ 356195 w 2744800"/>
                <a:gd name="connsiteY138" fmla="*/ 647787 h 674850"/>
                <a:gd name="connsiteX139" fmla="*/ 347465 w 2744800"/>
                <a:gd name="connsiteY139" fmla="*/ 650406 h 674850"/>
                <a:gd name="connsiteX140" fmla="*/ 373656 w 2744800"/>
                <a:gd name="connsiteY140" fmla="*/ 672232 h 674850"/>
                <a:gd name="connsiteX141" fmla="*/ 399847 w 2744800"/>
                <a:gd name="connsiteY141" fmla="*/ 646914 h 674850"/>
                <a:gd name="connsiteX142" fmla="*/ 382386 w 2744800"/>
                <a:gd name="connsiteY142" fmla="*/ 625088 h 674850"/>
                <a:gd name="connsiteX143" fmla="*/ 363180 w 2744800"/>
                <a:gd name="connsiteY143" fmla="*/ 614612 h 674850"/>
                <a:gd name="connsiteX144" fmla="*/ 361434 w 2744800"/>
                <a:gd name="connsiteY144" fmla="*/ 608501 h 674850"/>
                <a:gd name="connsiteX145" fmla="*/ 375402 w 2744800"/>
                <a:gd name="connsiteY145" fmla="*/ 595405 h 674850"/>
                <a:gd name="connsiteX146" fmla="*/ 389371 w 2744800"/>
                <a:gd name="connsiteY146" fmla="*/ 604136 h 674850"/>
                <a:gd name="connsiteX147" fmla="*/ 397228 w 2744800"/>
                <a:gd name="connsiteY147" fmla="*/ 598898 h 674850"/>
                <a:gd name="connsiteX148" fmla="*/ 499372 w 2744800"/>
                <a:gd name="connsiteY148" fmla="*/ 594532 h 674850"/>
                <a:gd name="connsiteX149" fmla="*/ 474927 w 2744800"/>
                <a:gd name="connsiteY149" fmla="*/ 586675 h 674850"/>
                <a:gd name="connsiteX150" fmla="*/ 431276 w 2744800"/>
                <a:gd name="connsiteY150" fmla="*/ 630327 h 674850"/>
                <a:gd name="connsiteX151" fmla="*/ 474927 w 2744800"/>
                <a:gd name="connsiteY151" fmla="*/ 673105 h 674850"/>
                <a:gd name="connsiteX152" fmla="*/ 499372 w 2744800"/>
                <a:gd name="connsiteY152" fmla="*/ 665248 h 674850"/>
                <a:gd name="connsiteX153" fmla="*/ 499372 w 2744800"/>
                <a:gd name="connsiteY153" fmla="*/ 653898 h 674850"/>
                <a:gd name="connsiteX154" fmla="*/ 474054 w 2744800"/>
                <a:gd name="connsiteY154" fmla="*/ 665248 h 674850"/>
                <a:gd name="connsiteX155" fmla="*/ 440006 w 2744800"/>
                <a:gd name="connsiteY155" fmla="*/ 631200 h 674850"/>
                <a:gd name="connsiteX156" fmla="*/ 473181 w 2744800"/>
                <a:gd name="connsiteY156" fmla="*/ 597151 h 674850"/>
                <a:gd name="connsiteX157" fmla="*/ 498499 w 2744800"/>
                <a:gd name="connsiteY157" fmla="*/ 608501 h 674850"/>
                <a:gd name="connsiteX158" fmla="*/ 498499 w 2744800"/>
                <a:gd name="connsiteY158" fmla="*/ 594532 h 674850"/>
                <a:gd name="connsiteX159" fmla="*/ 537785 w 2744800"/>
                <a:gd name="connsiteY159" fmla="*/ 587548 h 674850"/>
                <a:gd name="connsiteX160" fmla="*/ 537785 w 2744800"/>
                <a:gd name="connsiteY160" fmla="*/ 670486 h 674850"/>
                <a:gd name="connsiteX161" fmla="*/ 547389 w 2744800"/>
                <a:gd name="connsiteY161" fmla="*/ 670486 h 674850"/>
                <a:gd name="connsiteX162" fmla="*/ 547389 w 2744800"/>
                <a:gd name="connsiteY162" fmla="*/ 629454 h 674850"/>
                <a:gd name="connsiteX163" fmla="*/ 590167 w 2744800"/>
                <a:gd name="connsiteY163" fmla="*/ 629454 h 674850"/>
                <a:gd name="connsiteX164" fmla="*/ 590167 w 2744800"/>
                <a:gd name="connsiteY164" fmla="*/ 670486 h 674850"/>
                <a:gd name="connsiteX165" fmla="*/ 599770 w 2744800"/>
                <a:gd name="connsiteY165" fmla="*/ 670486 h 674850"/>
                <a:gd name="connsiteX166" fmla="*/ 599770 w 2744800"/>
                <a:gd name="connsiteY166" fmla="*/ 587548 h 674850"/>
                <a:gd name="connsiteX167" fmla="*/ 590167 w 2744800"/>
                <a:gd name="connsiteY167" fmla="*/ 587548 h 674850"/>
                <a:gd name="connsiteX168" fmla="*/ 590167 w 2744800"/>
                <a:gd name="connsiteY168" fmla="*/ 621596 h 674850"/>
                <a:gd name="connsiteX169" fmla="*/ 547389 w 2744800"/>
                <a:gd name="connsiteY169" fmla="*/ 621596 h 674850"/>
                <a:gd name="connsiteX170" fmla="*/ 547389 w 2744800"/>
                <a:gd name="connsiteY170" fmla="*/ 587548 h 674850"/>
                <a:gd name="connsiteX171" fmla="*/ 537785 w 2744800"/>
                <a:gd name="connsiteY171" fmla="*/ 587548 h 674850"/>
                <a:gd name="connsiteX172" fmla="*/ 630326 w 2744800"/>
                <a:gd name="connsiteY172" fmla="*/ 670486 h 674850"/>
                <a:gd name="connsiteX173" fmla="*/ 640803 w 2744800"/>
                <a:gd name="connsiteY173" fmla="*/ 670486 h 674850"/>
                <a:gd name="connsiteX174" fmla="*/ 650406 w 2744800"/>
                <a:gd name="connsiteY174" fmla="*/ 646914 h 674850"/>
                <a:gd name="connsiteX175" fmla="*/ 686200 w 2744800"/>
                <a:gd name="connsiteY175" fmla="*/ 646914 h 674850"/>
                <a:gd name="connsiteX176" fmla="*/ 695803 w 2744800"/>
                <a:gd name="connsiteY176" fmla="*/ 670486 h 674850"/>
                <a:gd name="connsiteX177" fmla="*/ 706280 w 2744800"/>
                <a:gd name="connsiteY177" fmla="*/ 670486 h 674850"/>
                <a:gd name="connsiteX178" fmla="*/ 668740 w 2744800"/>
                <a:gd name="connsiteY178" fmla="*/ 583183 h 674850"/>
                <a:gd name="connsiteX179" fmla="*/ 630326 w 2744800"/>
                <a:gd name="connsiteY179" fmla="*/ 670486 h 674850"/>
                <a:gd name="connsiteX180" fmla="*/ 668740 w 2744800"/>
                <a:gd name="connsiteY180" fmla="*/ 605009 h 674850"/>
                <a:gd name="connsiteX181" fmla="*/ 682708 w 2744800"/>
                <a:gd name="connsiteY181" fmla="*/ 638184 h 674850"/>
                <a:gd name="connsiteX182" fmla="*/ 654771 w 2744800"/>
                <a:gd name="connsiteY182" fmla="*/ 638184 h 674850"/>
                <a:gd name="connsiteX183" fmla="*/ 668740 w 2744800"/>
                <a:gd name="connsiteY183" fmla="*/ 605009 h 674850"/>
                <a:gd name="connsiteX184" fmla="*/ 736836 w 2744800"/>
                <a:gd name="connsiteY184" fmla="*/ 587548 h 674850"/>
                <a:gd name="connsiteX185" fmla="*/ 736836 w 2744800"/>
                <a:gd name="connsiteY185" fmla="*/ 670486 h 674850"/>
                <a:gd name="connsiteX186" fmla="*/ 746439 w 2744800"/>
                <a:gd name="connsiteY186" fmla="*/ 670486 h 674850"/>
                <a:gd name="connsiteX187" fmla="*/ 746439 w 2744800"/>
                <a:gd name="connsiteY187" fmla="*/ 629454 h 674850"/>
                <a:gd name="connsiteX188" fmla="*/ 774376 w 2744800"/>
                <a:gd name="connsiteY188" fmla="*/ 629454 h 674850"/>
                <a:gd name="connsiteX189" fmla="*/ 774376 w 2744800"/>
                <a:gd name="connsiteY189" fmla="*/ 620723 h 674850"/>
                <a:gd name="connsiteX190" fmla="*/ 746439 w 2744800"/>
                <a:gd name="connsiteY190" fmla="*/ 620723 h 674850"/>
                <a:gd name="connsiteX191" fmla="*/ 746439 w 2744800"/>
                <a:gd name="connsiteY191" fmla="*/ 596278 h 674850"/>
                <a:gd name="connsiteX192" fmla="*/ 775249 w 2744800"/>
                <a:gd name="connsiteY192" fmla="*/ 596278 h 674850"/>
                <a:gd name="connsiteX193" fmla="*/ 775249 w 2744800"/>
                <a:gd name="connsiteY193" fmla="*/ 587548 h 674850"/>
                <a:gd name="connsiteX194" fmla="*/ 736836 w 2744800"/>
                <a:gd name="connsiteY194" fmla="*/ 587548 h 674850"/>
                <a:gd name="connsiteX195" fmla="*/ 804059 w 2744800"/>
                <a:gd name="connsiteY195" fmla="*/ 587548 h 674850"/>
                <a:gd name="connsiteX196" fmla="*/ 804059 w 2744800"/>
                <a:gd name="connsiteY196" fmla="*/ 596278 h 674850"/>
                <a:gd name="connsiteX197" fmla="*/ 824139 w 2744800"/>
                <a:gd name="connsiteY197" fmla="*/ 596278 h 674850"/>
                <a:gd name="connsiteX198" fmla="*/ 824139 w 2744800"/>
                <a:gd name="connsiteY198" fmla="*/ 670486 h 674850"/>
                <a:gd name="connsiteX199" fmla="*/ 833742 w 2744800"/>
                <a:gd name="connsiteY199" fmla="*/ 670486 h 674850"/>
                <a:gd name="connsiteX200" fmla="*/ 833742 w 2744800"/>
                <a:gd name="connsiteY200" fmla="*/ 596278 h 674850"/>
                <a:gd name="connsiteX201" fmla="*/ 853822 w 2744800"/>
                <a:gd name="connsiteY201" fmla="*/ 596278 h 674850"/>
                <a:gd name="connsiteX202" fmla="*/ 853822 w 2744800"/>
                <a:gd name="connsiteY202" fmla="*/ 587548 h 674850"/>
                <a:gd name="connsiteX203" fmla="*/ 804059 w 2744800"/>
                <a:gd name="connsiteY203" fmla="*/ 587548 h 674850"/>
                <a:gd name="connsiteX204" fmla="*/ 930648 w 2744800"/>
                <a:gd name="connsiteY204" fmla="*/ 598898 h 674850"/>
                <a:gd name="connsiteX205" fmla="*/ 908822 w 2744800"/>
                <a:gd name="connsiteY205" fmla="*/ 585802 h 674850"/>
                <a:gd name="connsiteX206" fmla="*/ 885251 w 2744800"/>
                <a:gd name="connsiteY206" fmla="*/ 606755 h 674850"/>
                <a:gd name="connsiteX207" fmla="*/ 904457 w 2744800"/>
                <a:gd name="connsiteY207" fmla="*/ 628580 h 674850"/>
                <a:gd name="connsiteX208" fmla="*/ 923664 w 2744800"/>
                <a:gd name="connsiteY208" fmla="*/ 646914 h 674850"/>
                <a:gd name="connsiteX209" fmla="*/ 906203 w 2744800"/>
                <a:gd name="connsiteY209" fmla="*/ 663502 h 674850"/>
                <a:gd name="connsiteX210" fmla="*/ 889616 w 2744800"/>
                <a:gd name="connsiteY210" fmla="*/ 647787 h 674850"/>
                <a:gd name="connsiteX211" fmla="*/ 880885 w 2744800"/>
                <a:gd name="connsiteY211" fmla="*/ 650406 h 674850"/>
                <a:gd name="connsiteX212" fmla="*/ 907076 w 2744800"/>
                <a:gd name="connsiteY212" fmla="*/ 672232 h 674850"/>
                <a:gd name="connsiteX213" fmla="*/ 933267 w 2744800"/>
                <a:gd name="connsiteY213" fmla="*/ 646914 h 674850"/>
                <a:gd name="connsiteX214" fmla="*/ 915807 w 2744800"/>
                <a:gd name="connsiteY214" fmla="*/ 625088 h 674850"/>
                <a:gd name="connsiteX215" fmla="*/ 896600 w 2744800"/>
                <a:gd name="connsiteY215" fmla="*/ 614612 h 674850"/>
                <a:gd name="connsiteX216" fmla="*/ 894854 w 2744800"/>
                <a:gd name="connsiteY216" fmla="*/ 608501 h 674850"/>
                <a:gd name="connsiteX217" fmla="*/ 908822 w 2744800"/>
                <a:gd name="connsiteY217" fmla="*/ 595405 h 674850"/>
                <a:gd name="connsiteX218" fmla="*/ 922791 w 2744800"/>
                <a:gd name="connsiteY218" fmla="*/ 604136 h 674850"/>
                <a:gd name="connsiteX219" fmla="*/ 930648 w 2744800"/>
                <a:gd name="connsiteY219" fmla="*/ 598898 h 674850"/>
                <a:gd name="connsiteX220" fmla="*/ 969061 w 2744800"/>
                <a:gd name="connsiteY220" fmla="*/ 587548 h 674850"/>
                <a:gd name="connsiteX221" fmla="*/ 969061 w 2744800"/>
                <a:gd name="connsiteY221" fmla="*/ 670486 h 674850"/>
                <a:gd name="connsiteX222" fmla="*/ 978665 w 2744800"/>
                <a:gd name="connsiteY222" fmla="*/ 670486 h 674850"/>
                <a:gd name="connsiteX223" fmla="*/ 978665 w 2744800"/>
                <a:gd name="connsiteY223" fmla="*/ 633819 h 674850"/>
                <a:gd name="connsiteX224" fmla="*/ 986522 w 2744800"/>
                <a:gd name="connsiteY224" fmla="*/ 633819 h 674850"/>
                <a:gd name="connsiteX225" fmla="*/ 1006601 w 2744800"/>
                <a:gd name="connsiteY225" fmla="*/ 626834 h 674850"/>
                <a:gd name="connsiteX226" fmla="*/ 1012713 w 2744800"/>
                <a:gd name="connsiteY226" fmla="*/ 610247 h 674850"/>
                <a:gd name="connsiteX227" fmla="*/ 999617 w 2744800"/>
                <a:gd name="connsiteY227" fmla="*/ 589294 h 674850"/>
                <a:gd name="connsiteX228" fmla="*/ 983030 w 2744800"/>
                <a:gd name="connsiteY228" fmla="*/ 586675 h 674850"/>
                <a:gd name="connsiteX229" fmla="*/ 969061 w 2744800"/>
                <a:gd name="connsiteY229" fmla="*/ 586675 h 674850"/>
                <a:gd name="connsiteX230" fmla="*/ 978665 w 2744800"/>
                <a:gd name="connsiteY230" fmla="*/ 596278 h 674850"/>
                <a:gd name="connsiteX231" fmla="*/ 986522 w 2744800"/>
                <a:gd name="connsiteY231" fmla="*/ 596278 h 674850"/>
                <a:gd name="connsiteX232" fmla="*/ 1003109 w 2744800"/>
                <a:gd name="connsiteY232" fmla="*/ 611120 h 674850"/>
                <a:gd name="connsiteX233" fmla="*/ 983030 w 2744800"/>
                <a:gd name="connsiteY233" fmla="*/ 625961 h 674850"/>
                <a:gd name="connsiteX234" fmla="*/ 977792 w 2744800"/>
                <a:gd name="connsiteY234" fmla="*/ 625961 h 674850"/>
                <a:gd name="connsiteX235" fmla="*/ 977792 w 2744800"/>
                <a:gd name="connsiteY235" fmla="*/ 596278 h 674850"/>
                <a:gd name="connsiteX236" fmla="*/ 1046761 w 2744800"/>
                <a:gd name="connsiteY236" fmla="*/ 587548 h 674850"/>
                <a:gd name="connsiteX237" fmla="*/ 1046761 w 2744800"/>
                <a:gd name="connsiteY237" fmla="*/ 670486 h 674850"/>
                <a:gd name="connsiteX238" fmla="*/ 1056364 w 2744800"/>
                <a:gd name="connsiteY238" fmla="*/ 670486 h 674850"/>
                <a:gd name="connsiteX239" fmla="*/ 1056364 w 2744800"/>
                <a:gd name="connsiteY239" fmla="*/ 633819 h 674850"/>
                <a:gd name="connsiteX240" fmla="*/ 1058983 w 2744800"/>
                <a:gd name="connsiteY240" fmla="*/ 633819 h 674850"/>
                <a:gd name="connsiteX241" fmla="*/ 1084301 w 2744800"/>
                <a:gd name="connsiteY241" fmla="*/ 670486 h 674850"/>
                <a:gd name="connsiteX242" fmla="*/ 1095650 w 2744800"/>
                <a:gd name="connsiteY242" fmla="*/ 670486 h 674850"/>
                <a:gd name="connsiteX243" fmla="*/ 1069460 w 2744800"/>
                <a:gd name="connsiteY243" fmla="*/ 632946 h 674850"/>
                <a:gd name="connsiteX244" fmla="*/ 1090412 w 2744800"/>
                <a:gd name="connsiteY244" fmla="*/ 610247 h 674850"/>
                <a:gd name="connsiteX245" fmla="*/ 1060729 w 2744800"/>
                <a:gd name="connsiteY245" fmla="*/ 587548 h 674850"/>
                <a:gd name="connsiteX246" fmla="*/ 1046761 w 2744800"/>
                <a:gd name="connsiteY246" fmla="*/ 587548 h 674850"/>
                <a:gd name="connsiteX247" fmla="*/ 1056364 w 2744800"/>
                <a:gd name="connsiteY247" fmla="*/ 596278 h 674850"/>
                <a:gd name="connsiteX248" fmla="*/ 1061602 w 2744800"/>
                <a:gd name="connsiteY248" fmla="*/ 596278 h 674850"/>
                <a:gd name="connsiteX249" fmla="*/ 1080809 w 2744800"/>
                <a:gd name="connsiteY249" fmla="*/ 611120 h 674850"/>
                <a:gd name="connsiteX250" fmla="*/ 1060729 w 2744800"/>
                <a:gd name="connsiteY250" fmla="*/ 625961 h 674850"/>
                <a:gd name="connsiteX251" fmla="*/ 1056364 w 2744800"/>
                <a:gd name="connsiteY251" fmla="*/ 625961 h 674850"/>
                <a:gd name="connsiteX252" fmla="*/ 1056364 w 2744800"/>
                <a:gd name="connsiteY252" fmla="*/ 596278 h 674850"/>
                <a:gd name="connsiteX253" fmla="*/ 1127952 w 2744800"/>
                <a:gd name="connsiteY253" fmla="*/ 587548 h 674850"/>
                <a:gd name="connsiteX254" fmla="*/ 1127952 w 2744800"/>
                <a:gd name="connsiteY254" fmla="*/ 639930 h 674850"/>
                <a:gd name="connsiteX255" fmla="*/ 1136683 w 2744800"/>
                <a:gd name="connsiteY255" fmla="*/ 663502 h 674850"/>
                <a:gd name="connsiteX256" fmla="*/ 1157635 w 2744800"/>
                <a:gd name="connsiteY256" fmla="*/ 671359 h 674850"/>
                <a:gd name="connsiteX257" fmla="*/ 1183826 w 2744800"/>
                <a:gd name="connsiteY257" fmla="*/ 657390 h 674850"/>
                <a:gd name="connsiteX258" fmla="*/ 1187318 w 2744800"/>
                <a:gd name="connsiteY258" fmla="*/ 639930 h 674850"/>
                <a:gd name="connsiteX259" fmla="*/ 1187318 w 2744800"/>
                <a:gd name="connsiteY259" fmla="*/ 587548 h 674850"/>
                <a:gd name="connsiteX260" fmla="*/ 1178588 w 2744800"/>
                <a:gd name="connsiteY260" fmla="*/ 587548 h 674850"/>
                <a:gd name="connsiteX261" fmla="*/ 1178588 w 2744800"/>
                <a:gd name="connsiteY261" fmla="*/ 638184 h 674850"/>
                <a:gd name="connsiteX262" fmla="*/ 1176842 w 2744800"/>
                <a:gd name="connsiteY262" fmla="*/ 652152 h 674850"/>
                <a:gd name="connsiteX263" fmla="*/ 1158508 w 2744800"/>
                <a:gd name="connsiteY263" fmla="*/ 663502 h 674850"/>
                <a:gd name="connsiteX264" fmla="*/ 1147159 w 2744800"/>
                <a:gd name="connsiteY264" fmla="*/ 660010 h 674850"/>
                <a:gd name="connsiteX265" fmla="*/ 1138429 w 2744800"/>
                <a:gd name="connsiteY265" fmla="*/ 639057 h 674850"/>
                <a:gd name="connsiteX266" fmla="*/ 1138429 w 2744800"/>
                <a:gd name="connsiteY266" fmla="*/ 587548 h 674850"/>
                <a:gd name="connsiteX267" fmla="*/ 1127952 w 2744800"/>
                <a:gd name="connsiteY267" fmla="*/ 587548 h 674850"/>
                <a:gd name="connsiteX268" fmla="*/ 1153270 w 2744800"/>
                <a:gd name="connsiteY268" fmla="*/ 570088 h 674850"/>
                <a:gd name="connsiteX269" fmla="*/ 1147159 w 2744800"/>
                <a:gd name="connsiteY269" fmla="*/ 563976 h 674850"/>
                <a:gd name="connsiteX270" fmla="*/ 1141048 w 2744800"/>
                <a:gd name="connsiteY270" fmla="*/ 570088 h 674850"/>
                <a:gd name="connsiteX271" fmla="*/ 1147159 w 2744800"/>
                <a:gd name="connsiteY271" fmla="*/ 576199 h 674850"/>
                <a:gd name="connsiteX272" fmla="*/ 1153270 w 2744800"/>
                <a:gd name="connsiteY272" fmla="*/ 570088 h 674850"/>
                <a:gd name="connsiteX273" fmla="*/ 1174223 w 2744800"/>
                <a:gd name="connsiteY273" fmla="*/ 570088 h 674850"/>
                <a:gd name="connsiteX274" fmla="*/ 1168112 w 2744800"/>
                <a:gd name="connsiteY274" fmla="*/ 563976 h 674850"/>
                <a:gd name="connsiteX275" fmla="*/ 1162001 w 2744800"/>
                <a:gd name="connsiteY275" fmla="*/ 570088 h 674850"/>
                <a:gd name="connsiteX276" fmla="*/ 1168112 w 2744800"/>
                <a:gd name="connsiteY276" fmla="*/ 576199 h 674850"/>
                <a:gd name="connsiteX277" fmla="*/ 1174223 w 2744800"/>
                <a:gd name="connsiteY277" fmla="*/ 570088 h 674850"/>
                <a:gd name="connsiteX278" fmla="*/ 1225731 w 2744800"/>
                <a:gd name="connsiteY278" fmla="*/ 587548 h 674850"/>
                <a:gd name="connsiteX279" fmla="*/ 1225731 w 2744800"/>
                <a:gd name="connsiteY279" fmla="*/ 670486 h 674850"/>
                <a:gd name="connsiteX280" fmla="*/ 1235335 w 2744800"/>
                <a:gd name="connsiteY280" fmla="*/ 670486 h 674850"/>
                <a:gd name="connsiteX281" fmla="*/ 1235335 w 2744800"/>
                <a:gd name="connsiteY281" fmla="*/ 629454 h 674850"/>
                <a:gd name="connsiteX282" fmla="*/ 1263272 w 2744800"/>
                <a:gd name="connsiteY282" fmla="*/ 629454 h 674850"/>
                <a:gd name="connsiteX283" fmla="*/ 1263272 w 2744800"/>
                <a:gd name="connsiteY283" fmla="*/ 620723 h 674850"/>
                <a:gd name="connsiteX284" fmla="*/ 1235335 w 2744800"/>
                <a:gd name="connsiteY284" fmla="*/ 620723 h 674850"/>
                <a:gd name="connsiteX285" fmla="*/ 1235335 w 2744800"/>
                <a:gd name="connsiteY285" fmla="*/ 596278 h 674850"/>
                <a:gd name="connsiteX286" fmla="*/ 1264145 w 2744800"/>
                <a:gd name="connsiteY286" fmla="*/ 596278 h 674850"/>
                <a:gd name="connsiteX287" fmla="*/ 1264145 w 2744800"/>
                <a:gd name="connsiteY287" fmla="*/ 587548 h 674850"/>
                <a:gd name="connsiteX288" fmla="*/ 1225731 w 2744800"/>
                <a:gd name="connsiteY288" fmla="*/ 587548 h 674850"/>
                <a:gd name="connsiteX289" fmla="*/ 1300812 w 2744800"/>
                <a:gd name="connsiteY289" fmla="*/ 587548 h 674850"/>
                <a:gd name="connsiteX290" fmla="*/ 1300812 w 2744800"/>
                <a:gd name="connsiteY290" fmla="*/ 639930 h 674850"/>
                <a:gd name="connsiteX291" fmla="*/ 1309542 w 2744800"/>
                <a:gd name="connsiteY291" fmla="*/ 663502 h 674850"/>
                <a:gd name="connsiteX292" fmla="*/ 1330495 w 2744800"/>
                <a:gd name="connsiteY292" fmla="*/ 671359 h 674850"/>
                <a:gd name="connsiteX293" fmla="*/ 1356686 w 2744800"/>
                <a:gd name="connsiteY293" fmla="*/ 657390 h 674850"/>
                <a:gd name="connsiteX294" fmla="*/ 1360178 w 2744800"/>
                <a:gd name="connsiteY294" fmla="*/ 639930 h 674850"/>
                <a:gd name="connsiteX295" fmla="*/ 1360178 w 2744800"/>
                <a:gd name="connsiteY295" fmla="*/ 587548 h 674850"/>
                <a:gd name="connsiteX296" fmla="*/ 1350575 w 2744800"/>
                <a:gd name="connsiteY296" fmla="*/ 587548 h 674850"/>
                <a:gd name="connsiteX297" fmla="*/ 1350575 w 2744800"/>
                <a:gd name="connsiteY297" fmla="*/ 638184 h 674850"/>
                <a:gd name="connsiteX298" fmla="*/ 1348829 w 2744800"/>
                <a:gd name="connsiteY298" fmla="*/ 652152 h 674850"/>
                <a:gd name="connsiteX299" fmla="*/ 1330495 w 2744800"/>
                <a:gd name="connsiteY299" fmla="*/ 663502 h 674850"/>
                <a:gd name="connsiteX300" fmla="*/ 1319146 w 2744800"/>
                <a:gd name="connsiteY300" fmla="*/ 660010 h 674850"/>
                <a:gd name="connsiteX301" fmla="*/ 1310415 w 2744800"/>
                <a:gd name="connsiteY301" fmla="*/ 639057 h 674850"/>
                <a:gd name="connsiteX302" fmla="*/ 1310415 w 2744800"/>
                <a:gd name="connsiteY302" fmla="*/ 587548 h 674850"/>
                <a:gd name="connsiteX303" fmla="*/ 1300812 w 2744800"/>
                <a:gd name="connsiteY303" fmla="*/ 587548 h 674850"/>
                <a:gd name="connsiteX304" fmla="*/ 1398591 w 2744800"/>
                <a:gd name="connsiteY304" fmla="*/ 670486 h 674850"/>
                <a:gd name="connsiteX305" fmla="*/ 1408194 w 2744800"/>
                <a:gd name="connsiteY305" fmla="*/ 670486 h 674850"/>
                <a:gd name="connsiteX306" fmla="*/ 1408194 w 2744800"/>
                <a:gd name="connsiteY306" fmla="*/ 606755 h 674850"/>
                <a:gd name="connsiteX307" fmla="*/ 1472798 w 2744800"/>
                <a:gd name="connsiteY307" fmla="*/ 674851 h 674850"/>
                <a:gd name="connsiteX308" fmla="*/ 1472798 w 2744800"/>
                <a:gd name="connsiteY308" fmla="*/ 587548 h 674850"/>
                <a:gd name="connsiteX309" fmla="*/ 1463195 w 2744800"/>
                <a:gd name="connsiteY309" fmla="*/ 587548 h 674850"/>
                <a:gd name="connsiteX310" fmla="*/ 1463195 w 2744800"/>
                <a:gd name="connsiteY310" fmla="*/ 652152 h 674850"/>
                <a:gd name="connsiteX311" fmla="*/ 1398591 w 2744800"/>
                <a:gd name="connsiteY311" fmla="*/ 584056 h 674850"/>
                <a:gd name="connsiteX312" fmla="*/ 1398591 w 2744800"/>
                <a:gd name="connsiteY312" fmla="*/ 670486 h 674850"/>
                <a:gd name="connsiteX313" fmla="*/ 1586292 w 2744800"/>
                <a:gd name="connsiteY313" fmla="*/ 604136 h 674850"/>
                <a:gd name="connsiteX314" fmla="*/ 1551371 w 2744800"/>
                <a:gd name="connsiteY314" fmla="*/ 585802 h 674850"/>
                <a:gd name="connsiteX315" fmla="*/ 1507720 w 2744800"/>
                <a:gd name="connsiteY315" fmla="*/ 628580 h 674850"/>
                <a:gd name="connsiteX316" fmla="*/ 1550498 w 2744800"/>
                <a:gd name="connsiteY316" fmla="*/ 671359 h 674850"/>
                <a:gd name="connsiteX317" fmla="*/ 1579308 w 2744800"/>
                <a:gd name="connsiteY317" fmla="*/ 659136 h 674850"/>
                <a:gd name="connsiteX318" fmla="*/ 1589784 w 2744800"/>
                <a:gd name="connsiteY318" fmla="*/ 632946 h 674850"/>
                <a:gd name="connsiteX319" fmla="*/ 1589784 w 2744800"/>
                <a:gd name="connsiteY319" fmla="*/ 628580 h 674850"/>
                <a:gd name="connsiteX320" fmla="*/ 1554863 w 2744800"/>
                <a:gd name="connsiteY320" fmla="*/ 628580 h 674850"/>
                <a:gd name="connsiteX321" fmla="*/ 1554863 w 2744800"/>
                <a:gd name="connsiteY321" fmla="*/ 637311 h 674850"/>
                <a:gd name="connsiteX322" fmla="*/ 1579308 w 2744800"/>
                <a:gd name="connsiteY322" fmla="*/ 637311 h 674850"/>
                <a:gd name="connsiteX323" fmla="*/ 1549625 w 2744800"/>
                <a:gd name="connsiteY323" fmla="*/ 663502 h 674850"/>
                <a:gd name="connsiteX324" fmla="*/ 1516450 w 2744800"/>
                <a:gd name="connsiteY324" fmla="*/ 629454 h 674850"/>
                <a:gd name="connsiteX325" fmla="*/ 1550498 w 2744800"/>
                <a:gd name="connsiteY325" fmla="*/ 594532 h 674850"/>
                <a:gd name="connsiteX326" fmla="*/ 1579308 w 2744800"/>
                <a:gd name="connsiteY326" fmla="*/ 610247 h 674850"/>
                <a:gd name="connsiteX327" fmla="*/ 1586292 w 2744800"/>
                <a:gd name="connsiteY327" fmla="*/ 604136 h 674850"/>
                <a:gd name="connsiteX328" fmla="*/ 1680579 w 2744800"/>
                <a:gd name="connsiteY328" fmla="*/ 587548 h 674850"/>
                <a:gd name="connsiteX329" fmla="*/ 1680579 w 2744800"/>
                <a:gd name="connsiteY329" fmla="*/ 639930 h 674850"/>
                <a:gd name="connsiteX330" fmla="*/ 1689309 w 2744800"/>
                <a:gd name="connsiteY330" fmla="*/ 663502 h 674850"/>
                <a:gd name="connsiteX331" fmla="*/ 1710262 w 2744800"/>
                <a:gd name="connsiteY331" fmla="*/ 671359 h 674850"/>
                <a:gd name="connsiteX332" fmla="*/ 1736453 w 2744800"/>
                <a:gd name="connsiteY332" fmla="*/ 657390 h 674850"/>
                <a:gd name="connsiteX333" fmla="*/ 1739945 w 2744800"/>
                <a:gd name="connsiteY333" fmla="*/ 639930 h 674850"/>
                <a:gd name="connsiteX334" fmla="*/ 1739945 w 2744800"/>
                <a:gd name="connsiteY334" fmla="*/ 587548 h 674850"/>
                <a:gd name="connsiteX335" fmla="*/ 1730342 w 2744800"/>
                <a:gd name="connsiteY335" fmla="*/ 587548 h 674850"/>
                <a:gd name="connsiteX336" fmla="*/ 1730342 w 2744800"/>
                <a:gd name="connsiteY336" fmla="*/ 638184 h 674850"/>
                <a:gd name="connsiteX337" fmla="*/ 1728596 w 2744800"/>
                <a:gd name="connsiteY337" fmla="*/ 652152 h 674850"/>
                <a:gd name="connsiteX338" fmla="*/ 1710262 w 2744800"/>
                <a:gd name="connsiteY338" fmla="*/ 663502 h 674850"/>
                <a:gd name="connsiteX339" fmla="*/ 1698913 w 2744800"/>
                <a:gd name="connsiteY339" fmla="*/ 660010 h 674850"/>
                <a:gd name="connsiteX340" fmla="*/ 1690183 w 2744800"/>
                <a:gd name="connsiteY340" fmla="*/ 639057 h 674850"/>
                <a:gd name="connsiteX341" fmla="*/ 1690183 w 2744800"/>
                <a:gd name="connsiteY341" fmla="*/ 587548 h 674850"/>
                <a:gd name="connsiteX342" fmla="*/ 1680579 w 2744800"/>
                <a:gd name="connsiteY342" fmla="*/ 587548 h 674850"/>
                <a:gd name="connsiteX343" fmla="*/ 1778358 w 2744800"/>
                <a:gd name="connsiteY343" fmla="*/ 670486 h 674850"/>
                <a:gd name="connsiteX344" fmla="*/ 1787962 w 2744800"/>
                <a:gd name="connsiteY344" fmla="*/ 670486 h 674850"/>
                <a:gd name="connsiteX345" fmla="*/ 1787962 w 2744800"/>
                <a:gd name="connsiteY345" fmla="*/ 606755 h 674850"/>
                <a:gd name="connsiteX346" fmla="*/ 1852566 w 2744800"/>
                <a:gd name="connsiteY346" fmla="*/ 674851 h 674850"/>
                <a:gd name="connsiteX347" fmla="*/ 1852566 w 2744800"/>
                <a:gd name="connsiteY347" fmla="*/ 587548 h 674850"/>
                <a:gd name="connsiteX348" fmla="*/ 1842962 w 2744800"/>
                <a:gd name="connsiteY348" fmla="*/ 587548 h 674850"/>
                <a:gd name="connsiteX349" fmla="*/ 1842962 w 2744800"/>
                <a:gd name="connsiteY349" fmla="*/ 652152 h 674850"/>
                <a:gd name="connsiteX350" fmla="*/ 1778358 w 2744800"/>
                <a:gd name="connsiteY350" fmla="*/ 584056 h 674850"/>
                <a:gd name="connsiteX351" fmla="*/ 1778358 w 2744800"/>
                <a:gd name="connsiteY351" fmla="*/ 670486 h 674850"/>
                <a:gd name="connsiteX352" fmla="*/ 1891852 w 2744800"/>
                <a:gd name="connsiteY352" fmla="*/ 587548 h 674850"/>
                <a:gd name="connsiteX353" fmla="*/ 1891852 w 2744800"/>
                <a:gd name="connsiteY353" fmla="*/ 670486 h 674850"/>
                <a:gd name="connsiteX354" fmla="*/ 1909313 w 2744800"/>
                <a:gd name="connsiteY354" fmla="*/ 670486 h 674850"/>
                <a:gd name="connsiteX355" fmla="*/ 1934630 w 2744800"/>
                <a:gd name="connsiteY355" fmla="*/ 664375 h 674850"/>
                <a:gd name="connsiteX356" fmla="*/ 1952964 w 2744800"/>
                <a:gd name="connsiteY356" fmla="*/ 629454 h 674850"/>
                <a:gd name="connsiteX357" fmla="*/ 1938996 w 2744800"/>
                <a:gd name="connsiteY357" fmla="*/ 598024 h 674850"/>
                <a:gd name="connsiteX358" fmla="*/ 1908440 w 2744800"/>
                <a:gd name="connsiteY358" fmla="*/ 587548 h 674850"/>
                <a:gd name="connsiteX359" fmla="*/ 1891852 w 2744800"/>
                <a:gd name="connsiteY359" fmla="*/ 587548 h 674850"/>
                <a:gd name="connsiteX360" fmla="*/ 1901455 w 2744800"/>
                <a:gd name="connsiteY360" fmla="*/ 661756 h 674850"/>
                <a:gd name="connsiteX361" fmla="*/ 1901455 w 2744800"/>
                <a:gd name="connsiteY361" fmla="*/ 596278 h 674850"/>
                <a:gd name="connsiteX362" fmla="*/ 1909313 w 2744800"/>
                <a:gd name="connsiteY362" fmla="*/ 596278 h 674850"/>
                <a:gd name="connsiteX363" fmla="*/ 1931138 w 2744800"/>
                <a:gd name="connsiteY363" fmla="*/ 602390 h 674850"/>
                <a:gd name="connsiteX364" fmla="*/ 1945107 w 2744800"/>
                <a:gd name="connsiteY364" fmla="*/ 629454 h 674850"/>
                <a:gd name="connsiteX365" fmla="*/ 1910186 w 2744800"/>
                <a:gd name="connsiteY365" fmla="*/ 662629 h 674850"/>
                <a:gd name="connsiteX366" fmla="*/ 1901455 w 2744800"/>
                <a:gd name="connsiteY366" fmla="*/ 662629 h 674850"/>
                <a:gd name="connsiteX367" fmla="*/ 2044632 w 2744800"/>
                <a:gd name="connsiteY367" fmla="*/ 587548 h 674850"/>
                <a:gd name="connsiteX368" fmla="*/ 2044632 w 2744800"/>
                <a:gd name="connsiteY368" fmla="*/ 670486 h 674850"/>
                <a:gd name="connsiteX369" fmla="*/ 2064712 w 2744800"/>
                <a:gd name="connsiteY369" fmla="*/ 670486 h 674850"/>
                <a:gd name="connsiteX370" fmla="*/ 2093522 w 2744800"/>
                <a:gd name="connsiteY370" fmla="*/ 647787 h 674850"/>
                <a:gd name="connsiteX371" fmla="*/ 2077807 w 2744800"/>
                <a:gd name="connsiteY371" fmla="*/ 626834 h 674850"/>
                <a:gd name="connsiteX372" fmla="*/ 2085664 w 2744800"/>
                <a:gd name="connsiteY372" fmla="*/ 610247 h 674850"/>
                <a:gd name="connsiteX373" fmla="*/ 2058600 w 2744800"/>
                <a:gd name="connsiteY373" fmla="*/ 587548 h 674850"/>
                <a:gd name="connsiteX374" fmla="*/ 2044632 w 2744800"/>
                <a:gd name="connsiteY374" fmla="*/ 587548 h 674850"/>
                <a:gd name="connsiteX375" fmla="*/ 2054235 w 2744800"/>
                <a:gd name="connsiteY375" fmla="*/ 596278 h 674850"/>
                <a:gd name="connsiteX376" fmla="*/ 2058600 w 2744800"/>
                <a:gd name="connsiteY376" fmla="*/ 596278 h 674850"/>
                <a:gd name="connsiteX377" fmla="*/ 2076934 w 2744800"/>
                <a:gd name="connsiteY377" fmla="*/ 610247 h 674850"/>
                <a:gd name="connsiteX378" fmla="*/ 2062092 w 2744800"/>
                <a:gd name="connsiteY378" fmla="*/ 624215 h 674850"/>
                <a:gd name="connsiteX379" fmla="*/ 2054235 w 2744800"/>
                <a:gd name="connsiteY379" fmla="*/ 624215 h 674850"/>
                <a:gd name="connsiteX380" fmla="*/ 2054235 w 2744800"/>
                <a:gd name="connsiteY380" fmla="*/ 596278 h 674850"/>
                <a:gd name="connsiteX381" fmla="*/ 2054235 w 2744800"/>
                <a:gd name="connsiteY381" fmla="*/ 661756 h 674850"/>
                <a:gd name="connsiteX382" fmla="*/ 2054235 w 2744800"/>
                <a:gd name="connsiteY382" fmla="*/ 632073 h 674850"/>
                <a:gd name="connsiteX383" fmla="*/ 2062966 w 2744800"/>
                <a:gd name="connsiteY383" fmla="*/ 632073 h 674850"/>
                <a:gd name="connsiteX384" fmla="*/ 2084791 w 2744800"/>
                <a:gd name="connsiteY384" fmla="*/ 646914 h 674850"/>
                <a:gd name="connsiteX385" fmla="*/ 2063838 w 2744800"/>
                <a:gd name="connsiteY385" fmla="*/ 661756 h 674850"/>
                <a:gd name="connsiteX386" fmla="*/ 2054235 w 2744800"/>
                <a:gd name="connsiteY386" fmla="*/ 661756 h 674850"/>
                <a:gd name="connsiteX387" fmla="*/ 2129316 w 2744800"/>
                <a:gd name="connsiteY387" fmla="*/ 587548 h 674850"/>
                <a:gd name="connsiteX388" fmla="*/ 2129316 w 2744800"/>
                <a:gd name="connsiteY388" fmla="*/ 670486 h 674850"/>
                <a:gd name="connsiteX389" fmla="*/ 2172094 w 2744800"/>
                <a:gd name="connsiteY389" fmla="*/ 670486 h 674850"/>
                <a:gd name="connsiteX390" fmla="*/ 2172094 w 2744800"/>
                <a:gd name="connsiteY390" fmla="*/ 661756 h 674850"/>
                <a:gd name="connsiteX391" fmla="*/ 2138919 w 2744800"/>
                <a:gd name="connsiteY391" fmla="*/ 661756 h 674850"/>
                <a:gd name="connsiteX392" fmla="*/ 2138919 w 2744800"/>
                <a:gd name="connsiteY392" fmla="*/ 629454 h 674850"/>
                <a:gd name="connsiteX393" fmla="*/ 2172094 w 2744800"/>
                <a:gd name="connsiteY393" fmla="*/ 629454 h 674850"/>
                <a:gd name="connsiteX394" fmla="*/ 2172094 w 2744800"/>
                <a:gd name="connsiteY394" fmla="*/ 620723 h 674850"/>
                <a:gd name="connsiteX395" fmla="*/ 2138919 w 2744800"/>
                <a:gd name="connsiteY395" fmla="*/ 620723 h 674850"/>
                <a:gd name="connsiteX396" fmla="*/ 2138919 w 2744800"/>
                <a:gd name="connsiteY396" fmla="*/ 596278 h 674850"/>
                <a:gd name="connsiteX397" fmla="*/ 2172967 w 2744800"/>
                <a:gd name="connsiteY397" fmla="*/ 596278 h 674850"/>
                <a:gd name="connsiteX398" fmla="*/ 2172967 w 2744800"/>
                <a:gd name="connsiteY398" fmla="*/ 587548 h 674850"/>
                <a:gd name="connsiteX399" fmla="*/ 2129316 w 2744800"/>
                <a:gd name="connsiteY399" fmla="*/ 587548 h 674850"/>
                <a:gd name="connsiteX400" fmla="*/ 2210507 w 2744800"/>
                <a:gd name="connsiteY400" fmla="*/ 587548 h 674850"/>
                <a:gd name="connsiteX401" fmla="*/ 2210507 w 2744800"/>
                <a:gd name="connsiteY401" fmla="*/ 670486 h 674850"/>
                <a:gd name="connsiteX402" fmla="*/ 2220111 w 2744800"/>
                <a:gd name="connsiteY402" fmla="*/ 670486 h 674850"/>
                <a:gd name="connsiteX403" fmla="*/ 2220111 w 2744800"/>
                <a:gd name="connsiteY403" fmla="*/ 633819 h 674850"/>
                <a:gd name="connsiteX404" fmla="*/ 2222730 w 2744800"/>
                <a:gd name="connsiteY404" fmla="*/ 633819 h 674850"/>
                <a:gd name="connsiteX405" fmla="*/ 2248048 w 2744800"/>
                <a:gd name="connsiteY405" fmla="*/ 670486 h 674850"/>
                <a:gd name="connsiteX406" fmla="*/ 2259397 w 2744800"/>
                <a:gd name="connsiteY406" fmla="*/ 670486 h 674850"/>
                <a:gd name="connsiteX407" fmla="*/ 2233206 w 2744800"/>
                <a:gd name="connsiteY407" fmla="*/ 632946 h 674850"/>
                <a:gd name="connsiteX408" fmla="*/ 2254159 w 2744800"/>
                <a:gd name="connsiteY408" fmla="*/ 610247 h 674850"/>
                <a:gd name="connsiteX409" fmla="*/ 2224476 w 2744800"/>
                <a:gd name="connsiteY409" fmla="*/ 587548 h 674850"/>
                <a:gd name="connsiteX410" fmla="*/ 2210507 w 2744800"/>
                <a:gd name="connsiteY410" fmla="*/ 587548 h 674850"/>
                <a:gd name="connsiteX411" fmla="*/ 2220111 w 2744800"/>
                <a:gd name="connsiteY411" fmla="*/ 596278 h 674850"/>
                <a:gd name="connsiteX412" fmla="*/ 2225349 w 2744800"/>
                <a:gd name="connsiteY412" fmla="*/ 596278 h 674850"/>
                <a:gd name="connsiteX413" fmla="*/ 2244555 w 2744800"/>
                <a:gd name="connsiteY413" fmla="*/ 611120 h 674850"/>
                <a:gd name="connsiteX414" fmla="*/ 2224476 w 2744800"/>
                <a:gd name="connsiteY414" fmla="*/ 625961 h 674850"/>
                <a:gd name="connsiteX415" fmla="*/ 2220111 w 2744800"/>
                <a:gd name="connsiteY415" fmla="*/ 625961 h 674850"/>
                <a:gd name="connsiteX416" fmla="*/ 2220111 w 2744800"/>
                <a:gd name="connsiteY416" fmla="*/ 596278 h 674850"/>
                <a:gd name="connsiteX417" fmla="*/ 2284715 w 2744800"/>
                <a:gd name="connsiteY417" fmla="*/ 670486 h 674850"/>
                <a:gd name="connsiteX418" fmla="*/ 2295191 w 2744800"/>
                <a:gd name="connsiteY418" fmla="*/ 670486 h 674850"/>
                <a:gd name="connsiteX419" fmla="*/ 2304794 w 2744800"/>
                <a:gd name="connsiteY419" fmla="*/ 646914 h 674850"/>
                <a:gd name="connsiteX420" fmla="*/ 2340589 w 2744800"/>
                <a:gd name="connsiteY420" fmla="*/ 646914 h 674850"/>
                <a:gd name="connsiteX421" fmla="*/ 2350192 w 2744800"/>
                <a:gd name="connsiteY421" fmla="*/ 670486 h 674850"/>
                <a:gd name="connsiteX422" fmla="*/ 2360668 w 2744800"/>
                <a:gd name="connsiteY422" fmla="*/ 670486 h 674850"/>
                <a:gd name="connsiteX423" fmla="*/ 2323128 w 2744800"/>
                <a:gd name="connsiteY423" fmla="*/ 583183 h 674850"/>
                <a:gd name="connsiteX424" fmla="*/ 2284715 w 2744800"/>
                <a:gd name="connsiteY424" fmla="*/ 670486 h 674850"/>
                <a:gd name="connsiteX425" fmla="*/ 2322255 w 2744800"/>
                <a:gd name="connsiteY425" fmla="*/ 605009 h 674850"/>
                <a:gd name="connsiteX426" fmla="*/ 2336223 w 2744800"/>
                <a:gd name="connsiteY426" fmla="*/ 638184 h 674850"/>
                <a:gd name="connsiteX427" fmla="*/ 2308286 w 2744800"/>
                <a:gd name="connsiteY427" fmla="*/ 638184 h 674850"/>
                <a:gd name="connsiteX428" fmla="*/ 2322255 w 2744800"/>
                <a:gd name="connsiteY428" fmla="*/ 605009 h 674850"/>
                <a:gd name="connsiteX429" fmla="*/ 2375510 w 2744800"/>
                <a:gd name="connsiteY429" fmla="*/ 587548 h 674850"/>
                <a:gd name="connsiteX430" fmla="*/ 2375510 w 2744800"/>
                <a:gd name="connsiteY430" fmla="*/ 596278 h 674850"/>
                <a:gd name="connsiteX431" fmla="*/ 2395589 w 2744800"/>
                <a:gd name="connsiteY431" fmla="*/ 596278 h 674850"/>
                <a:gd name="connsiteX432" fmla="*/ 2395589 w 2744800"/>
                <a:gd name="connsiteY432" fmla="*/ 670486 h 674850"/>
                <a:gd name="connsiteX433" fmla="*/ 2405193 w 2744800"/>
                <a:gd name="connsiteY433" fmla="*/ 670486 h 674850"/>
                <a:gd name="connsiteX434" fmla="*/ 2405193 w 2744800"/>
                <a:gd name="connsiteY434" fmla="*/ 596278 h 674850"/>
                <a:gd name="connsiteX435" fmla="*/ 2425272 w 2744800"/>
                <a:gd name="connsiteY435" fmla="*/ 596278 h 674850"/>
                <a:gd name="connsiteX436" fmla="*/ 2425272 w 2744800"/>
                <a:gd name="connsiteY436" fmla="*/ 587548 h 674850"/>
                <a:gd name="connsiteX437" fmla="*/ 2375510 w 2744800"/>
                <a:gd name="connsiteY437" fmla="*/ 587548 h 674850"/>
                <a:gd name="connsiteX438" fmla="*/ 2455828 w 2744800"/>
                <a:gd name="connsiteY438" fmla="*/ 587548 h 674850"/>
                <a:gd name="connsiteX439" fmla="*/ 2455828 w 2744800"/>
                <a:gd name="connsiteY439" fmla="*/ 639930 h 674850"/>
                <a:gd name="connsiteX440" fmla="*/ 2464558 w 2744800"/>
                <a:gd name="connsiteY440" fmla="*/ 663502 h 674850"/>
                <a:gd name="connsiteX441" fmla="*/ 2485511 w 2744800"/>
                <a:gd name="connsiteY441" fmla="*/ 671359 h 674850"/>
                <a:gd name="connsiteX442" fmla="*/ 2511702 w 2744800"/>
                <a:gd name="connsiteY442" fmla="*/ 657390 h 674850"/>
                <a:gd name="connsiteX443" fmla="*/ 2515194 w 2744800"/>
                <a:gd name="connsiteY443" fmla="*/ 639930 h 674850"/>
                <a:gd name="connsiteX444" fmla="*/ 2515194 w 2744800"/>
                <a:gd name="connsiteY444" fmla="*/ 587548 h 674850"/>
                <a:gd name="connsiteX445" fmla="*/ 2505591 w 2744800"/>
                <a:gd name="connsiteY445" fmla="*/ 587548 h 674850"/>
                <a:gd name="connsiteX446" fmla="*/ 2505591 w 2744800"/>
                <a:gd name="connsiteY446" fmla="*/ 638184 h 674850"/>
                <a:gd name="connsiteX447" fmla="*/ 2503845 w 2744800"/>
                <a:gd name="connsiteY447" fmla="*/ 652152 h 674850"/>
                <a:gd name="connsiteX448" fmla="*/ 2485511 w 2744800"/>
                <a:gd name="connsiteY448" fmla="*/ 663502 h 674850"/>
                <a:gd name="connsiteX449" fmla="*/ 2474162 w 2744800"/>
                <a:gd name="connsiteY449" fmla="*/ 660010 h 674850"/>
                <a:gd name="connsiteX450" fmla="*/ 2465431 w 2744800"/>
                <a:gd name="connsiteY450" fmla="*/ 639057 h 674850"/>
                <a:gd name="connsiteX451" fmla="*/ 2465431 w 2744800"/>
                <a:gd name="connsiteY451" fmla="*/ 587548 h 674850"/>
                <a:gd name="connsiteX452" fmla="*/ 2455828 w 2744800"/>
                <a:gd name="connsiteY452" fmla="*/ 587548 h 674850"/>
                <a:gd name="connsiteX453" fmla="*/ 2554480 w 2744800"/>
                <a:gd name="connsiteY453" fmla="*/ 670486 h 674850"/>
                <a:gd name="connsiteX454" fmla="*/ 2564084 w 2744800"/>
                <a:gd name="connsiteY454" fmla="*/ 670486 h 674850"/>
                <a:gd name="connsiteX455" fmla="*/ 2564084 w 2744800"/>
                <a:gd name="connsiteY455" fmla="*/ 606755 h 674850"/>
                <a:gd name="connsiteX456" fmla="*/ 2628688 w 2744800"/>
                <a:gd name="connsiteY456" fmla="*/ 674851 h 674850"/>
                <a:gd name="connsiteX457" fmla="*/ 2628688 w 2744800"/>
                <a:gd name="connsiteY457" fmla="*/ 587548 h 674850"/>
                <a:gd name="connsiteX458" fmla="*/ 2619085 w 2744800"/>
                <a:gd name="connsiteY458" fmla="*/ 587548 h 674850"/>
                <a:gd name="connsiteX459" fmla="*/ 2619085 w 2744800"/>
                <a:gd name="connsiteY459" fmla="*/ 652152 h 674850"/>
                <a:gd name="connsiteX460" fmla="*/ 2554480 w 2744800"/>
                <a:gd name="connsiteY460" fmla="*/ 584056 h 674850"/>
                <a:gd name="connsiteX461" fmla="*/ 2554480 w 2744800"/>
                <a:gd name="connsiteY461" fmla="*/ 670486 h 674850"/>
                <a:gd name="connsiteX462" fmla="*/ 2741308 w 2744800"/>
                <a:gd name="connsiteY462" fmla="*/ 604136 h 674850"/>
                <a:gd name="connsiteX463" fmla="*/ 2706387 w 2744800"/>
                <a:gd name="connsiteY463" fmla="*/ 585802 h 674850"/>
                <a:gd name="connsiteX464" fmla="*/ 2662736 w 2744800"/>
                <a:gd name="connsiteY464" fmla="*/ 628580 h 674850"/>
                <a:gd name="connsiteX465" fmla="*/ 2705514 w 2744800"/>
                <a:gd name="connsiteY465" fmla="*/ 671359 h 674850"/>
                <a:gd name="connsiteX466" fmla="*/ 2734324 w 2744800"/>
                <a:gd name="connsiteY466" fmla="*/ 659136 h 674850"/>
                <a:gd name="connsiteX467" fmla="*/ 2744800 w 2744800"/>
                <a:gd name="connsiteY467" fmla="*/ 632946 h 674850"/>
                <a:gd name="connsiteX468" fmla="*/ 2744800 w 2744800"/>
                <a:gd name="connsiteY468" fmla="*/ 628580 h 674850"/>
                <a:gd name="connsiteX469" fmla="*/ 2709879 w 2744800"/>
                <a:gd name="connsiteY469" fmla="*/ 628580 h 674850"/>
                <a:gd name="connsiteX470" fmla="*/ 2709879 w 2744800"/>
                <a:gd name="connsiteY470" fmla="*/ 637311 h 674850"/>
                <a:gd name="connsiteX471" fmla="*/ 2734324 w 2744800"/>
                <a:gd name="connsiteY471" fmla="*/ 637311 h 674850"/>
                <a:gd name="connsiteX472" fmla="*/ 2704641 w 2744800"/>
                <a:gd name="connsiteY472" fmla="*/ 663502 h 674850"/>
                <a:gd name="connsiteX473" fmla="*/ 2671466 w 2744800"/>
                <a:gd name="connsiteY473" fmla="*/ 629454 h 674850"/>
                <a:gd name="connsiteX474" fmla="*/ 2705514 w 2744800"/>
                <a:gd name="connsiteY474" fmla="*/ 594532 h 674850"/>
                <a:gd name="connsiteX475" fmla="*/ 2734324 w 2744800"/>
                <a:gd name="connsiteY475" fmla="*/ 610247 h 674850"/>
                <a:gd name="connsiteX476" fmla="*/ 2741308 w 2744800"/>
                <a:gd name="connsiteY476" fmla="*/ 604136 h 67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Lst>
              <a:rect l="l" t="t" r="r" b="b"/>
              <a:pathLst>
                <a:path w="2744800" h="674850">
                  <a:moveTo>
                    <a:pt x="379767" y="79446"/>
                  </a:moveTo>
                  <a:lnTo>
                    <a:pt x="327386" y="129208"/>
                  </a:lnTo>
                  <a:cubicBezTo>
                    <a:pt x="291591" y="91668"/>
                    <a:pt x="252305" y="73334"/>
                    <a:pt x="207781" y="73334"/>
                  </a:cubicBezTo>
                  <a:cubicBezTo>
                    <a:pt x="170240" y="73334"/>
                    <a:pt x="138811" y="86430"/>
                    <a:pt x="112621" y="111748"/>
                  </a:cubicBezTo>
                  <a:cubicBezTo>
                    <a:pt x="87303" y="137065"/>
                    <a:pt x="74207" y="168494"/>
                    <a:pt x="74207" y="206035"/>
                  </a:cubicBezTo>
                  <a:cubicBezTo>
                    <a:pt x="74207" y="232226"/>
                    <a:pt x="80319" y="254924"/>
                    <a:pt x="91668" y="275877"/>
                  </a:cubicBezTo>
                  <a:cubicBezTo>
                    <a:pt x="103017" y="295957"/>
                    <a:pt x="118732" y="311671"/>
                    <a:pt x="139685" y="323894"/>
                  </a:cubicBezTo>
                  <a:cubicBezTo>
                    <a:pt x="160637" y="335243"/>
                    <a:pt x="183336" y="341354"/>
                    <a:pt x="208654" y="341354"/>
                  </a:cubicBezTo>
                  <a:cubicBezTo>
                    <a:pt x="230479" y="341354"/>
                    <a:pt x="249686" y="336989"/>
                    <a:pt x="268020" y="329132"/>
                  </a:cubicBezTo>
                  <a:cubicBezTo>
                    <a:pt x="286353" y="321274"/>
                    <a:pt x="305560" y="306433"/>
                    <a:pt x="327386" y="284607"/>
                  </a:cubicBezTo>
                  <a:lnTo>
                    <a:pt x="378021" y="336989"/>
                  </a:lnTo>
                  <a:cubicBezTo>
                    <a:pt x="349211" y="364926"/>
                    <a:pt x="322147" y="385006"/>
                    <a:pt x="295957" y="395482"/>
                  </a:cubicBezTo>
                  <a:cubicBezTo>
                    <a:pt x="270639" y="405958"/>
                    <a:pt x="240956" y="412069"/>
                    <a:pt x="207781" y="412069"/>
                  </a:cubicBezTo>
                  <a:cubicBezTo>
                    <a:pt x="146669" y="412069"/>
                    <a:pt x="96906" y="392863"/>
                    <a:pt x="58493" y="354450"/>
                  </a:cubicBezTo>
                  <a:cubicBezTo>
                    <a:pt x="19207" y="315163"/>
                    <a:pt x="0" y="266274"/>
                    <a:pt x="0" y="206035"/>
                  </a:cubicBezTo>
                  <a:cubicBezTo>
                    <a:pt x="0" y="166748"/>
                    <a:pt x="8730" y="132700"/>
                    <a:pt x="26191" y="102144"/>
                  </a:cubicBezTo>
                  <a:cubicBezTo>
                    <a:pt x="43651" y="71588"/>
                    <a:pt x="68969" y="47144"/>
                    <a:pt x="102144" y="28810"/>
                  </a:cubicBezTo>
                  <a:cubicBezTo>
                    <a:pt x="135319" y="10476"/>
                    <a:pt x="170240" y="873"/>
                    <a:pt x="208654" y="873"/>
                  </a:cubicBezTo>
                  <a:cubicBezTo>
                    <a:pt x="240956" y="873"/>
                    <a:pt x="272385" y="7857"/>
                    <a:pt x="302068" y="20953"/>
                  </a:cubicBezTo>
                  <a:cubicBezTo>
                    <a:pt x="331751" y="34921"/>
                    <a:pt x="357942" y="54128"/>
                    <a:pt x="379767" y="79446"/>
                  </a:cubicBezTo>
                  <a:close/>
                  <a:moveTo>
                    <a:pt x="895727" y="78573"/>
                  </a:moveTo>
                  <a:cubicBezTo>
                    <a:pt x="930648" y="78573"/>
                    <a:pt x="982157" y="82065"/>
                    <a:pt x="982157" y="129208"/>
                  </a:cubicBezTo>
                  <a:cubicBezTo>
                    <a:pt x="982157" y="171987"/>
                    <a:pt x="946363" y="181590"/>
                    <a:pt x="895727" y="181590"/>
                  </a:cubicBezTo>
                  <a:lnTo>
                    <a:pt x="895727" y="78573"/>
                  </a:lnTo>
                  <a:close/>
                  <a:moveTo>
                    <a:pt x="895727" y="249686"/>
                  </a:moveTo>
                  <a:lnTo>
                    <a:pt x="1003982" y="402466"/>
                  </a:lnTo>
                  <a:lnTo>
                    <a:pt x="1095650" y="402466"/>
                  </a:lnTo>
                  <a:lnTo>
                    <a:pt x="973426" y="238337"/>
                  </a:lnTo>
                  <a:cubicBezTo>
                    <a:pt x="1022316" y="223495"/>
                    <a:pt x="1053745" y="178971"/>
                    <a:pt x="1053745" y="127462"/>
                  </a:cubicBezTo>
                  <a:cubicBezTo>
                    <a:pt x="1053745" y="88176"/>
                    <a:pt x="1033665" y="48890"/>
                    <a:pt x="996998" y="28810"/>
                  </a:cubicBezTo>
                  <a:cubicBezTo>
                    <a:pt x="963823" y="10476"/>
                    <a:pt x="923664" y="10476"/>
                    <a:pt x="890489" y="10476"/>
                  </a:cubicBezTo>
                  <a:lnTo>
                    <a:pt x="819773" y="10476"/>
                  </a:lnTo>
                  <a:lnTo>
                    <a:pt x="819773" y="401593"/>
                  </a:lnTo>
                  <a:lnTo>
                    <a:pt x="895727" y="401593"/>
                  </a:lnTo>
                  <a:lnTo>
                    <a:pt x="895727" y="249686"/>
                  </a:lnTo>
                  <a:close/>
                  <a:moveTo>
                    <a:pt x="433022" y="254051"/>
                  </a:moveTo>
                  <a:cubicBezTo>
                    <a:pt x="433022" y="340481"/>
                    <a:pt x="489769" y="412069"/>
                    <a:pt x="584929" y="412069"/>
                  </a:cubicBezTo>
                  <a:cubicBezTo>
                    <a:pt x="680089" y="412069"/>
                    <a:pt x="736836" y="340481"/>
                    <a:pt x="736836" y="254051"/>
                  </a:cubicBezTo>
                  <a:lnTo>
                    <a:pt x="736836" y="10476"/>
                  </a:lnTo>
                  <a:lnTo>
                    <a:pt x="661755" y="10476"/>
                  </a:lnTo>
                  <a:lnTo>
                    <a:pt x="661755" y="238337"/>
                  </a:lnTo>
                  <a:cubicBezTo>
                    <a:pt x="661755" y="295957"/>
                    <a:pt x="644295" y="340481"/>
                    <a:pt x="584929" y="340481"/>
                  </a:cubicBezTo>
                  <a:cubicBezTo>
                    <a:pt x="524690" y="340481"/>
                    <a:pt x="508102" y="295957"/>
                    <a:pt x="508102" y="238337"/>
                  </a:cubicBezTo>
                  <a:lnTo>
                    <a:pt x="508102" y="10476"/>
                  </a:lnTo>
                  <a:lnTo>
                    <a:pt x="433022" y="10476"/>
                  </a:lnTo>
                  <a:lnTo>
                    <a:pt x="433022" y="254051"/>
                  </a:lnTo>
                  <a:close/>
                  <a:moveTo>
                    <a:pt x="1273748" y="10476"/>
                  </a:moveTo>
                  <a:lnTo>
                    <a:pt x="1122714" y="402466"/>
                  </a:lnTo>
                  <a:lnTo>
                    <a:pt x="1200414" y="402466"/>
                  </a:lnTo>
                  <a:lnTo>
                    <a:pt x="1232716" y="322147"/>
                  </a:lnTo>
                  <a:lnTo>
                    <a:pt x="1392480" y="322147"/>
                  </a:lnTo>
                  <a:lnTo>
                    <a:pt x="1423036" y="402466"/>
                  </a:lnTo>
                  <a:lnTo>
                    <a:pt x="1500735" y="402466"/>
                  </a:lnTo>
                  <a:lnTo>
                    <a:pt x="1349702" y="10476"/>
                  </a:lnTo>
                  <a:lnTo>
                    <a:pt x="1273748" y="10476"/>
                  </a:lnTo>
                  <a:close/>
                  <a:moveTo>
                    <a:pt x="1312161" y="114367"/>
                  </a:moveTo>
                  <a:lnTo>
                    <a:pt x="1363670" y="248813"/>
                  </a:lnTo>
                  <a:lnTo>
                    <a:pt x="1259780" y="248813"/>
                  </a:lnTo>
                  <a:lnTo>
                    <a:pt x="1312161" y="114367"/>
                  </a:lnTo>
                  <a:close/>
                  <a:moveTo>
                    <a:pt x="2426145" y="10476"/>
                  </a:moveTo>
                  <a:lnTo>
                    <a:pt x="2426145" y="403339"/>
                  </a:lnTo>
                  <a:lnTo>
                    <a:pt x="2501226" y="403339"/>
                  </a:lnTo>
                  <a:lnTo>
                    <a:pt x="2501226" y="145796"/>
                  </a:lnTo>
                  <a:lnTo>
                    <a:pt x="2669720" y="403339"/>
                  </a:lnTo>
                  <a:lnTo>
                    <a:pt x="2741308" y="403339"/>
                  </a:lnTo>
                  <a:lnTo>
                    <a:pt x="2741308" y="10476"/>
                  </a:lnTo>
                  <a:lnTo>
                    <a:pt x="2666228" y="10476"/>
                  </a:lnTo>
                  <a:lnTo>
                    <a:pt x="2666228" y="268893"/>
                  </a:lnTo>
                  <a:lnTo>
                    <a:pt x="2497734" y="10476"/>
                  </a:lnTo>
                  <a:lnTo>
                    <a:pt x="2426145" y="10476"/>
                  </a:lnTo>
                  <a:close/>
                  <a:moveTo>
                    <a:pt x="1890979" y="79446"/>
                  </a:moveTo>
                  <a:cubicBezTo>
                    <a:pt x="1869153" y="54128"/>
                    <a:pt x="1842962" y="34921"/>
                    <a:pt x="1813279" y="20953"/>
                  </a:cubicBezTo>
                  <a:cubicBezTo>
                    <a:pt x="1783597" y="6984"/>
                    <a:pt x="1752167" y="0"/>
                    <a:pt x="1719865" y="0"/>
                  </a:cubicBezTo>
                  <a:cubicBezTo>
                    <a:pt x="1681452" y="0"/>
                    <a:pt x="1646531" y="9603"/>
                    <a:pt x="1613356" y="27937"/>
                  </a:cubicBezTo>
                  <a:cubicBezTo>
                    <a:pt x="1580181" y="46271"/>
                    <a:pt x="1554863" y="70715"/>
                    <a:pt x="1537403" y="101271"/>
                  </a:cubicBezTo>
                  <a:cubicBezTo>
                    <a:pt x="1519942" y="131827"/>
                    <a:pt x="1511212" y="166748"/>
                    <a:pt x="1511212" y="206035"/>
                  </a:cubicBezTo>
                  <a:cubicBezTo>
                    <a:pt x="1511212" y="266274"/>
                    <a:pt x="1530418" y="316036"/>
                    <a:pt x="1569705" y="355323"/>
                  </a:cubicBezTo>
                  <a:cubicBezTo>
                    <a:pt x="1608991" y="393736"/>
                    <a:pt x="1658754" y="412942"/>
                    <a:pt x="1719865" y="412942"/>
                  </a:cubicBezTo>
                  <a:cubicBezTo>
                    <a:pt x="1753041" y="412942"/>
                    <a:pt x="1782723" y="407704"/>
                    <a:pt x="1808041" y="396355"/>
                  </a:cubicBezTo>
                  <a:cubicBezTo>
                    <a:pt x="1834232" y="385006"/>
                    <a:pt x="1861296" y="365799"/>
                    <a:pt x="1890106" y="336989"/>
                  </a:cubicBezTo>
                  <a:lnTo>
                    <a:pt x="1839470" y="283734"/>
                  </a:lnTo>
                  <a:cubicBezTo>
                    <a:pt x="1817645" y="304687"/>
                    <a:pt x="1798438" y="319528"/>
                    <a:pt x="1780104" y="328259"/>
                  </a:cubicBezTo>
                  <a:cubicBezTo>
                    <a:pt x="1761771" y="336116"/>
                    <a:pt x="1742564" y="340481"/>
                    <a:pt x="1720739" y="340481"/>
                  </a:cubicBezTo>
                  <a:cubicBezTo>
                    <a:pt x="1695421" y="340481"/>
                    <a:pt x="1671849" y="334370"/>
                    <a:pt x="1650896" y="323021"/>
                  </a:cubicBezTo>
                  <a:cubicBezTo>
                    <a:pt x="1629944" y="311671"/>
                    <a:pt x="1614229" y="295084"/>
                    <a:pt x="1602880" y="275004"/>
                  </a:cubicBezTo>
                  <a:cubicBezTo>
                    <a:pt x="1591530" y="254924"/>
                    <a:pt x="1585419" y="231353"/>
                    <a:pt x="1585419" y="205162"/>
                  </a:cubicBezTo>
                  <a:cubicBezTo>
                    <a:pt x="1585419" y="167621"/>
                    <a:pt x="1598515" y="136192"/>
                    <a:pt x="1623832" y="110002"/>
                  </a:cubicBezTo>
                  <a:cubicBezTo>
                    <a:pt x="1650023" y="84684"/>
                    <a:pt x="1681452" y="71588"/>
                    <a:pt x="1718992" y="71588"/>
                  </a:cubicBezTo>
                  <a:cubicBezTo>
                    <a:pt x="1763517" y="71588"/>
                    <a:pt x="1803676" y="90795"/>
                    <a:pt x="1839470" y="128335"/>
                  </a:cubicBezTo>
                  <a:lnTo>
                    <a:pt x="1890979" y="79446"/>
                  </a:lnTo>
                  <a:close/>
                  <a:moveTo>
                    <a:pt x="33175" y="649533"/>
                  </a:moveTo>
                  <a:lnTo>
                    <a:pt x="11349" y="587548"/>
                  </a:lnTo>
                  <a:lnTo>
                    <a:pt x="1746" y="587548"/>
                  </a:lnTo>
                  <a:lnTo>
                    <a:pt x="33175" y="674851"/>
                  </a:lnTo>
                  <a:lnTo>
                    <a:pt x="60239" y="607628"/>
                  </a:lnTo>
                  <a:lnTo>
                    <a:pt x="87303" y="674851"/>
                  </a:lnTo>
                  <a:lnTo>
                    <a:pt x="118732" y="587548"/>
                  </a:lnTo>
                  <a:lnTo>
                    <a:pt x="109129" y="587548"/>
                  </a:lnTo>
                  <a:lnTo>
                    <a:pt x="87303" y="649533"/>
                  </a:lnTo>
                  <a:lnTo>
                    <a:pt x="60239" y="583183"/>
                  </a:lnTo>
                  <a:lnTo>
                    <a:pt x="33175" y="649533"/>
                  </a:lnTo>
                  <a:close/>
                  <a:moveTo>
                    <a:pt x="151034" y="587548"/>
                  </a:moveTo>
                  <a:lnTo>
                    <a:pt x="151034" y="670486"/>
                  </a:lnTo>
                  <a:lnTo>
                    <a:pt x="160637" y="670486"/>
                  </a:lnTo>
                  <a:lnTo>
                    <a:pt x="160637" y="587548"/>
                  </a:lnTo>
                  <a:lnTo>
                    <a:pt x="151034" y="587548"/>
                  </a:lnTo>
                  <a:close/>
                  <a:moveTo>
                    <a:pt x="199050" y="587548"/>
                  </a:moveTo>
                  <a:lnTo>
                    <a:pt x="199050" y="670486"/>
                  </a:lnTo>
                  <a:lnTo>
                    <a:pt x="208654" y="670486"/>
                  </a:lnTo>
                  <a:lnTo>
                    <a:pt x="208654" y="633819"/>
                  </a:lnTo>
                  <a:lnTo>
                    <a:pt x="211273" y="633819"/>
                  </a:lnTo>
                  <a:lnTo>
                    <a:pt x="236591" y="670486"/>
                  </a:lnTo>
                  <a:lnTo>
                    <a:pt x="247940" y="670486"/>
                  </a:lnTo>
                  <a:lnTo>
                    <a:pt x="221749" y="632946"/>
                  </a:lnTo>
                  <a:cubicBezTo>
                    <a:pt x="234845" y="632073"/>
                    <a:pt x="242702" y="622469"/>
                    <a:pt x="242702" y="610247"/>
                  </a:cubicBezTo>
                  <a:cubicBezTo>
                    <a:pt x="242702" y="594532"/>
                    <a:pt x="233099" y="587548"/>
                    <a:pt x="213019" y="587548"/>
                  </a:cubicBezTo>
                  <a:lnTo>
                    <a:pt x="199050" y="587548"/>
                  </a:lnTo>
                  <a:close/>
                  <a:moveTo>
                    <a:pt x="208654" y="596278"/>
                  </a:moveTo>
                  <a:lnTo>
                    <a:pt x="213892" y="596278"/>
                  </a:lnTo>
                  <a:cubicBezTo>
                    <a:pt x="230479" y="596278"/>
                    <a:pt x="233099" y="603263"/>
                    <a:pt x="233099" y="611120"/>
                  </a:cubicBezTo>
                  <a:cubicBezTo>
                    <a:pt x="233099" y="621596"/>
                    <a:pt x="225241" y="625961"/>
                    <a:pt x="213019" y="625961"/>
                  </a:cubicBezTo>
                  <a:lnTo>
                    <a:pt x="208654" y="625961"/>
                  </a:lnTo>
                  <a:lnTo>
                    <a:pt x="208654" y="596278"/>
                  </a:lnTo>
                  <a:close/>
                  <a:moveTo>
                    <a:pt x="271512" y="587548"/>
                  </a:moveTo>
                  <a:lnTo>
                    <a:pt x="271512" y="596278"/>
                  </a:lnTo>
                  <a:lnTo>
                    <a:pt x="291591" y="596278"/>
                  </a:lnTo>
                  <a:lnTo>
                    <a:pt x="291591" y="670486"/>
                  </a:lnTo>
                  <a:lnTo>
                    <a:pt x="301195" y="670486"/>
                  </a:lnTo>
                  <a:lnTo>
                    <a:pt x="301195" y="596278"/>
                  </a:lnTo>
                  <a:lnTo>
                    <a:pt x="321274" y="596278"/>
                  </a:lnTo>
                  <a:lnTo>
                    <a:pt x="321274" y="587548"/>
                  </a:lnTo>
                  <a:lnTo>
                    <a:pt x="271512" y="587548"/>
                  </a:lnTo>
                  <a:close/>
                  <a:moveTo>
                    <a:pt x="397228" y="598898"/>
                  </a:moveTo>
                  <a:cubicBezTo>
                    <a:pt x="392863" y="591040"/>
                    <a:pt x="385005" y="585802"/>
                    <a:pt x="375402" y="585802"/>
                  </a:cubicBezTo>
                  <a:cubicBezTo>
                    <a:pt x="363180" y="585802"/>
                    <a:pt x="351830" y="594532"/>
                    <a:pt x="351830" y="606755"/>
                  </a:cubicBezTo>
                  <a:cubicBezTo>
                    <a:pt x="351830" y="615485"/>
                    <a:pt x="356195" y="622469"/>
                    <a:pt x="371037" y="628580"/>
                  </a:cubicBezTo>
                  <a:cubicBezTo>
                    <a:pt x="383259" y="633819"/>
                    <a:pt x="390244" y="637311"/>
                    <a:pt x="390244" y="646914"/>
                  </a:cubicBezTo>
                  <a:cubicBezTo>
                    <a:pt x="390244" y="655644"/>
                    <a:pt x="382386" y="663502"/>
                    <a:pt x="372783" y="663502"/>
                  </a:cubicBezTo>
                  <a:cubicBezTo>
                    <a:pt x="364053" y="663502"/>
                    <a:pt x="357942" y="657390"/>
                    <a:pt x="356195" y="647787"/>
                  </a:cubicBezTo>
                  <a:lnTo>
                    <a:pt x="347465" y="650406"/>
                  </a:lnTo>
                  <a:cubicBezTo>
                    <a:pt x="350084" y="663502"/>
                    <a:pt x="360561" y="672232"/>
                    <a:pt x="373656" y="672232"/>
                  </a:cubicBezTo>
                  <a:cubicBezTo>
                    <a:pt x="388498" y="672232"/>
                    <a:pt x="399847" y="660883"/>
                    <a:pt x="399847" y="646914"/>
                  </a:cubicBezTo>
                  <a:cubicBezTo>
                    <a:pt x="399847" y="634692"/>
                    <a:pt x="391990" y="628580"/>
                    <a:pt x="382386" y="625088"/>
                  </a:cubicBezTo>
                  <a:cubicBezTo>
                    <a:pt x="375402" y="621596"/>
                    <a:pt x="366672" y="618977"/>
                    <a:pt x="363180" y="614612"/>
                  </a:cubicBezTo>
                  <a:cubicBezTo>
                    <a:pt x="361434" y="612866"/>
                    <a:pt x="361434" y="610247"/>
                    <a:pt x="361434" y="608501"/>
                  </a:cubicBezTo>
                  <a:cubicBezTo>
                    <a:pt x="361434" y="600644"/>
                    <a:pt x="367545" y="595405"/>
                    <a:pt x="375402" y="595405"/>
                  </a:cubicBezTo>
                  <a:cubicBezTo>
                    <a:pt x="381513" y="595405"/>
                    <a:pt x="385878" y="598024"/>
                    <a:pt x="389371" y="604136"/>
                  </a:cubicBezTo>
                  <a:lnTo>
                    <a:pt x="397228" y="598898"/>
                  </a:lnTo>
                  <a:close/>
                  <a:moveTo>
                    <a:pt x="499372" y="594532"/>
                  </a:moveTo>
                  <a:cubicBezTo>
                    <a:pt x="495880" y="591913"/>
                    <a:pt x="487150" y="586675"/>
                    <a:pt x="474927" y="586675"/>
                  </a:cubicBezTo>
                  <a:cubicBezTo>
                    <a:pt x="451356" y="586675"/>
                    <a:pt x="431276" y="605882"/>
                    <a:pt x="431276" y="630327"/>
                  </a:cubicBezTo>
                  <a:cubicBezTo>
                    <a:pt x="431276" y="654771"/>
                    <a:pt x="452229" y="673105"/>
                    <a:pt x="474927" y="673105"/>
                  </a:cubicBezTo>
                  <a:cubicBezTo>
                    <a:pt x="483658" y="673105"/>
                    <a:pt x="492388" y="670486"/>
                    <a:pt x="499372" y="665248"/>
                  </a:cubicBezTo>
                  <a:lnTo>
                    <a:pt x="499372" y="653898"/>
                  </a:lnTo>
                  <a:cubicBezTo>
                    <a:pt x="492388" y="660883"/>
                    <a:pt x="482785" y="665248"/>
                    <a:pt x="474054" y="665248"/>
                  </a:cubicBezTo>
                  <a:cubicBezTo>
                    <a:pt x="455721" y="665248"/>
                    <a:pt x="440006" y="648660"/>
                    <a:pt x="440006" y="631200"/>
                  </a:cubicBezTo>
                  <a:cubicBezTo>
                    <a:pt x="440006" y="611993"/>
                    <a:pt x="455721" y="597151"/>
                    <a:pt x="473181" y="597151"/>
                  </a:cubicBezTo>
                  <a:cubicBezTo>
                    <a:pt x="482785" y="597151"/>
                    <a:pt x="491515" y="601517"/>
                    <a:pt x="498499" y="608501"/>
                  </a:cubicBezTo>
                  <a:lnTo>
                    <a:pt x="498499" y="594532"/>
                  </a:lnTo>
                  <a:close/>
                  <a:moveTo>
                    <a:pt x="537785" y="587548"/>
                  </a:moveTo>
                  <a:lnTo>
                    <a:pt x="537785" y="670486"/>
                  </a:lnTo>
                  <a:lnTo>
                    <a:pt x="547389" y="670486"/>
                  </a:lnTo>
                  <a:lnTo>
                    <a:pt x="547389" y="629454"/>
                  </a:lnTo>
                  <a:lnTo>
                    <a:pt x="590167" y="629454"/>
                  </a:lnTo>
                  <a:lnTo>
                    <a:pt x="590167" y="670486"/>
                  </a:lnTo>
                  <a:lnTo>
                    <a:pt x="599770" y="670486"/>
                  </a:lnTo>
                  <a:lnTo>
                    <a:pt x="599770" y="587548"/>
                  </a:lnTo>
                  <a:lnTo>
                    <a:pt x="590167" y="587548"/>
                  </a:lnTo>
                  <a:lnTo>
                    <a:pt x="590167" y="621596"/>
                  </a:lnTo>
                  <a:lnTo>
                    <a:pt x="547389" y="621596"/>
                  </a:lnTo>
                  <a:lnTo>
                    <a:pt x="547389" y="587548"/>
                  </a:lnTo>
                  <a:lnTo>
                    <a:pt x="537785" y="587548"/>
                  </a:lnTo>
                  <a:close/>
                  <a:moveTo>
                    <a:pt x="630326" y="670486"/>
                  </a:moveTo>
                  <a:lnTo>
                    <a:pt x="640803" y="670486"/>
                  </a:lnTo>
                  <a:lnTo>
                    <a:pt x="650406" y="646914"/>
                  </a:lnTo>
                  <a:lnTo>
                    <a:pt x="686200" y="646914"/>
                  </a:lnTo>
                  <a:lnTo>
                    <a:pt x="695803" y="670486"/>
                  </a:lnTo>
                  <a:lnTo>
                    <a:pt x="706280" y="670486"/>
                  </a:lnTo>
                  <a:lnTo>
                    <a:pt x="668740" y="583183"/>
                  </a:lnTo>
                  <a:lnTo>
                    <a:pt x="630326" y="670486"/>
                  </a:lnTo>
                  <a:close/>
                  <a:moveTo>
                    <a:pt x="668740" y="605009"/>
                  </a:moveTo>
                  <a:lnTo>
                    <a:pt x="682708" y="638184"/>
                  </a:lnTo>
                  <a:lnTo>
                    <a:pt x="654771" y="638184"/>
                  </a:lnTo>
                  <a:lnTo>
                    <a:pt x="668740" y="605009"/>
                  </a:lnTo>
                  <a:close/>
                  <a:moveTo>
                    <a:pt x="736836" y="587548"/>
                  </a:moveTo>
                  <a:lnTo>
                    <a:pt x="736836" y="670486"/>
                  </a:lnTo>
                  <a:lnTo>
                    <a:pt x="746439" y="670486"/>
                  </a:lnTo>
                  <a:lnTo>
                    <a:pt x="746439" y="629454"/>
                  </a:lnTo>
                  <a:lnTo>
                    <a:pt x="774376" y="629454"/>
                  </a:lnTo>
                  <a:lnTo>
                    <a:pt x="774376" y="620723"/>
                  </a:lnTo>
                  <a:lnTo>
                    <a:pt x="746439" y="620723"/>
                  </a:lnTo>
                  <a:lnTo>
                    <a:pt x="746439" y="596278"/>
                  </a:lnTo>
                  <a:lnTo>
                    <a:pt x="775249" y="596278"/>
                  </a:lnTo>
                  <a:lnTo>
                    <a:pt x="775249" y="587548"/>
                  </a:lnTo>
                  <a:lnTo>
                    <a:pt x="736836" y="587548"/>
                  </a:lnTo>
                  <a:close/>
                  <a:moveTo>
                    <a:pt x="804059" y="587548"/>
                  </a:moveTo>
                  <a:lnTo>
                    <a:pt x="804059" y="596278"/>
                  </a:lnTo>
                  <a:lnTo>
                    <a:pt x="824139" y="596278"/>
                  </a:lnTo>
                  <a:lnTo>
                    <a:pt x="824139" y="670486"/>
                  </a:lnTo>
                  <a:lnTo>
                    <a:pt x="833742" y="670486"/>
                  </a:lnTo>
                  <a:lnTo>
                    <a:pt x="833742" y="596278"/>
                  </a:lnTo>
                  <a:lnTo>
                    <a:pt x="853822" y="596278"/>
                  </a:lnTo>
                  <a:lnTo>
                    <a:pt x="853822" y="587548"/>
                  </a:lnTo>
                  <a:lnTo>
                    <a:pt x="804059" y="587548"/>
                  </a:lnTo>
                  <a:close/>
                  <a:moveTo>
                    <a:pt x="930648" y="598898"/>
                  </a:moveTo>
                  <a:cubicBezTo>
                    <a:pt x="926283" y="591040"/>
                    <a:pt x="918426" y="585802"/>
                    <a:pt x="908822" y="585802"/>
                  </a:cubicBezTo>
                  <a:cubicBezTo>
                    <a:pt x="896600" y="585802"/>
                    <a:pt x="885251" y="594532"/>
                    <a:pt x="885251" y="606755"/>
                  </a:cubicBezTo>
                  <a:cubicBezTo>
                    <a:pt x="885251" y="615485"/>
                    <a:pt x="889616" y="622469"/>
                    <a:pt x="904457" y="628580"/>
                  </a:cubicBezTo>
                  <a:cubicBezTo>
                    <a:pt x="916680" y="633819"/>
                    <a:pt x="923664" y="637311"/>
                    <a:pt x="923664" y="646914"/>
                  </a:cubicBezTo>
                  <a:cubicBezTo>
                    <a:pt x="923664" y="655644"/>
                    <a:pt x="915807" y="663502"/>
                    <a:pt x="906203" y="663502"/>
                  </a:cubicBezTo>
                  <a:cubicBezTo>
                    <a:pt x="897473" y="663502"/>
                    <a:pt x="891362" y="657390"/>
                    <a:pt x="889616" y="647787"/>
                  </a:cubicBezTo>
                  <a:lnTo>
                    <a:pt x="880885" y="650406"/>
                  </a:lnTo>
                  <a:cubicBezTo>
                    <a:pt x="883504" y="663502"/>
                    <a:pt x="893981" y="672232"/>
                    <a:pt x="907076" y="672232"/>
                  </a:cubicBezTo>
                  <a:cubicBezTo>
                    <a:pt x="921918" y="672232"/>
                    <a:pt x="933267" y="660883"/>
                    <a:pt x="933267" y="646914"/>
                  </a:cubicBezTo>
                  <a:cubicBezTo>
                    <a:pt x="933267" y="634692"/>
                    <a:pt x="925410" y="628580"/>
                    <a:pt x="915807" y="625088"/>
                  </a:cubicBezTo>
                  <a:cubicBezTo>
                    <a:pt x="908822" y="621596"/>
                    <a:pt x="900092" y="618977"/>
                    <a:pt x="896600" y="614612"/>
                  </a:cubicBezTo>
                  <a:cubicBezTo>
                    <a:pt x="894854" y="612866"/>
                    <a:pt x="894854" y="610247"/>
                    <a:pt x="894854" y="608501"/>
                  </a:cubicBezTo>
                  <a:cubicBezTo>
                    <a:pt x="894854" y="600644"/>
                    <a:pt x="900965" y="595405"/>
                    <a:pt x="908822" y="595405"/>
                  </a:cubicBezTo>
                  <a:cubicBezTo>
                    <a:pt x="914934" y="595405"/>
                    <a:pt x="919299" y="598024"/>
                    <a:pt x="922791" y="604136"/>
                  </a:cubicBezTo>
                  <a:lnTo>
                    <a:pt x="930648" y="598898"/>
                  </a:lnTo>
                  <a:close/>
                  <a:moveTo>
                    <a:pt x="969061" y="587548"/>
                  </a:moveTo>
                  <a:lnTo>
                    <a:pt x="969061" y="670486"/>
                  </a:lnTo>
                  <a:lnTo>
                    <a:pt x="978665" y="670486"/>
                  </a:lnTo>
                  <a:lnTo>
                    <a:pt x="978665" y="633819"/>
                  </a:lnTo>
                  <a:lnTo>
                    <a:pt x="986522" y="633819"/>
                  </a:lnTo>
                  <a:cubicBezTo>
                    <a:pt x="996125" y="633819"/>
                    <a:pt x="1002236" y="631200"/>
                    <a:pt x="1006601" y="626834"/>
                  </a:cubicBezTo>
                  <a:cubicBezTo>
                    <a:pt x="1010967" y="622469"/>
                    <a:pt x="1012713" y="616358"/>
                    <a:pt x="1012713" y="610247"/>
                  </a:cubicBezTo>
                  <a:cubicBezTo>
                    <a:pt x="1012713" y="600644"/>
                    <a:pt x="1007475" y="592786"/>
                    <a:pt x="999617" y="589294"/>
                  </a:cubicBezTo>
                  <a:cubicBezTo>
                    <a:pt x="996125" y="587548"/>
                    <a:pt x="990887" y="586675"/>
                    <a:pt x="983030" y="586675"/>
                  </a:cubicBezTo>
                  <a:lnTo>
                    <a:pt x="969061" y="586675"/>
                  </a:lnTo>
                  <a:close/>
                  <a:moveTo>
                    <a:pt x="978665" y="596278"/>
                  </a:moveTo>
                  <a:lnTo>
                    <a:pt x="986522" y="596278"/>
                  </a:lnTo>
                  <a:cubicBezTo>
                    <a:pt x="999617" y="597151"/>
                    <a:pt x="1003109" y="601517"/>
                    <a:pt x="1003109" y="611120"/>
                  </a:cubicBezTo>
                  <a:cubicBezTo>
                    <a:pt x="1003109" y="624215"/>
                    <a:pt x="992633" y="625961"/>
                    <a:pt x="983030" y="625961"/>
                  </a:cubicBezTo>
                  <a:lnTo>
                    <a:pt x="977792" y="625961"/>
                  </a:lnTo>
                  <a:lnTo>
                    <a:pt x="977792" y="596278"/>
                  </a:lnTo>
                  <a:close/>
                  <a:moveTo>
                    <a:pt x="1046761" y="587548"/>
                  </a:moveTo>
                  <a:lnTo>
                    <a:pt x="1046761" y="670486"/>
                  </a:lnTo>
                  <a:lnTo>
                    <a:pt x="1056364" y="670486"/>
                  </a:lnTo>
                  <a:lnTo>
                    <a:pt x="1056364" y="633819"/>
                  </a:lnTo>
                  <a:lnTo>
                    <a:pt x="1058983" y="633819"/>
                  </a:lnTo>
                  <a:lnTo>
                    <a:pt x="1084301" y="670486"/>
                  </a:lnTo>
                  <a:lnTo>
                    <a:pt x="1095650" y="670486"/>
                  </a:lnTo>
                  <a:lnTo>
                    <a:pt x="1069460" y="632946"/>
                  </a:lnTo>
                  <a:cubicBezTo>
                    <a:pt x="1082555" y="632073"/>
                    <a:pt x="1090412" y="622469"/>
                    <a:pt x="1090412" y="610247"/>
                  </a:cubicBezTo>
                  <a:cubicBezTo>
                    <a:pt x="1090412" y="594532"/>
                    <a:pt x="1080809" y="587548"/>
                    <a:pt x="1060729" y="587548"/>
                  </a:cubicBezTo>
                  <a:lnTo>
                    <a:pt x="1046761" y="587548"/>
                  </a:lnTo>
                  <a:close/>
                  <a:moveTo>
                    <a:pt x="1056364" y="596278"/>
                  </a:moveTo>
                  <a:lnTo>
                    <a:pt x="1061602" y="596278"/>
                  </a:lnTo>
                  <a:cubicBezTo>
                    <a:pt x="1078190" y="596278"/>
                    <a:pt x="1080809" y="603263"/>
                    <a:pt x="1080809" y="611120"/>
                  </a:cubicBezTo>
                  <a:cubicBezTo>
                    <a:pt x="1080809" y="621596"/>
                    <a:pt x="1072952" y="625961"/>
                    <a:pt x="1060729" y="625961"/>
                  </a:cubicBezTo>
                  <a:lnTo>
                    <a:pt x="1056364" y="625961"/>
                  </a:lnTo>
                  <a:lnTo>
                    <a:pt x="1056364" y="596278"/>
                  </a:lnTo>
                  <a:close/>
                  <a:moveTo>
                    <a:pt x="1127952" y="587548"/>
                  </a:moveTo>
                  <a:lnTo>
                    <a:pt x="1127952" y="639930"/>
                  </a:lnTo>
                  <a:cubicBezTo>
                    <a:pt x="1127952" y="653025"/>
                    <a:pt x="1131445" y="658263"/>
                    <a:pt x="1136683" y="663502"/>
                  </a:cubicBezTo>
                  <a:cubicBezTo>
                    <a:pt x="1141921" y="668740"/>
                    <a:pt x="1149778" y="671359"/>
                    <a:pt x="1157635" y="671359"/>
                  </a:cubicBezTo>
                  <a:cubicBezTo>
                    <a:pt x="1168112" y="671359"/>
                    <a:pt x="1177715" y="666121"/>
                    <a:pt x="1183826" y="657390"/>
                  </a:cubicBezTo>
                  <a:cubicBezTo>
                    <a:pt x="1186445" y="653025"/>
                    <a:pt x="1187318" y="647787"/>
                    <a:pt x="1187318" y="639930"/>
                  </a:cubicBezTo>
                  <a:lnTo>
                    <a:pt x="1187318" y="587548"/>
                  </a:lnTo>
                  <a:lnTo>
                    <a:pt x="1178588" y="587548"/>
                  </a:lnTo>
                  <a:lnTo>
                    <a:pt x="1178588" y="638184"/>
                  </a:lnTo>
                  <a:cubicBezTo>
                    <a:pt x="1178588" y="646914"/>
                    <a:pt x="1177715" y="649533"/>
                    <a:pt x="1176842" y="652152"/>
                  </a:cubicBezTo>
                  <a:cubicBezTo>
                    <a:pt x="1174223" y="658263"/>
                    <a:pt x="1166366" y="663502"/>
                    <a:pt x="1158508" y="663502"/>
                  </a:cubicBezTo>
                  <a:cubicBezTo>
                    <a:pt x="1154143" y="663502"/>
                    <a:pt x="1150651" y="662629"/>
                    <a:pt x="1147159" y="660010"/>
                  </a:cubicBezTo>
                  <a:cubicBezTo>
                    <a:pt x="1140175" y="655644"/>
                    <a:pt x="1138429" y="650406"/>
                    <a:pt x="1138429" y="639057"/>
                  </a:cubicBezTo>
                  <a:lnTo>
                    <a:pt x="1138429" y="587548"/>
                  </a:lnTo>
                  <a:lnTo>
                    <a:pt x="1127952" y="587548"/>
                  </a:lnTo>
                  <a:close/>
                  <a:moveTo>
                    <a:pt x="1153270" y="570088"/>
                  </a:moveTo>
                  <a:cubicBezTo>
                    <a:pt x="1153270" y="566595"/>
                    <a:pt x="1150651" y="563976"/>
                    <a:pt x="1147159" y="563976"/>
                  </a:cubicBezTo>
                  <a:cubicBezTo>
                    <a:pt x="1143667" y="563976"/>
                    <a:pt x="1141048" y="566595"/>
                    <a:pt x="1141048" y="570088"/>
                  </a:cubicBezTo>
                  <a:cubicBezTo>
                    <a:pt x="1141048" y="573580"/>
                    <a:pt x="1143667" y="576199"/>
                    <a:pt x="1147159" y="576199"/>
                  </a:cubicBezTo>
                  <a:cubicBezTo>
                    <a:pt x="1150651" y="576199"/>
                    <a:pt x="1153270" y="573580"/>
                    <a:pt x="1153270" y="570088"/>
                  </a:cubicBezTo>
                  <a:close/>
                  <a:moveTo>
                    <a:pt x="1174223" y="570088"/>
                  </a:moveTo>
                  <a:cubicBezTo>
                    <a:pt x="1174223" y="566595"/>
                    <a:pt x="1171604" y="563976"/>
                    <a:pt x="1168112" y="563976"/>
                  </a:cubicBezTo>
                  <a:cubicBezTo>
                    <a:pt x="1164620" y="563976"/>
                    <a:pt x="1162001" y="566595"/>
                    <a:pt x="1162001" y="570088"/>
                  </a:cubicBezTo>
                  <a:cubicBezTo>
                    <a:pt x="1162001" y="573580"/>
                    <a:pt x="1164620" y="576199"/>
                    <a:pt x="1168112" y="576199"/>
                  </a:cubicBezTo>
                  <a:cubicBezTo>
                    <a:pt x="1172477" y="576199"/>
                    <a:pt x="1174223" y="573580"/>
                    <a:pt x="1174223" y="570088"/>
                  </a:cubicBezTo>
                  <a:close/>
                  <a:moveTo>
                    <a:pt x="1225731" y="587548"/>
                  </a:moveTo>
                  <a:lnTo>
                    <a:pt x="1225731" y="670486"/>
                  </a:lnTo>
                  <a:lnTo>
                    <a:pt x="1235335" y="670486"/>
                  </a:lnTo>
                  <a:lnTo>
                    <a:pt x="1235335" y="629454"/>
                  </a:lnTo>
                  <a:lnTo>
                    <a:pt x="1263272" y="629454"/>
                  </a:lnTo>
                  <a:lnTo>
                    <a:pt x="1263272" y="620723"/>
                  </a:lnTo>
                  <a:lnTo>
                    <a:pt x="1235335" y="620723"/>
                  </a:lnTo>
                  <a:lnTo>
                    <a:pt x="1235335" y="596278"/>
                  </a:lnTo>
                  <a:lnTo>
                    <a:pt x="1264145" y="596278"/>
                  </a:lnTo>
                  <a:lnTo>
                    <a:pt x="1264145" y="587548"/>
                  </a:lnTo>
                  <a:lnTo>
                    <a:pt x="1225731" y="587548"/>
                  </a:lnTo>
                  <a:close/>
                  <a:moveTo>
                    <a:pt x="1300812" y="587548"/>
                  </a:moveTo>
                  <a:lnTo>
                    <a:pt x="1300812" y="639930"/>
                  </a:lnTo>
                  <a:cubicBezTo>
                    <a:pt x="1300812" y="653025"/>
                    <a:pt x="1304304" y="658263"/>
                    <a:pt x="1309542" y="663502"/>
                  </a:cubicBezTo>
                  <a:cubicBezTo>
                    <a:pt x="1314780" y="668740"/>
                    <a:pt x="1322638" y="671359"/>
                    <a:pt x="1330495" y="671359"/>
                  </a:cubicBezTo>
                  <a:cubicBezTo>
                    <a:pt x="1340971" y="671359"/>
                    <a:pt x="1350575" y="666121"/>
                    <a:pt x="1356686" y="657390"/>
                  </a:cubicBezTo>
                  <a:cubicBezTo>
                    <a:pt x="1359305" y="653025"/>
                    <a:pt x="1360178" y="647787"/>
                    <a:pt x="1360178" y="639930"/>
                  </a:cubicBezTo>
                  <a:lnTo>
                    <a:pt x="1360178" y="587548"/>
                  </a:lnTo>
                  <a:lnTo>
                    <a:pt x="1350575" y="587548"/>
                  </a:lnTo>
                  <a:lnTo>
                    <a:pt x="1350575" y="638184"/>
                  </a:lnTo>
                  <a:cubicBezTo>
                    <a:pt x="1350575" y="646914"/>
                    <a:pt x="1349702" y="649533"/>
                    <a:pt x="1348829" y="652152"/>
                  </a:cubicBezTo>
                  <a:cubicBezTo>
                    <a:pt x="1346209" y="658263"/>
                    <a:pt x="1338352" y="663502"/>
                    <a:pt x="1330495" y="663502"/>
                  </a:cubicBezTo>
                  <a:cubicBezTo>
                    <a:pt x="1326130" y="663502"/>
                    <a:pt x="1322638" y="662629"/>
                    <a:pt x="1319146" y="660010"/>
                  </a:cubicBezTo>
                  <a:cubicBezTo>
                    <a:pt x="1312161" y="655644"/>
                    <a:pt x="1310415" y="650406"/>
                    <a:pt x="1310415" y="639057"/>
                  </a:cubicBezTo>
                  <a:lnTo>
                    <a:pt x="1310415" y="587548"/>
                  </a:lnTo>
                  <a:lnTo>
                    <a:pt x="1300812" y="587548"/>
                  </a:lnTo>
                  <a:close/>
                  <a:moveTo>
                    <a:pt x="1398591" y="670486"/>
                  </a:moveTo>
                  <a:lnTo>
                    <a:pt x="1408194" y="670486"/>
                  </a:lnTo>
                  <a:lnTo>
                    <a:pt x="1408194" y="606755"/>
                  </a:lnTo>
                  <a:lnTo>
                    <a:pt x="1472798" y="674851"/>
                  </a:lnTo>
                  <a:lnTo>
                    <a:pt x="1472798" y="587548"/>
                  </a:lnTo>
                  <a:lnTo>
                    <a:pt x="1463195" y="587548"/>
                  </a:lnTo>
                  <a:lnTo>
                    <a:pt x="1463195" y="652152"/>
                  </a:lnTo>
                  <a:lnTo>
                    <a:pt x="1398591" y="584056"/>
                  </a:lnTo>
                  <a:lnTo>
                    <a:pt x="1398591" y="670486"/>
                  </a:lnTo>
                  <a:close/>
                  <a:moveTo>
                    <a:pt x="1586292" y="604136"/>
                  </a:moveTo>
                  <a:cubicBezTo>
                    <a:pt x="1577562" y="592786"/>
                    <a:pt x="1565340" y="585802"/>
                    <a:pt x="1551371" y="585802"/>
                  </a:cubicBezTo>
                  <a:cubicBezTo>
                    <a:pt x="1527799" y="585802"/>
                    <a:pt x="1507720" y="605009"/>
                    <a:pt x="1507720" y="628580"/>
                  </a:cubicBezTo>
                  <a:cubicBezTo>
                    <a:pt x="1507720" y="652152"/>
                    <a:pt x="1527799" y="671359"/>
                    <a:pt x="1550498" y="671359"/>
                  </a:cubicBezTo>
                  <a:cubicBezTo>
                    <a:pt x="1560974" y="671359"/>
                    <a:pt x="1572324" y="666994"/>
                    <a:pt x="1579308" y="659136"/>
                  </a:cubicBezTo>
                  <a:cubicBezTo>
                    <a:pt x="1587165" y="651279"/>
                    <a:pt x="1589784" y="641676"/>
                    <a:pt x="1589784" y="632946"/>
                  </a:cubicBezTo>
                  <a:lnTo>
                    <a:pt x="1589784" y="628580"/>
                  </a:lnTo>
                  <a:lnTo>
                    <a:pt x="1554863" y="628580"/>
                  </a:lnTo>
                  <a:lnTo>
                    <a:pt x="1554863" y="637311"/>
                  </a:lnTo>
                  <a:lnTo>
                    <a:pt x="1579308" y="637311"/>
                  </a:lnTo>
                  <a:cubicBezTo>
                    <a:pt x="1579308" y="652152"/>
                    <a:pt x="1564466" y="663502"/>
                    <a:pt x="1549625" y="663502"/>
                  </a:cubicBezTo>
                  <a:cubicBezTo>
                    <a:pt x="1533910" y="663502"/>
                    <a:pt x="1516450" y="649533"/>
                    <a:pt x="1516450" y="629454"/>
                  </a:cubicBezTo>
                  <a:cubicBezTo>
                    <a:pt x="1516450" y="610247"/>
                    <a:pt x="1532164" y="594532"/>
                    <a:pt x="1550498" y="594532"/>
                  </a:cubicBezTo>
                  <a:cubicBezTo>
                    <a:pt x="1562720" y="594532"/>
                    <a:pt x="1572324" y="600644"/>
                    <a:pt x="1579308" y="610247"/>
                  </a:cubicBezTo>
                  <a:lnTo>
                    <a:pt x="1586292" y="604136"/>
                  </a:lnTo>
                  <a:close/>
                  <a:moveTo>
                    <a:pt x="1680579" y="587548"/>
                  </a:moveTo>
                  <a:lnTo>
                    <a:pt x="1680579" y="639930"/>
                  </a:lnTo>
                  <a:cubicBezTo>
                    <a:pt x="1680579" y="653025"/>
                    <a:pt x="1684071" y="658263"/>
                    <a:pt x="1689309" y="663502"/>
                  </a:cubicBezTo>
                  <a:cubicBezTo>
                    <a:pt x="1694548" y="668740"/>
                    <a:pt x="1702405" y="671359"/>
                    <a:pt x="1710262" y="671359"/>
                  </a:cubicBezTo>
                  <a:cubicBezTo>
                    <a:pt x="1720739" y="671359"/>
                    <a:pt x="1730342" y="666121"/>
                    <a:pt x="1736453" y="657390"/>
                  </a:cubicBezTo>
                  <a:cubicBezTo>
                    <a:pt x="1739072" y="653025"/>
                    <a:pt x="1739945" y="647787"/>
                    <a:pt x="1739945" y="639930"/>
                  </a:cubicBezTo>
                  <a:lnTo>
                    <a:pt x="1739945" y="587548"/>
                  </a:lnTo>
                  <a:lnTo>
                    <a:pt x="1730342" y="587548"/>
                  </a:lnTo>
                  <a:lnTo>
                    <a:pt x="1730342" y="638184"/>
                  </a:lnTo>
                  <a:cubicBezTo>
                    <a:pt x="1730342" y="646914"/>
                    <a:pt x="1729469" y="649533"/>
                    <a:pt x="1728596" y="652152"/>
                  </a:cubicBezTo>
                  <a:cubicBezTo>
                    <a:pt x="1725977" y="658263"/>
                    <a:pt x="1718119" y="663502"/>
                    <a:pt x="1710262" y="663502"/>
                  </a:cubicBezTo>
                  <a:cubicBezTo>
                    <a:pt x="1705897" y="663502"/>
                    <a:pt x="1702405" y="662629"/>
                    <a:pt x="1698913" y="660010"/>
                  </a:cubicBezTo>
                  <a:cubicBezTo>
                    <a:pt x="1691929" y="655644"/>
                    <a:pt x="1690183" y="650406"/>
                    <a:pt x="1690183" y="639057"/>
                  </a:cubicBezTo>
                  <a:lnTo>
                    <a:pt x="1690183" y="587548"/>
                  </a:lnTo>
                  <a:lnTo>
                    <a:pt x="1680579" y="587548"/>
                  </a:lnTo>
                  <a:close/>
                  <a:moveTo>
                    <a:pt x="1778358" y="670486"/>
                  </a:moveTo>
                  <a:lnTo>
                    <a:pt x="1787962" y="670486"/>
                  </a:lnTo>
                  <a:lnTo>
                    <a:pt x="1787962" y="606755"/>
                  </a:lnTo>
                  <a:lnTo>
                    <a:pt x="1852566" y="674851"/>
                  </a:lnTo>
                  <a:lnTo>
                    <a:pt x="1852566" y="587548"/>
                  </a:lnTo>
                  <a:lnTo>
                    <a:pt x="1842962" y="587548"/>
                  </a:lnTo>
                  <a:lnTo>
                    <a:pt x="1842962" y="652152"/>
                  </a:lnTo>
                  <a:lnTo>
                    <a:pt x="1778358" y="584056"/>
                  </a:lnTo>
                  <a:lnTo>
                    <a:pt x="1778358" y="670486"/>
                  </a:lnTo>
                  <a:close/>
                  <a:moveTo>
                    <a:pt x="1891852" y="587548"/>
                  </a:moveTo>
                  <a:lnTo>
                    <a:pt x="1891852" y="670486"/>
                  </a:lnTo>
                  <a:lnTo>
                    <a:pt x="1909313" y="670486"/>
                  </a:lnTo>
                  <a:cubicBezTo>
                    <a:pt x="1920662" y="670486"/>
                    <a:pt x="1928519" y="667867"/>
                    <a:pt x="1934630" y="664375"/>
                  </a:cubicBezTo>
                  <a:cubicBezTo>
                    <a:pt x="1946853" y="656517"/>
                    <a:pt x="1952964" y="644295"/>
                    <a:pt x="1952964" y="629454"/>
                  </a:cubicBezTo>
                  <a:cubicBezTo>
                    <a:pt x="1952964" y="617231"/>
                    <a:pt x="1948599" y="605882"/>
                    <a:pt x="1938996" y="598024"/>
                  </a:cubicBezTo>
                  <a:cubicBezTo>
                    <a:pt x="1932011" y="591913"/>
                    <a:pt x="1922408" y="587548"/>
                    <a:pt x="1908440" y="587548"/>
                  </a:cubicBezTo>
                  <a:lnTo>
                    <a:pt x="1891852" y="587548"/>
                  </a:lnTo>
                  <a:close/>
                  <a:moveTo>
                    <a:pt x="1901455" y="661756"/>
                  </a:moveTo>
                  <a:lnTo>
                    <a:pt x="1901455" y="596278"/>
                  </a:lnTo>
                  <a:lnTo>
                    <a:pt x="1909313" y="596278"/>
                  </a:lnTo>
                  <a:cubicBezTo>
                    <a:pt x="1918043" y="596278"/>
                    <a:pt x="1925900" y="598024"/>
                    <a:pt x="1931138" y="602390"/>
                  </a:cubicBezTo>
                  <a:cubicBezTo>
                    <a:pt x="1939869" y="608501"/>
                    <a:pt x="1945107" y="618977"/>
                    <a:pt x="1945107" y="629454"/>
                  </a:cubicBezTo>
                  <a:cubicBezTo>
                    <a:pt x="1945107" y="644295"/>
                    <a:pt x="1935503" y="662629"/>
                    <a:pt x="1910186" y="662629"/>
                  </a:cubicBezTo>
                  <a:lnTo>
                    <a:pt x="1901455" y="662629"/>
                  </a:lnTo>
                  <a:close/>
                  <a:moveTo>
                    <a:pt x="2044632" y="587548"/>
                  </a:moveTo>
                  <a:lnTo>
                    <a:pt x="2044632" y="670486"/>
                  </a:lnTo>
                  <a:lnTo>
                    <a:pt x="2064712" y="670486"/>
                  </a:lnTo>
                  <a:cubicBezTo>
                    <a:pt x="2082172" y="670486"/>
                    <a:pt x="2093522" y="662629"/>
                    <a:pt x="2093522" y="647787"/>
                  </a:cubicBezTo>
                  <a:cubicBezTo>
                    <a:pt x="2093522" y="637311"/>
                    <a:pt x="2087410" y="628580"/>
                    <a:pt x="2077807" y="626834"/>
                  </a:cubicBezTo>
                  <a:cubicBezTo>
                    <a:pt x="2083918" y="623342"/>
                    <a:pt x="2085664" y="617231"/>
                    <a:pt x="2085664" y="610247"/>
                  </a:cubicBezTo>
                  <a:cubicBezTo>
                    <a:pt x="2085664" y="595405"/>
                    <a:pt x="2076061" y="587548"/>
                    <a:pt x="2058600" y="587548"/>
                  </a:cubicBezTo>
                  <a:lnTo>
                    <a:pt x="2044632" y="587548"/>
                  </a:lnTo>
                  <a:close/>
                  <a:moveTo>
                    <a:pt x="2054235" y="596278"/>
                  </a:moveTo>
                  <a:lnTo>
                    <a:pt x="2058600" y="596278"/>
                  </a:lnTo>
                  <a:cubicBezTo>
                    <a:pt x="2070823" y="596278"/>
                    <a:pt x="2076934" y="598898"/>
                    <a:pt x="2076934" y="610247"/>
                  </a:cubicBezTo>
                  <a:cubicBezTo>
                    <a:pt x="2076934" y="619850"/>
                    <a:pt x="2071696" y="624215"/>
                    <a:pt x="2062092" y="624215"/>
                  </a:cubicBezTo>
                  <a:lnTo>
                    <a:pt x="2054235" y="624215"/>
                  </a:lnTo>
                  <a:lnTo>
                    <a:pt x="2054235" y="596278"/>
                  </a:lnTo>
                  <a:close/>
                  <a:moveTo>
                    <a:pt x="2054235" y="661756"/>
                  </a:moveTo>
                  <a:lnTo>
                    <a:pt x="2054235" y="632073"/>
                  </a:lnTo>
                  <a:lnTo>
                    <a:pt x="2062966" y="632073"/>
                  </a:lnTo>
                  <a:cubicBezTo>
                    <a:pt x="2077807" y="632073"/>
                    <a:pt x="2084791" y="637311"/>
                    <a:pt x="2084791" y="646914"/>
                  </a:cubicBezTo>
                  <a:cubicBezTo>
                    <a:pt x="2084791" y="657390"/>
                    <a:pt x="2077807" y="661756"/>
                    <a:pt x="2063838" y="661756"/>
                  </a:cubicBezTo>
                  <a:lnTo>
                    <a:pt x="2054235" y="661756"/>
                  </a:lnTo>
                  <a:close/>
                  <a:moveTo>
                    <a:pt x="2129316" y="587548"/>
                  </a:moveTo>
                  <a:lnTo>
                    <a:pt x="2129316" y="670486"/>
                  </a:lnTo>
                  <a:lnTo>
                    <a:pt x="2172094" y="670486"/>
                  </a:lnTo>
                  <a:lnTo>
                    <a:pt x="2172094" y="661756"/>
                  </a:lnTo>
                  <a:lnTo>
                    <a:pt x="2138919" y="661756"/>
                  </a:lnTo>
                  <a:lnTo>
                    <a:pt x="2138919" y="629454"/>
                  </a:lnTo>
                  <a:lnTo>
                    <a:pt x="2172094" y="629454"/>
                  </a:lnTo>
                  <a:lnTo>
                    <a:pt x="2172094" y="620723"/>
                  </a:lnTo>
                  <a:lnTo>
                    <a:pt x="2138919" y="620723"/>
                  </a:lnTo>
                  <a:lnTo>
                    <a:pt x="2138919" y="596278"/>
                  </a:lnTo>
                  <a:lnTo>
                    <a:pt x="2172967" y="596278"/>
                  </a:lnTo>
                  <a:lnTo>
                    <a:pt x="2172967" y="587548"/>
                  </a:lnTo>
                  <a:lnTo>
                    <a:pt x="2129316" y="587548"/>
                  </a:lnTo>
                  <a:close/>
                  <a:moveTo>
                    <a:pt x="2210507" y="587548"/>
                  </a:moveTo>
                  <a:lnTo>
                    <a:pt x="2210507" y="670486"/>
                  </a:lnTo>
                  <a:lnTo>
                    <a:pt x="2220111" y="670486"/>
                  </a:lnTo>
                  <a:lnTo>
                    <a:pt x="2220111" y="633819"/>
                  </a:lnTo>
                  <a:lnTo>
                    <a:pt x="2222730" y="633819"/>
                  </a:lnTo>
                  <a:lnTo>
                    <a:pt x="2248048" y="670486"/>
                  </a:lnTo>
                  <a:lnTo>
                    <a:pt x="2259397" y="670486"/>
                  </a:lnTo>
                  <a:lnTo>
                    <a:pt x="2233206" y="632946"/>
                  </a:lnTo>
                  <a:cubicBezTo>
                    <a:pt x="2246301" y="632073"/>
                    <a:pt x="2254159" y="622469"/>
                    <a:pt x="2254159" y="610247"/>
                  </a:cubicBezTo>
                  <a:cubicBezTo>
                    <a:pt x="2254159" y="594532"/>
                    <a:pt x="2244555" y="587548"/>
                    <a:pt x="2224476" y="587548"/>
                  </a:cubicBezTo>
                  <a:lnTo>
                    <a:pt x="2210507" y="587548"/>
                  </a:lnTo>
                  <a:close/>
                  <a:moveTo>
                    <a:pt x="2220111" y="596278"/>
                  </a:moveTo>
                  <a:lnTo>
                    <a:pt x="2225349" y="596278"/>
                  </a:lnTo>
                  <a:cubicBezTo>
                    <a:pt x="2241936" y="596278"/>
                    <a:pt x="2244555" y="603263"/>
                    <a:pt x="2244555" y="611120"/>
                  </a:cubicBezTo>
                  <a:cubicBezTo>
                    <a:pt x="2244555" y="621596"/>
                    <a:pt x="2236698" y="625961"/>
                    <a:pt x="2224476" y="625961"/>
                  </a:cubicBezTo>
                  <a:lnTo>
                    <a:pt x="2220111" y="625961"/>
                  </a:lnTo>
                  <a:lnTo>
                    <a:pt x="2220111" y="596278"/>
                  </a:lnTo>
                  <a:close/>
                  <a:moveTo>
                    <a:pt x="2284715" y="670486"/>
                  </a:moveTo>
                  <a:lnTo>
                    <a:pt x="2295191" y="670486"/>
                  </a:lnTo>
                  <a:lnTo>
                    <a:pt x="2304794" y="646914"/>
                  </a:lnTo>
                  <a:lnTo>
                    <a:pt x="2340589" y="646914"/>
                  </a:lnTo>
                  <a:lnTo>
                    <a:pt x="2350192" y="670486"/>
                  </a:lnTo>
                  <a:lnTo>
                    <a:pt x="2360668" y="670486"/>
                  </a:lnTo>
                  <a:lnTo>
                    <a:pt x="2323128" y="583183"/>
                  </a:lnTo>
                  <a:lnTo>
                    <a:pt x="2284715" y="670486"/>
                  </a:lnTo>
                  <a:close/>
                  <a:moveTo>
                    <a:pt x="2322255" y="605009"/>
                  </a:moveTo>
                  <a:lnTo>
                    <a:pt x="2336223" y="638184"/>
                  </a:lnTo>
                  <a:lnTo>
                    <a:pt x="2308286" y="638184"/>
                  </a:lnTo>
                  <a:lnTo>
                    <a:pt x="2322255" y="605009"/>
                  </a:lnTo>
                  <a:close/>
                  <a:moveTo>
                    <a:pt x="2375510" y="587548"/>
                  </a:moveTo>
                  <a:lnTo>
                    <a:pt x="2375510" y="596278"/>
                  </a:lnTo>
                  <a:lnTo>
                    <a:pt x="2395589" y="596278"/>
                  </a:lnTo>
                  <a:lnTo>
                    <a:pt x="2395589" y="670486"/>
                  </a:lnTo>
                  <a:lnTo>
                    <a:pt x="2405193" y="670486"/>
                  </a:lnTo>
                  <a:lnTo>
                    <a:pt x="2405193" y="596278"/>
                  </a:lnTo>
                  <a:lnTo>
                    <a:pt x="2425272" y="596278"/>
                  </a:lnTo>
                  <a:lnTo>
                    <a:pt x="2425272" y="587548"/>
                  </a:lnTo>
                  <a:lnTo>
                    <a:pt x="2375510" y="587548"/>
                  </a:lnTo>
                  <a:close/>
                  <a:moveTo>
                    <a:pt x="2455828" y="587548"/>
                  </a:moveTo>
                  <a:lnTo>
                    <a:pt x="2455828" y="639930"/>
                  </a:lnTo>
                  <a:cubicBezTo>
                    <a:pt x="2455828" y="653025"/>
                    <a:pt x="2459320" y="658263"/>
                    <a:pt x="2464558" y="663502"/>
                  </a:cubicBezTo>
                  <a:cubicBezTo>
                    <a:pt x="2469797" y="668740"/>
                    <a:pt x="2477654" y="671359"/>
                    <a:pt x="2485511" y="671359"/>
                  </a:cubicBezTo>
                  <a:cubicBezTo>
                    <a:pt x="2495987" y="671359"/>
                    <a:pt x="2505591" y="666121"/>
                    <a:pt x="2511702" y="657390"/>
                  </a:cubicBezTo>
                  <a:cubicBezTo>
                    <a:pt x="2514321" y="653025"/>
                    <a:pt x="2515194" y="647787"/>
                    <a:pt x="2515194" y="639930"/>
                  </a:cubicBezTo>
                  <a:lnTo>
                    <a:pt x="2515194" y="587548"/>
                  </a:lnTo>
                  <a:lnTo>
                    <a:pt x="2505591" y="587548"/>
                  </a:lnTo>
                  <a:lnTo>
                    <a:pt x="2505591" y="638184"/>
                  </a:lnTo>
                  <a:cubicBezTo>
                    <a:pt x="2505591" y="646914"/>
                    <a:pt x="2504718" y="649533"/>
                    <a:pt x="2503845" y="652152"/>
                  </a:cubicBezTo>
                  <a:cubicBezTo>
                    <a:pt x="2501226" y="658263"/>
                    <a:pt x="2493369" y="663502"/>
                    <a:pt x="2485511" y="663502"/>
                  </a:cubicBezTo>
                  <a:cubicBezTo>
                    <a:pt x="2481146" y="663502"/>
                    <a:pt x="2477654" y="662629"/>
                    <a:pt x="2474162" y="660010"/>
                  </a:cubicBezTo>
                  <a:cubicBezTo>
                    <a:pt x="2467178" y="655644"/>
                    <a:pt x="2465431" y="650406"/>
                    <a:pt x="2465431" y="639057"/>
                  </a:cubicBezTo>
                  <a:lnTo>
                    <a:pt x="2465431" y="587548"/>
                  </a:lnTo>
                  <a:lnTo>
                    <a:pt x="2455828" y="587548"/>
                  </a:lnTo>
                  <a:close/>
                  <a:moveTo>
                    <a:pt x="2554480" y="670486"/>
                  </a:moveTo>
                  <a:lnTo>
                    <a:pt x="2564084" y="670486"/>
                  </a:lnTo>
                  <a:lnTo>
                    <a:pt x="2564084" y="606755"/>
                  </a:lnTo>
                  <a:lnTo>
                    <a:pt x="2628688" y="674851"/>
                  </a:lnTo>
                  <a:lnTo>
                    <a:pt x="2628688" y="587548"/>
                  </a:lnTo>
                  <a:lnTo>
                    <a:pt x="2619085" y="587548"/>
                  </a:lnTo>
                  <a:lnTo>
                    <a:pt x="2619085" y="652152"/>
                  </a:lnTo>
                  <a:lnTo>
                    <a:pt x="2554480" y="584056"/>
                  </a:lnTo>
                  <a:lnTo>
                    <a:pt x="2554480" y="670486"/>
                  </a:lnTo>
                  <a:close/>
                  <a:moveTo>
                    <a:pt x="2741308" y="604136"/>
                  </a:moveTo>
                  <a:cubicBezTo>
                    <a:pt x="2732578" y="592786"/>
                    <a:pt x="2720356" y="585802"/>
                    <a:pt x="2706387" y="585802"/>
                  </a:cubicBezTo>
                  <a:cubicBezTo>
                    <a:pt x="2682815" y="585802"/>
                    <a:pt x="2662736" y="605009"/>
                    <a:pt x="2662736" y="628580"/>
                  </a:cubicBezTo>
                  <a:cubicBezTo>
                    <a:pt x="2662736" y="652152"/>
                    <a:pt x="2682815" y="671359"/>
                    <a:pt x="2705514" y="671359"/>
                  </a:cubicBezTo>
                  <a:cubicBezTo>
                    <a:pt x="2715991" y="671359"/>
                    <a:pt x="2727340" y="666994"/>
                    <a:pt x="2734324" y="659136"/>
                  </a:cubicBezTo>
                  <a:cubicBezTo>
                    <a:pt x="2742182" y="651279"/>
                    <a:pt x="2744800" y="641676"/>
                    <a:pt x="2744800" y="632946"/>
                  </a:cubicBezTo>
                  <a:lnTo>
                    <a:pt x="2744800" y="628580"/>
                  </a:lnTo>
                  <a:lnTo>
                    <a:pt x="2709879" y="628580"/>
                  </a:lnTo>
                  <a:lnTo>
                    <a:pt x="2709879" y="637311"/>
                  </a:lnTo>
                  <a:lnTo>
                    <a:pt x="2734324" y="637311"/>
                  </a:lnTo>
                  <a:cubicBezTo>
                    <a:pt x="2734324" y="652152"/>
                    <a:pt x="2719483" y="663502"/>
                    <a:pt x="2704641" y="663502"/>
                  </a:cubicBezTo>
                  <a:cubicBezTo>
                    <a:pt x="2688927" y="663502"/>
                    <a:pt x="2671466" y="649533"/>
                    <a:pt x="2671466" y="629454"/>
                  </a:cubicBezTo>
                  <a:cubicBezTo>
                    <a:pt x="2671466" y="610247"/>
                    <a:pt x="2687181" y="594532"/>
                    <a:pt x="2705514" y="594532"/>
                  </a:cubicBezTo>
                  <a:cubicBezTo>
                    <a:pt x="2717737" y="594532"/>
                    <a:pt x="2727340" y="600644"/>
                    <a:pt x="2734324" y="610247"/>
                  </a:cubicBezTo>
                  <a:lnTo>
                    <a:pt x="2741308" y="604136"/>
                  </a:lnTo>
                  <a:close/>
                </a:path>
              </a:pathLst>
            </a:custGeom>
            <a:solidFill>
              <a:srgbClr val="929A9F"/>
            </a:solidFill>
            <a:ln w="8721" cap="flat">
              <a:noFill/>
              <a:prstDash val="solid"/>
              <a:miter/>
            </a:ln>
          </p:spPr>
          <p:txBody>
            <a:bodyPr rtlCol="0" anchor="ctr"/>
            <a:lstStyle/>
            <a:p>
              <a:endParaRPr lang="en-US"/>
            </a:p>
          </p:txBody>
        </p:sp>
      </p:grpSp>
    </p:spTree>
    <p:extLst>
      <p:ext uri="{BB962C8B-B14F-4D97-AF65-F5344CB8AC3E}">
        <p14:creationId xmlns:p14="http://schemas.microsoft.com/office/powerpoint/2010/main" val="1192731212"/>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Working Documen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910037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400" b="0" i="0" baseline="0" dirty="0">
              <a:latin typeface="Arial Black" panose="020B0A04020102020204" pitchFamily="34" charset="0"/>
              <a:ea typeface="+mj-ea"/>
              <a:cs typeface="+mj-cs"/>
              <a:sym typeface="Arial Black" panose="020B0A04020102020204" pitchFamily="34" charset="0"/>
            </a:endParaRPr>
          </a:p>
        </p:txBody>
      </p:sp>
      <p:sp>
        <p:nvSpPr>
          <p:cNvPr id="4" name="Date Placeholder 3"/>
          <p:cNvSpPr>
            <a:spLocks noGrp="1"/>
          </p:cNvSpPr>
          <p:nvPr>
            <p:ph type="dt" sz="half" idx="10"/>
          </p:nvPr>
        </p:nvSpPr>
        <p:spPr/>
        <p:txBody>
          <a:bodyPr/>
          <a:lstStyle/>
          <a:p>
            <a:fld id="{7C59890E-3492-4D4F-BD98-282424747113}" type="datetime1">
              <a:rPr lang="de-DE"/>
              <a:pPr/>
              <a:t>02.12.2025</a:t>
            </a:fld>
            <a:endParaRPr lang="de-DE" dirty="0"/>
          </a:p>
        </p:txBody>
      </p:sp>
      <p:sp>
        <p:nvSpPr>
          <p:cNvPr id="5" name="Footer Placeholder 4"/>
          <p:cNvSpPr>
            <a:spLocks noGrp="1"/>
          </p:cNvSpPr>
          <p:nvPr>
            <p:ph type="ftr" sz="quarter" idx="11"/>
          </p:nvPr>
        </p:nvSpPr>
        <p:spPr/>
        <p:txBody>
          <a:bodyPr/>
          <a:lstStyle/>
          <a:p>
            <a:endParaRPr lang="en-US" dirty="0"/>
          </a:p>
        </p:txBody>
      </p:sp>
      <p:sp>
        <p:nvSpPr>
          <p:cNvPr id="7" name="Slide Number Placeholder 5">
            <a:extLst>
              <a:ext uri="{FF2B5EF4-FFF2-40B4-BE49-F238E27FC236}">
                <a16:creationId xmlns:a16="http://schemas.microsoft.com/office/drawing/2014/main" id="{7F021915-381B-42B1-869F-88E973798610}"/>
              </a:ext>
            </a:extLst>
          </p:cNvPr>
          <p:cNvSpPr>
            <a:spLocks noGrp="1"/>
          </p:cNvSpPr>
          <p:nvPr>
            <p:ph type="sldNum" sz="quarter" idx="4"/>
          </p:nvPr>
        </p:nvSpPr>
        <p:spPr>
          <a:xfrm>
            <a:off x="9310690" y="6551028"/>
            <a:ext cx="214309" cy="174301"/>
          </a:xfrm>
          <a:prstGeom prst="rect">
            <a:avLst/>
          </a:prstGeom>
        </p:spPr>
        <p:txBody>
          <a:bodyPr vert="horz" lIns="0" tIns="0" rIns="0" bIns="0" rtlCol="0" anchor="ctr">
            <a:noAutofit/>
          </a:bodyPr>
          <a:lstStyle>
            <a:lvl1pPr algn="r">
              <a:defRPr sz="800">
                <a:solidFill>
                  <a:schemeClr val="tx1">
                    <a:tint val="75000"/>
                  </a:schemeClr>
                </a:solidFill>
              </a:defRPr>
            </a:lvl1pPr>
          </a:lstStyle>
          <a:p>
            <a:pPr algn="r"/>
            <a:fld id="{F2322A94-3156-491B-AD20-567107C600A1}" type="slidenum">
              <a:rPr lang="en-US"/>
              <a:pPr algn="r"/>
              <a:t>‹Nr.›</a:t>
            </a:fld>
            <a:endParaRPr lang="en-US" dirty="0"/>
          </a:p>
        </p:txBody>
      </p:sp>
      <p:sp>
        <p:nvSpPr>
          <p:cNvPr id="10" name="Title 1"/>
          <p:cNvSpPr>
            <a:spLocks noGrp="1"/>
          </p:cNvSpPr>
          <p:nvPr>
            <p:ph type="title"/>
          </p:nvPr>
        </p:nvSpPr>
        <p:spPr>
          <a:xfrm>
            <a:off x="344488" y="332656"/>
            <a:ext cx="9216000" cy="698400"/>
          </a:xfrm>
        </p:spPr>
        <p:txBody>
          <a:bodyPr/>
          <a:lstStyle>
            <a:lvl1pPr>
              <a:defRPr>
                <a:solidFill>
                  <a:schemeClr val="accent1"/>
                </a:solidFill>
              </a:defRPr>
            </a:lvl1pPr>
          </a:lstStyle>
          <a:p>
            <a:r>
              <a:rPr lang="de-DE"/>
              <a:t>Mastertitelformat bearbeiten</a:t>
            </a:r>
            <a:endParaRPr lang="en-US" dirty="0"/>
          </a:p>
        </p:txBody>
      </p:sp>
      <p:sp>
        <p:nvSpPr>
          <p:cNvPr id="11" name="Text Placeholder 9">
            <a:extLst>
              <a:ext uri="{FF2B5EF4-FFF2-40B4-BE49-F238E27FC236}">
                <a16:creationId xmlns:a16="http://schemas.microsoft.com/office/drawing/2014/main" id="{3E288A1C-E8D4-4017-B26E-21F33E45FAC7}"/>
              </a:ext>
            </a:extLst>
          </p:cNvPr>
          <p:cNvSpPr>
            <a:spLocks noGrp="1"/>
          </p:cNvSpPr>
          <p:nvPr>
            <p:ph type="body" sz="quarter" idx="13"/>
          </p:nvPr>
        </p:nvSpPr>
        <p:spPr>
          <a:xfrm>
            <a:off x="344490" y="1124776"/>
            <a:ext cx="9216000" cy="288000"/>
          </a:xfrm>
        </p:spPr>
        <p:txBody>
          <a:bodyPr/>
          <a:lstStyle>
            <a:lvl1pPr>
              <a:defRPr sz="1600" b="0">
                <a:solidFill>
                  <a:schemeClr val="accent6"/>
                </a:solidFill>
              </a:defRPr>
            </a:lvl1pPr>
          </a:lstStyle>
          <a:p>
            <a:pPr lvl="0"/>
            <a:r>
              <a:rPr lang="de-DE"/>
              <a:t>Mastertextformat bearbeiten</a:t>
            </a:r>
          </a:p>
        </p:txBody>
      </p:sp>
    </p:spTree>
    <p:extLst>
      <p:ext uri="{BB962C8B-B14F-4D97-AF65-F5344CB8AC3E}">
        <p14:creationId xmlns:p14="http://schemas.microsoft.com/office/powerpoint/2010/main" val="3846499095"/>
      </p:ext>
    </p:extLst>
  </p:cSld>
  <p:clrMapOvr>
    <a:masterClrMapping/>
  </p:clrMapOvr>
  <p:hf hdr="0" ftr="0" dt="0"/>
  <p:extLst>
    <p:ext uri="{DCECCB84-F9BA-43D5-87BE-67443E8EF086}">
      <p15:sldGuideLst xmlns:p15="http://schemas.microsoft.com/office/powerpoint/2012/main">
        <p15:guide id="1" orient="horz" pos="98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AE7BA-118C-4471-BC56-4B373F3BF315}"/>
              </a:ext>
            </a:extLst>
          </p:cNvPr>
          <p:cNvSpPr>
            <a:spLocks noGrp="1"/>
          </p:cNvSpPr>
          <p:nvPr>
            <p:ph type="title"/>
          </p:nvPr>
        </p:nvSpPr>
        <p:spPr/>
        <p:txBody>
          <a:bodyPr/>
          <a:lstStyle/>
          <a:p>
            <a:r>
              <a:rPr lang="de-DE"/>
              <a:t>Mastertitelformat bearbeiten</a:t>
            </a:r>
            <a:endParaRPr lang="en-US" dirty="0"/>
          </a:p>
        </p:txBody>
      </p:sp>
      <p:sp>
        <p:nvSpPr>
          <p:cNvPr id="3" name="Date Placeholder 2">
            <a:extLst>
              <a:ext uri="{FF2B5EF4-FFF2-40B4-BE49-F238E27FC236}">
                <a16:creationId xmlns:a16="http://schemas.microsoft.com/office/drawing/2014/main" id="{E24F731E-73B2-451A-977A-97400559258A}"/>
              </a:ext>
            </a:extLst>
          </p:cNvPr>
          <p:cNvSpPr>
            <a:spLocks noGrp="1"/>
          </p:cNvSpPr>
          <p:nvPr>
            <p:ph type="dt" sz="half" idx="10"/>
          </p:nvPr>
        </p:nvSpPr>
        <p:spPr/>
        <p:txBody>
          <a:bodyPr/>
          <a:lstStyle/>
          <a:p>
            <a:fld id="{96CE176C-65D3-409E-BF6F-8B8AB3053D51}" type="datetime1">
              <a:rPr lang="de-DE"/>
              <a:pPr/>
              <a:t>02.12.2025</a:t>
            </a:fld>
            <a:endParaRPr lang="de-DE" dirty="0"/>
          </a:p>
        </p:txBody>
      </p:sp>
      <p:sp>
        <p:nvSpPr>
          <p:cNvPr id="4" name="Footer Placeholder 3">
            <a:extLst>
              <a:ext uri="{FF2B5EF4-FFF2-40B4-BE49-F238E27FC236}">
                <a16:creationId xmlns:a16="http://schemas.microsoft.com/office/drawing/2014/main" id="{81B0588C-F6CF-433A-B312-4D2427AD815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4708739-4658-41F1-AEC1-81C97B489D9D}"/>
              </a:ext>
            </a:extLst>
          </p:cNvPr>
          <p:cNvSpPr>
            <a:spLocks noGrp="1"/>
          </p:cNvSpPr>
          <p:nvPr>
            <p:ph type="sldNum" sz="quarter" idx="12"/>
          </p:nvPr>
        </p:nvSpPr>
        <p:spPr/>
        <p:txBody>
          <a:bodyPr/>
          <a:lstStyle/>
          <a:p>
            <a:pPr algn="r"/>
            <a:fld id="{F2322A94-3156-491B-AD20-567107C600A1}" type="slidenum">
              <a:rPr lang="en-US"/>
              <a:pPr algn="r"/>
              <a:t>‹Nr.›</a:t>
            </a:fld>
            <a:endParaRPr lang="en-US" dirty="0"/>
          </a:p>
        </p:txBody>
      </p:sp>
    </p:spTree>
    <p:extLst>
      <p:ext uri="{BB962C8B-B14F-4D97-AF65-F5344CB8AC3E}">
        <p14:creationId xmlns:p14="http://schemas.microsoft.com/office/powerpoint/2010/main" val="3771697498"/>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Nu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AE7BA-118C-4471-BC56-4B373F3BF315}"/>
              </a:ext>
            </a:extLst>
          </p:cNvPr>
          <p:cNvSpPr>
            <a:spLocks noGrp="1"/>
          </p:cNvSpPr>
          <p:nvPr>
            <p:ph type="title"/>
          </p:nvPr>
        </p:nvSpPr>
        <p:spPr/>
        <p:txBody>
          <a:bodyPr/>
          <a:lstStyle/>
          <a:p>
            <a:r>
              <a:rPr lang="de-DE"/>
              <a:t>Mastertitelformat bearbeiten</a:t>
            </a:r>
            <a:endParaRPr lang="en-US" dirty="0"/>
          </a:p>
        </p:txBody>
      </p:sp>
      <p:sp>
        <p:nvSpPr>
          <p:cNvPr id="3" name="Date Placeholder 2">
            <a:extLst>
              <a:ext uri="{FF2B5EF4-FFF2-40B4-BE49-F238E27FC236}">
                <a16:creationId xmlns:a16="http://schemas.microsoft.com/office/drawing/2014/main" id="{E24F731E-73B2-451A-977A-97400559258A}"/>
              </a:ext>
            </a:extLst>
          </p:cNvPr>
          <p:cNvSpPr>
            <a:spLocks noGrp="1"/>
          </p:cNvSpPr>
          <p:nvPr>
            <p:ph type="dt" sz="half" idx="10"/>
          </p:nvPr>
        </p:nvSpPr>
        <p:spPr/>
        <p:txBody>
          <a:bodyPr/>
          <a:lstStyle/>
          <a:p>
            <a:fld id="{96CE176C-65D3-409E-BF6F-8B8AB3053D51}" type="datetime1">
              <a:rPr lang="de-DE"/>
              <a:pPr/>
              <a:t>02.12.2025</a:t>
            </a:fld>
            <a:endParaRPr lang="de-DE" dirty="0"/>
          </a:p>
        </p:txBody>
      </p:sp>
      <p:sp>
        <p:nvSpPr>
          <p:cNvPr id="4" name="Footer Placeholder 3">
            <a:extLst>
              <a:ext uri="{FF2B5EF4-FFF2-40B4-BE49-F238E27FC236}">
                <a16:creationId xmlns:a16="http://schemas.microsoft.com/office/drawing/2014/main" id="{81B0588C-F6CF-433A-B312-4D2427AD815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4708739-4658-41F1-AEC1-81C97B489D9D}"/>
              </a:ext>
            </a:extLst>
          </p:cNvPr>
          <p:cNvSpPr>
            <a:spLocks noGrp="1"/>
          </p:cNvSpPr>
          <p:nvPr>
            <p:ph type="sldNum" sz="quarter" idx="12"/>
          </p:nvPr>
        </p:nvSpPr>
        <p:spPr/>
        <p:txBody>
          <a:bodyPr/>
          <a:lstStyle/>
          <a:p>
            <a:pPr algn="r"/>
            <a:fld id="{F2322A94-3156-491B-AD20-567107C600A1}" type="slidenum">
              <a:rPr lang="en-US"/>
              <a:pPr algn="r"/>
              <a:t>‹Nr.›</a:t>
            </a:fld>
            <a:endParaRPr lang="en-US" dirty="0"/>
          </a:p>
        </p:txBody>
      </p:sp>
      <p:sp>
        <p:nvSpPr>
          <p:cNvPr id="7" name="Textplatzhalter 6"/>
          <p:cNvSpPr>
            <a:spLocks noGrp="1"/>
          </p:cNvSpPr>
          <p:nvPr>
            <p:ph type="body" sz="quarter" idx="13" hasCustomPrompt="1"/>
          </p:nvPr>
        </p:nvSpPr>
        <p:spPr>
          <a:xfrm>
            <a:off x="344488" y="1556791"/>
            <a:ext cx="9217025" cy="4751933"/>
          </a:xfrm>
        </p:spPr>
        <p:txBody>
          <a:bodyPr/>
          <a:lstStyle>
            <a:lvl1pPr marL="179388" indent="-179388">
              <a:spcBef>
                <a:spcPts val="0"/>
              </a:spcBef>
              <a:spcAft>
                <a:spcPts val="600"/>
              </a:spcAft>
              <a:buClr>
                <a:schemeClr val="accent1"/>
              </a:buClr>
              <a:buFont typeface="Wingdings" panose="05000000000000000000" pitchFamily="2" charset="2"/>
              <a:buChar char="§"/>
              <a:defRPr sz="2000"/>
            </a:lvl1pPr>
            <a:lvl2pPr marL="358775" indent="-179388">
              <a:buFont typeface="Symbol" panose="05050102010706020507" pitchFamily="18" charset="2"/>
              <a:buChar char="-"/>
              <a:defRPr sz="2000"/>
            </a:lvl2pPr>
            <a:lvl3pPr marL="538163" indent="-179388">
              <a:buFont typeface="Arial" panose="020B0604020202020204" pitchFamily="34" charset="0"/>
              <a:buChar char="•"/>
              <a:defRPr sz="2000"/>
            </a:lvl3pPr>
            <a:lvl4pPr marL="179388" indent="-179388">
              <a:buFont typeface="Wingdings 3" panose="05040102010807070707" pitchFamily="18" charset="2"/>
              <a:buChar cha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th level</a:t>
            </a:r>
          </a:p>
          <a:p>
            <a:pPr lvl="6"/>
            <a:r>
              <a:rPr lang="en-US" dirty="0"/>
              <a:t>7th level</a:t>
            </a:r>
          </a:p>
          <a:p>
            <a:pPr lvl="7"/>
            <a:r>
              <a:rPr lang="en-US" dirty="0"/>
              <a:t>8th level</a:t>
            </a:r>
          </a:p>
          <a:p>
            <a:pPr lvl="8"/>
            <a:r>
              <a:rPr lang="en-US" dirty="0"/>
              <a:t>9th level</a:t>
            </a:r>
          </a:p>
        </p:txBody>
      </p:sp>
      <p:sp>
        <p:nvSpPr>
          <p:cNvPr id="8" name="Text Placeholder 9">
            <a:extLst>
              <a:ext uri="{FF2B5EF4-FFF2-40B4-BE49-F238E27FC236}">
                <a16:creationId xmlns:a16="http://schemas.microsoft.com/office/drawing/2014/main" id="{3E288A1C-E8D4-4017-B26E-21F33E45FAC7}"/>
              </a:ext>
            </a:extLst>
          </p:cNvPr>
          <p:cNvSpPr>
            <a:spLocks noGrp="1"/>
          </p:cNvSpPr>
          <p:nvPr>
            <p:ph type="body" sz="quarter" idx="14"/>
          </p:nvPr>
        </p:nvSpPr>
        <p:spPr>
          <a:xfrm>
            <a:off x="344490" y="1124776"/>
            <a:ext cx="9216000" cy="288000"/>
          </a:xfrm>
        </p:spPr>
        <p:txBody>
          <a:bodyPr/>
          <a:lstStyle>
            <a:lvl1pPr>
              <a:defRPr sz="1600" b="0">
                <a:solidFill>
                  <a:schemeClr val="accent6"/>
                </a:solidFill>
              </a:defRPr>
            </a:lvl1pPr>
          </a:lstStyle>
          <a:p>
            <a:pPr lvl="0"/>
            <a:r>
              <a:rPr lang="de-DE"/>
              <a:t>Mastertextformat bearbeiten</a:t>
            </a:r>
          </a:p>
        </p:txBody>
      </p:sp>
    </p:spTree>
    <p:extLst>
      <p:ext uri="{BB962C8B-B14F-4D97-AF65-F5344CB8AC3E}">
        <p14:creationId xmlns:p14="http://schemas.microsoft.com/office/powerpoint/2010/main" val="673544151"/>
      </p:ext>
    </p:extLst>
  </p:cSld>
  <p:clrMapOvr>
    <a:masterClrMapping/>
  </p:clrMapOvr>
  <p:extLst>
    <p:ext uri="{DCECCB84-F9BA-43D5-87BE-67443E8EF086}">
      <p15:sldGuideLst xmlns:p15="http://schemas.microsoft.com/office/powerpoint/2012/main">
        <p15:guide id="1" orient="horz" pos="98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6555C94-5CB4-424F-9FA3-8D307ADB8603}"/>
              </a:ext>
            </a:extLst>
          </p:cNvPr>
          <p:cNvSpPr>
            <a:spLocks noGrp="1"/>
          </p:cNvSpPr>
          <p:nvPr>
            <p:ph type="sldNum" sz="quarter" idx="12"/>
          </p:nvPr>
        </p:nvSpPr>
        <p:spPr/>
        <p:txBody>
          <a:bodyPr/>
          <a:lstStyle/>
          <a:p>
            <a:pPr algn="r"/>
            <a:fld id="{F2322A94-3156-491B-AD20-567107C600A1}" type="slidenum">
              <a:rPr lang="en-US"/>
              <a:pPr algn="r"/>
              <a:t>‹Nr.›</a:t>
            </a:fld>
            <a:endParaRPr lang="en-US" dirty="0"/>
          </a:p>
        </p:txBody>
      </p:sp>
      <p:sp>
        <p:nvSpPr>
          <p:cNvPr id="6" name="Rectangle 8">
            <a:extLst>
              <a:ext uri="{FF2B5EF4-FFF2-40B4-BE49-F238E27FC236}">
                <a16:creationId xmlns:a16="http://schemas.microsoft.com/office/drawing/2014/main" id="{1FB9B418-E23C-4478-A36C-97DE9E8276A7}"/>
              </a:ext>
            </a:extLst>
          </p:cNvPr>
          <p:cNvSpPr/>
          <p:nvPr/>
        </p:nvSpPr>
        <p:spPr>
          <a:xfrm rot="16200000">
            <a:off x="1658847" y="-1323271"/>
            <a:ext cx="1296145" cy="4608000"/>
          </a:xfrm>
          <a:prstGeom prst="rect">
            <a:avLst/>
          </a:prstGeom>
          <a:solidFill>
            <a:srgbClr val="C72A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p>
        </p:txBody>
      </p:sp>
    </p:spTree>
    <p:extLst>
      <p:ext uri="{BB962C8B-B14F-4D97-AF65-F5344CB8AC3E}">
        <p14:creationId xmlns:p14="http://schemas.microsoft.com/office/powerpoint/2010/main" val="1278840819"/>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Slide Logo">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6555C94-5CB4-424F-9FA3-8D307ADB8603}"/>
              </a:ext>
            </a:extLst>
          </p:cNvPr>
          <p:cNvSpPr>
            <a:spLocks noGrp="1"/>
          </p:cNvSpPr>
          <p:nvPr>
            <p:ph type="sldNum" sz="quarter" idx="12"/>
          </p:nvPr>
        </p:nvSpPr>
        <p:spPr/>
        <p:txBody>
          <a:bodyPr/>
          <a:lstStyle/>
          <a:p>
            <a:pPr algn="r"/>
            <a:fld id="{F2322A94-3156-491B-AD20-567107C600A1}" type="slidenum">
              <a:rPr lang="en-US"/>
              <a:pPr algn="r"/>
              <a:t>‹Nr.›</a:t>
            </a:fld>
            <a:endParaRPr lang="en-US" dirty="0"/>
          </a:p>
        </p:txBody>
      </p:sp>
    </p:spTree>
    <p:extLst>
      <p:ext uri="{BB962C8B-B14F-4D97-AF65-F5344CB8AC3E}">
        <p14:creationId xmlns:p14="http://schemas.microsoft.com/office/powerpoint/2010/main" val="279983862"/>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reak Slid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723209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6B42179B-1D37-469B-BE48-D48C37776EE2}"/>
              </a:ext>
            </a:extLst>
          </p:cNvPr>
          <p:cNvSpPr>
            <a:spLocks noGrp="1"/>
          </p:cNvSpPr>
          <p:nvPr>
            <p:ph type="sldNum" sz="quarter" idx="4"/>
          </p:nvPr>
        </p:nvSpPr>
        <p:spPr>
          <a:xfrm>
            <a:off x="9310690" y="6551028"/>
            <a:ext cx="214309" cy="174301"/>
          </a:xfrm>
          <a:prstGeom prst="rect">
            <a:avLst/>
          </a:prstGeom>
        </p:spPr>
        <p:txBody>
          <a:bodyPr vert="horz" lIns="0" tIns="0" rIns="0" bIns="0" rtlCol="0" anchor="ctr">
            <a:noAutofit/>
          </a:bodyPr>
          <a:lstStyle>
            <a:lvl1pPr algn="r">
              <a:defRPr sz="800">
                <a:noFill/>
              </a:defRPr>
            </a:lvl1pPr>
          </a:lstStyle>
          <a:p>
            <a:fld id="{F2322A94-3156-491B-AD20-567107C600A1}" type="slidenum">
              <a:rPr lang="en-US"/>
              <a:pPr/>
              <a:t>‹Nr.›</a:t>
            </a:fld>
            <a:endParaRPr lang="en-US" dirty="0"/>
          </a:p>
        </p:txBody>
      </p:sp>
      <p:sp>
        <p:nvSpPr>
          <p:cNvPr id="12" name="Rectangle 8">
            <a:extLst>
              <a:ext uri="{FF2B5EF4-FFF2-40B4-BE49-F238E27FC236}">
                <a16:creationId xmlns:a16="http://schemas.microsoft.com/office/drawing/2014/main" id="{1FB9B418-E23C-4478-A36C-97DE9E8276A7}"/>
              </a:ext>
            </a:extLst>
          </p:cNvPr>
          <p:cNvSpPr/>
          <p:nvPr/>
        </p:nvSpPr>
        <p:spPr>
          <a:xfrm rot="16200000">
            <a:off x="1658847" y="-1323271"/>
            <a:ext cx="1296145" cy="4608000"/>
          </a:xfrm>
          <a:prstGeom prst="rect">
            <a:avLst/>
          </a:prstGeom>
          <a:solidFill>
            <a:srgbClr val="C72A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p>
        </p:txBody>
      </p:sp>
      <p:sp>
        <p:nvSpPr>
          <p:cNvPr id="14" name="Textplatzhalter 2"/>
          <p:cNvSpPr>
            <a:spLocks noGrp="1"/>
          </p:cNvSpPr>
          <p:nvPr>
            <p:ph type="body" sz="quarter" idx="13" hasCustomPrompt="1"/>
          </p:nvPr>
        </p:nvSpPr>
        <p:spPr>
          <a:xfrm>
            <a:off x="704850" y="764704"/>
            <a:ext cx="3600078" cy="719138"/>
          </a:xfrm>
        </p:spPr>
        <p:txBody>
          <a:bodyPr lIns="90000" tIns="46800" rIns="90000" bIns="46800"/>
          <a:lstStyle>
            <a:lvl1pPr marL="0" algn="l" defTabSz="914400" rtl="0" eaLnBrk="1" latinLnBrk="0" hangingPunct="1">
              <a:lnSpc>
                <a:spcPct val="90000"/>
              </a:lnSpc>
              <a:spcBef>
                <a:spcPct val="0"/>
              </a:spcBef>
              <a:buNone/>
              <a:defRPr lang="de-DE" sz="4000" kern="1200" dirty="0">
                <a:solidFill>
                  <a:schemeClr val="bg1"/>
                </a:solidFill>
                <a:latin typeface="+mj-lt"/>
                <a:ea typeface="+mj-ea"/>
                <a:cs typeface="+mj-cs"/>
              </a:defRPr>
            </a:lvl1pPr>
          </a:lstStyle>
          <a:p>
            <a:pPr lvl="0"/>
            <a:r>
              <a:rPr lang="de-DE" dirty="0"/>
              <a:t>Text</a:t>
            </a:r>
          </a:p>
        </p:txBody>
      </p:sp>
    </p:spTree>
    <p:extLst>
      <p:ext uri="{BB962C8B-B14F-4D97-AF65-F5344CB8AC3E}">
        <p14:creationId xmlns:p14="http://schemas.microsoft.com/office/powerpoint/2010/main" val="364732529"/>
      </p:ext>
    </p:extLst>
  </p:cSld>
  <p:clrMapOvr>
    <a:masterClrMapping/>
  </p:clrMapOvr>
  <p:hf hd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lose Slide">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7084C28-2DC4-4D33-A561-E1E59C3CD130}"/>
              </a:ext>
            </a:extLst>
          </p:cNvPr>
          <p:cNvSpPr>
            <a:spLocks noGrp="1"/>
          </p:cNvSpPr>
          <p:nvPr>
            <p:ph type="sldNum" sz="quarter" idx="12"/>
          </p:nvPr>
        </p:nvSpPr>
        <p:spPr/>
        <p:txBody>
          <a:bodyPr/>
          <a:lstStyle>
            <a:lvl1pPr>
              <a:defRPr>
                <a:noFill/>
              </a:defRPr>
            </a:lvl1pPr>
          </a:lstStyle>
          <a:p>
            <a:fld id="{F2322A94-3156-491B-AD20-567107C600A1}" type="slidenum">
              <a:rPr lang="en-US"/>
              <a:pPr/>
              <a:t>‹Nr.›</a:t>
            </a:fld>
            <a:endParaRPr lang="en-US" dirty="0"/>
          </a:p>
        </p:txBody>
      </p:sp>
      <p:sp>
        <p:nvSpPr>
          <p:cNvPr id="9" name="Rectangle 8">
            <a:extLst>
              <a:ext uri="{FF2B5EF4-FFF2-40B4-BE49-F238E27FC236}">
                <a16:creationId xmlns:a16="http://schemas.microsoft.com/office/drawing/2014/main" id="{1FB9B418-E23C-4478-A36C-97DE9E8276A7}"/>
              </a:ext>
            </a:extLst>
          </p:cNvPr>
          <p:cNvSpPr/>
          <p:nvPr/>
        </p:nvSpPr>
        <p:spPr>
          <a:xfrm>
            <a:off x="-4" y="1412776"/>
            <a:ext cx="8136000" cy="3600400"/>
          </a:xfrm>
          <a:prstGeom prst="rect">
            <a:avLst/>
          </a:prstGeom>
          <a:solidFill>
            <a:srgbClr val="C72A3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L="88900" indent="0"/>
            <a:r>
              <a:rPr lang="de-DE" sz="4000" dirty="0">
                <a:latin typeface="+mj-lt"/>
              </a:rPr>
              <a:t>Vielen Dank</a:t>
            </a:r>
          </a:p>
          <a:p>
            <a:pPr marL="88900" indent="0"/>
            <a:r>
              <a:rPr lang="de-DE" sz="4000" dirty="0">
                <a:latin typeface="+mj-lt"/>
              </a:rPr>
              <a:t>für Ihre Aufmerksamkeit</a:t>
            </a:r>
          </a:p>
        </p:txBody>
      </p:sp>
    </p:spTree>
    <p:extLst>
      <p:ext uri="{BB962C8B-B14F-4D97-AF65-F5344CB8AC3E}">
        <p14:creationId xmlns:p14="http://schemas.microsoft.com/office/powerpoint/2010/main" val="2870393602"/>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Working Documen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910037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400" b="0" i="0" baseline="0">
              <a:latin typeface="Arial Black" panose="020B0A04020102020204" pitchFamily="34" charset="0"/>
              <a:ea typeface="+mj-ea"/>
              <a:cs typeface="+mj-cs"/>
              <a:sym typeface="Arial Black" panose="020B0A04020102020204" pitchFamily="34" charset="0"/>
            </a:endParaRPr>
          </a:p>
        </p:txBody>
      </p:sp>
      <p:sp>
        <p:nvSpPr>
          <p:cNvPr id="4" name="Date Placeholder 3"/>
          <p:cNvSpPr>
            <a:spLocks noGrp="1"/>
          </p:cNvSpPr>
          <p:nvPr>
            <p:ph type="dt" sz="half" idx="10"/>
          </p:nvPr>
        </p:nvSpPr>
        <p:spPr/>
        <p:txBody>
          <a:bodyPr/>
          <a:lstStyle/>
          <a:p>
            <a:fld id="{7C59890E-3492-4D4F-BD98-282424747113}" type="datetime1">
              <a:rPr lang="de-DE"/>
              <a:pPr/>
              <a:t>02.12.2025</a:t>
            </a:fld>
            <a:endParaRPr lang="de-DE"/>
          </a:p>
        </p:txBody>
      </p:sp>
      <p:sp>
        <p:nvSpPr>
          <p:cNvPr id="5" name="Footer Placeholder 4"/>
          <p:cNvSpPr>
            <a:spLocks noGrp="1"/>
          </p:cNvSpPr>
          <p:nvPr>
            <p:ph type="ftr" sz="quarter" idx="11"/>
          </p:nvPr>
        </p:nvSpPr>
        <p:spPr/>
        <p:txBody>
          <a:bodyPr/>
          <a:lstStyle/>
          <a:p>
            <a:endParaRPr lang="en-US"/>
          </a:p>
        </p:txBody>
      </p:sp>
      <p:sp>
        <p:nvSpPr>
          <p:cNvPr id="7" name="Slide Number Placeholder 5">
            <a:extLst>
              <a:ext uri="{FF2B5EF4-FFF2-40B4-BE49-F238E27FC236}">
                <a16:creationId xmlns:a16="http://schemas.microsoft.com/office/drawing/2014/main" id="{7F021915-381B-42B1-869F-88E973798610}"/>
              </a:ext>
            </a:extLst>
          </p:cNvPr>
          <p:cNvSpPr>
            <a:spLocks noGrp="1"/>
          </p:cNvSpPr>
          <p:nvPr>
            <p:ph type="sldNum" sz="quarter" idx="4"/>
          </p:nvPr>
        </p:nvSpPr>
        <p:spPr>
          <a:xfrm>
            <a:off x="9310690" y="6551028"/>
            <a:ext cx="214309" cy="174301"/>
          </a:xfrm>
          <a:prstGeom prst="rect">
            <a:avLst/>
          </a:prstGeom>
        </p:spPr>
        <p:txBody>
          <a:bodyPr vert="horz" lIns="0" tIns="0" rIns="0" bIns="0" rtlCol="0" anchor="ctr">
            <a:noAutofit/>
          </a:bodyPr>
          <a:lstStyle>
            <a:lvl1pPr algn="r">
              <a:defRPr sz="800">
                <a:solidFill>
                  <a:schemeClr val="tx1">
                    <a:tint val="75000"/>
                  </a:schemeClr>
                </a:solidFill>
              </a:defRPr>
            </a:lvl1pPr>
          </a:lstStyle>
          <a:p>
            <a:pPr algn="r"/>
            <a:fld id="{F2322A94-3156-491B-AD20-567107C600A1}" type="slidenum">
              <a:rPr lang="en-US"/>
              <a:pPr algn="r"/>
              <a:t>‹Nr.›</a:t>
            </a:fld>
            <a:endParaRPr lang="en-US"/>
          </a:p>
        </p:txBody>
      </p:sp>
      <p:sp>
        <p:nvSpPr>
          <p:cNvPr id="10" name="Title 1"/>
          <p:cNvSpPr>
            <a:spLocks noGrp="1"/>
          </p:cNvSpPr>
          <p:nvPr>
            <p:ph type="title"/>
          </p:nvPr>
        </p:nvSpPr>
        <p:spPr>
          <a:xfrm>
            <a:off x="344488" y="332656"/>
            <a:ext cx="9216000" cy="698400"/>
          </a:xfrm>
        </p:spPr>
        <p:txBody>
          <a:bodyPr/>
          <a:lstStyle>
            <a:lvl1pPr>
              <a:defRPr>
                <a:solidFill>
                  <a:schemeClr val="accent1"/>
                </a:solidFill>
              </a:defRPr>
            </a:lvl1pPr>
          </a:lstStyle>
          <a:p>
            <a:r>
              <a:rPr lang="de-DE"/>
              <a:t>Mastertitelformat bearbeiten</a:t>
            </a:r>
            <a:endParaRPr lang="en-US"/>
          </a:p>
        </p:txBody>
      </p:sp>
      <p:sp>
        <p:nvSpPr>
          <p:cNvPr id="11" name="Text Placeholder 9">
            <a:extLst>
              <a:ext uri="{FF2B5EF4-FFF2-40B4-BE49-F238E27FC236}">
                <a16:creationId xmlns:a16="http://schemas.microsoft.com/office/drawing/2014/main" id="{3E288A1C-E8D4-4017-B26E-21F33E45FAC7}"/>
              </a:ext>
            </a:extLst>
          </p:cNvPr>
          <p:cNvSpPr>
            <a:spLocks noGrp="1"/>
          </p:cNvSpPr>
          <p:nvPr>
            <p:ph type="body" sz="quarter" idx="13"/>
          </p:nvPr>
        </p:nvSpPr>
        <p:spPr>
          <a:xfrm>
            <a:off x="344490" y="1124776"/>
            <a:ext cx="9216000" cy="288000"/>
          </a:xfrm>
        </p:spPr>
        <p:txBody>
          <a:bodyPr/>
          <a:lstStyle>
            <a:lvl1pPr>
              <a:defRPr sz="1600" b="0">
                <a:solidFill>
                  <a:schemeClr val="accent6"/>
                </a:solidFill>
              </a:defRPr>
            </a:lvl1pPr>
          </a:lstStyle>
          <a:p>
            <a:pPr lvl="0"/>
            <a:r>
              <a:rPr lang="de-DE"/>
              <a:t>Mastertextformat bearbeiten</a:t>
            </a:r>
          </a:p>
        </p:txBody>
      </p:sp>
    </p:spTree>
    <p:extLst>
      <p:ext uri="{BB962C8B-B14F-4D97-AF65-F5344CB8AC3E}">
        <p14:creationId xmlns:p14="http://schemas.microsoft.com/office/powerpoint/2010/main" val="510011434"/>
      </p:ext>
    </p:extLst>
  </p:cSld>
  <p:clrMapOvr>
    <a:masterClrMapping/>
  </p:clrMapOvr>
  <p:hf hdr="0" ftr="0" dt="0"/>
  <p:extLst>
    <p:ext uri="{DCECCB84-F9BA-43D5-87BE-67443E8EF086}">
      <p15:sldGuideLst xmlns:p15="http://schemas.microsoft.com/office/powerpoint/2012/main">
        <p15:guide id="1" orient="horz" pos="98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act Slide / Two Members">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8" name="Objekt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C19EFE86-52CE-4A1C-8F6D-2322A3C359D7}"/>
              </a:ext>
            </a:extLst>
          </p:cNvPr>
          <p:cNvSpPr>
            <a:spLocks noGrp="1"/>
          </p:cNvSpPr>
          <p:nvPr>
            <p:ph type="sldNum" sz="quarter" idx="12"/>
          </p:nvPr>
        </p:nvSpPr>
        <p:spPr/>
        <p:txBody>
          <a:bodyPr/>
          <a:lstStyle/>
          <a:p>
            <a:pPr algn="r"/>
            <a:fld id="{F2322A94-3156-491B-AD20-567107C600A1}" type="slidenum">
              <a:rPr lang="en-US"/>
              <a:pPr algn="r"/>
              <a:t>‹Nr.›</a:t>
            </a:fld>
            <a:endParaRPr lang="en-US" dirty="0"/>
          </a:p>
        </p:txBody>
      </p:sp>
      <p:sp>
        <p:nvSpPr>
          <p:cNvPr id="27" name="Picture Placeholder 13">
            <a:extLst>
              <a:ext uri="{FF2B5EF4-FFF2-40B4-BE49-F238E27FC236}">
                <a16:creationId xmlns:a16="http://schemas.microsoft.com/office/drawing/2014/main" id="{2A522C20-B859-42CF-A840-C701F767C10B}"/>
              </a:ext>
            </a:extLst>
          </p:cNvPr>
          <p:cNvSpPr>
            <a:spLocks noGrp="1"/>
          </p:cNvSpPr>
          <p:nvPr>
            <p:ph type="pic" sz="quarter" idx="15" hasCustomPrompt="1"/>
          </p:nvPr>
        </p:nvSpPr>
        <p:spPr>
          <a:xfrm>
            <a:off x="776536" y="2276872"/>
            <a:ext cx="1368000" cy="1944000"/>
          </a:xfrm>
          <a:prstGeom prst="rect">
            <a:avLst/>
          </a:prstGeom>
          <a:noFill/>
        </p:spPr>
        <p:txBody>
          <a:bodyPr wrap="square" tIns="180000">
            <a:noAutofit/>
          </a:bodyPr>
          <a:lstStyle>
            <a:lvl1pPr algn="ctr">
              <a:defRPr>
                <a:latin typeface="+mj-lt"/>
              </a:defRPr>
            </a:lvl1pPr>
          </a:lstStyle>
          <a:p>
            <a:r>
              <a:rPr lang="en-US" dirty="0"/>
              <a:t>Bild</a:t>
            </a:r>
          </a:p>
        </p:txBody>
      </p:sp>
      <p:sp>
        <p:nvSpPr>
          <p:cNvPr id="28" name="Text Placeholder 25">
            <a:extLst>
              <a:ext uri="{FF2B5EF4-FFF2-40B4-BE49-F238E27FC236}">
                <a16:creationId xmlns:a16="http://schemas.microsoft.com/office/drawing/2014/main" id="{4B75FF0C-4D90-44A1-8174-1775BAD6978A}"/>
              </a:ext>
            </a:extLst>
          </p:cNvPr>
          <p:cNvSpPr>
            <a:spLocks noGrp="1"/>
          </p:cNvSpPr>
          <p:nvPr>
            <p:ph type="body" sz="quarter" idx="23"/>
          </p:nvPr>
        </p:nvSpPr>
        <p:spPr bwMode="ltGray">
          <a:xfrm>
            <a:off x="1280592" y="4005064"/>
            <a:ext cx="2952328" cy="864096"/>
          </a:xfrm>
          <a:solidFill>
            <a:schemeClr val="accent1"/>
          </a:solidFill>
        </p:spPr>
        <p:txBody>
          <a:bodyPr wrap="square" lIns="90000" tIns="46800" rIns="90000" bIns="46800" anchor="ctr" anchorCtr="0">
            <a:noAutofit/>
          </a:bodyPr>
          <a:lstStyle>
            <a:lvl1pPr>
              <a:spcBef>
                <a:spcPts val="1200"/>
              </a:spcBef>
              <a:defRPr>
                <a:solidFill>
                  <a:schemeClr val="bg1"/>
                </a:solidFill>
                <a:latin typeface="+mj-lt"/>
              </a:defRPr>
            </a:lvl1pPr>
            <a:lvl2pPr>
              <a:lnSpc>
                <a:spcPct val="100000"/>
              </a:lnSpc>
              <a:spcBef>
                <a:spcPts val="300"/>
              </a:spcBef>
              <a:defRPr sz="1000" b="0">
                <a:solidFill>
                  <a:schemeClr val="bg1"/>
                </a:solidFill>
              </a:defRPr>
            </a:lvl2pPr>
            <a:lvl3pPr marL="0" indent="0">
              <a:buNone/>
              <a:defRPr/>
            </a:lvl3pPr>
          </a:lstStyle>
          <a:p>
            <a:pPr lvl="0"/>
            <a:r>
              <a:rPr lang="de-DE"/>
              <a:t>Mastertextformat bearbeiten</a:t>
            </a:r>
          </a:p>
        </p:txBody>
      </p:sp>
      <p:sp>
        <p:nvSpPr>
          <p:cNvPr id="29" name="Rectangle 8">
            <a:extLst>
              <a:ext uri="{FF2B5EF4-FFF2-40B4-BE49-F238E27FC236}">
                <a16:creationId xmlns:a16="http://schemas.microsoft.com/office/drawing/2014/main" id="{1FB9B418-E23C-4478-A36C-97DE9E8276A7}"/>
              </a:ext>
            </a:extLst>
          </p:cNvPr>
          <p:cNvSpPr/>
          <p:nvPr/>
        </p:nvSpPr>
        <p:spPr>
          <a:xfrm rot="16200000">
            <a:off x="1658847" y="-1323271"/>
            <a:ext cx="1296145" cy="4608000"/>
          </a:xfrm>
          <a:prstGeom prst="rect">
            <a:avLst/>
          </a:prstGeom>
          <a:solidFill>
            <a:srgbClr val="C72A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p>
        </p:txBody>
      </p:sp>
      <p:sp>
        <p:nvSpPr>
          <p:cNvPr id="30" name="Title 6">
            <a:extLst>
              <a:ext uri="{FF2B5EF4-FFF2-40B4-BE49-F238E27FC236}">
                <a16:creationId xmlns:a16="http://schemas.microsoft.com/office/drawing/2014/main" id="{BB52DA60-7E50-48EB-BEB8-943A41BD4CA9}"/>
              </a:ext>
            </a:extLst>
          </p:cNvPr>
          <p:cNvSpPr txBox="1">
            <a:spLocks/>
          </p:cNvSpPr>
          <p:nvPr/>
        </p:nvSpPr>
        <p:spPr>
          <a:xfrm>
            <a:off x="680782" y="785237"/>
            <a:ext cx="2544026" cy="699550"/>
          </a:xfrm>
          <a:prstGeom prst="rect">
            <a:avLst/>
          </a:prstGeom>
        </p:spPr>
        <p:txBody>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r>
              <a:rPr lang="de-DE" sz="4000" dirty="0">
                <a:solidFill>
                  <a:schemeClr val="bg1"/>
                </a:solidFill>
              </a:rPr>
              <a:t>Kontakt</a:t>
            </a:r>
          </a:p>
        </p:txBody>
      </p:sp>
      <p:sp>
        <p:nvSpPr>
          <p:cNvPr id="31" name="Text Placeholder 33">
            <a:extLst>
              <a:ext uri="{FF2B5EF4-FFF2-40B4-BE49-F238E27FC236}">
                <a16:creationId xmlns:a16="http://schemas.microsoft.com/office/drawing/2014/main" id="{B820EB28-5FDE-4276-8FB6-78969FA66DC1}"/>
              </a:ext>
            </a:extLst>
          </p:cNvPr>
          <p:cNvSpPr>
            <a:spLocks noGrp="1"/>
          </p:cNvSpPr>
          <p:nvPr>
            <p:ph type="body" sz="quarter" idx="31"/>
          </p:nvPr>
        </p:nvSpPr>
        <p:spPr>
          <a:xfrm>
            <a:off x="1280592" y="4942268"/>
            <a:ext cx="2952328" cy="935004"/>
          </a:xfrm>
        </p:spPr>
        <p:txBody>
          <a:bodyPr lIns="90000" tIns="46800" rIns="90000" bIns="46800" anchor="ctr"/>
          <a:lstStyle>
            <a:lvl1pPr>
              <a:defRPr sz="1050" baseline="0"/>
            </a:lvl1pPr>
          </a:lstStyle>
          <a:p>
            <a:pPr lvl="0"/>
            <a:r>
              <a:rPr lang="de-DE" sz="1200"/>
              <a:t>Mastertextformat bearbeiten</a:t>
            </a:r>
          </a:p>
        </p:txBody>
      </p:sp>
      <p:sp>
        <p:nvSpPr>
          <p:cNvPr id="32" name="Picture Placeholder 13">
            <a:extLst>
              <a:ext uri="{FF2B5EF4-FFF2-40B4-BE49-F238E27FC236}">
                <a16:creationId xmlns:a16="http://schemas.microsoft.com/office/drawing/2014/main" id="{2A522C20-B859-42CF-A840-C701F767C10B}"/>
              </a:ext>
            </a:extLst>
          </p:cNvPr>
          <p:cNvSpPr>
            <a:spLocks noGrp="1"/>
          </p:cNvSpPr>
          <p:nvPr>
            <p:ph type="pic" sz="quarter" idx="32" hasCustomPrompt="1"/>
          </p:nvPr>
        </p:nvSpPr>
        <p:spPr>
          <a:xfrm>
            <a:off x="4953000" y="2276872"/>
            <a:ext cx="1368000" cy="1944000"/>
          </a:xfrm>
          <a:prstGeom prst="rect">
            <a:avLst/>
          </a:prstGeom>
          <a:noFill/>
        </p:spPr>
        <p:txBody>
          <a:bodyPr wrap="square" tIns="180000">
            <a:noAutofit/>
          </a:bodyPr>
          <a:lstStyle>
            <a:lvl1pPr algn="ctr">
              <a:defRPr>
                <a:latin typeface="+mj-lt"/>
              </a:defRPr>
            </a:lvl1pPr>
          </a:lstStyle>
          <a:p>
            <a:r>
              <a:rPr lang="en-US" dirty="0"/>
              <a:t>Bild</a:t>
            </a:r>
          </a:p>
        </p:txBody>
      </p:sp>
      <p:sp>
        <p:nvSpPr>
          <p:cNvPr id="33" name="Text Placeholder 25">
            <a:extLst>
              <a:ext uri="{FF2B5EF4-FFF2-40B4-BE49-F238E27FC236}">
                <a16:creationId xmlns:a16="http://schemas.microsoft.com/office/drawing/2014/main" id="{4B75FF0C-4D90-44A1-8174-1775BAD6978A}"/>
              </a:ext>
            </a:extLst>
          </p:cNvPr>
          <p:cNvSpPr>
            <a:spLocks noGrp="1"/>
          </p:cNvSpPr>
          <p:nvPr>
            <p:ph type="body" sz="quarter" idx="33"/>
          </p:nvPr>
        </p:nvSpPr>
        <p:spPr bwMode="ltGray">
          <a:xfrm>
            <a:off x="5457056" y="4005064"/>
            <a:ext cx="2952328" cy="864096"/>
          </a:xfrm>
          <a:solidFill>
            <a:schemeClr val="accent1"/>
          </a:solidFill>
        </p:spPr>
        <p:txBody>
          <a:bodyPr wrap="square" lIns="90000" tIns="46800" rIns="90000" bIns="46800" anchor="ctr" anchorCtr="0">
            <a:noAutofit/>
          </a:bodyPr>
          <a:lstStyle>
            <a:lvl1pPr>
              <a:spcBef>
                <a:spcPts val="1200"/>
              </a:spcBef>
              <a:defRPr>
                <a:solidFill>
                  <a:schemeClr val="bg1"/>
                </a:solidFill>
                <a:latin typeface="+mj-lt"/>
              </a:defRPr>
            </a:lvl1pPr>
            <a:lvl2pPr>
              <a:lnSpc>
                <a:spcPct val="100000"/>
              </a:lnSpc>
              <a:spcBef>
                <a:spcPts val="300"/>
              </a:spcBef>
              <a:defRPr sz="1000" b="0">
                <a:solidFill>
                  <a:schemeClr val="bg1"/>
                </a:solidFill>
              </a:defRPr>
            </a:lvl2pPr>
            <a:lvl3pPr marL="0" indent="0">
              <a:buNone/>
              <a:defRPr/>
            </a:lvl3pPr>
          </a:lstStyle>
          <a:p>
            <a:pPr lvl="0"/>
            <a:r>
              <a:rPr lang="de-DE"/>
              <a:t>Mastertextformat bearbeiten</a:t>
            </a:r>
          </a:p>
        </p:txBody>
      </p:sp>
      <p:sp>
        <p:nvSpPr>
          <p:cNvPr id="34" name="Text Placeholder 33">
            <a:extLst>
              <a:ext uri="{FF2B5EF4-FFF2-40B4-BE49-F238E27FC236}">
                <a16:creationId xmlns:a16="http://schemas.microsoft.com/office/drawing/2014/main" id="{B820EB28-5FDE-4276-8FB6-78969FA66DC1}"/>
              </a:ext>
            </a:extLst>
          </p:cNvPr>
          <p:cNvSpPr>
            <a:spLocks noGrp="1"/>
          </p:cNvSpPr>
          <p:nvPr>
            <p:ph type="body" sz="quarter" idx="34"/>
          </p:nvPr>
        </p:nvSpPr>
        <p:spPr>
          <a:xfrm>
            <a:off x="5457056" y="4942268"/>
            <a:ext cx="2952328" cy="935004"/>
          </a:xfrm>
        </p:spPr>
        <p:txBody>
          <a:bodyPr vert="horz" lIns="90000" tIns="46800" rIns="90000" bIns="46800" rtlCol="0" anchor="ctr">
            <a:noAutofit/>
          </a:bodyPr>
          <a:lstStyle>
            <a:lvl1pPr>
              <a:defRPr lang="de-DE" sz="1200" baseline="0" dirty="0"/>
            </a:lvl1pPr>
          </a:lstStyle>
          <a:p>
            <a:pPr lvl="0"/>
            <a:r>
              <a:rPr lang="de-DE" sz="1200"/>
              <a:t>Mastertextformat bearbeiten</a:t>
            </a:r>
          </a:p>
        </p:txBody>
      </p:sp>
    </p:spTree>
    <p:extLst>
      <p:ext uri="{BB962C8B-B14F-4D97-AF65-F5344CB8AC3E}">
        <p14:creationId xmlns:p14="http://schemas.microsoft.com/office/powerpoint/2010/main" val="2112666648"/>
      </p:ext>
    </p:extLst>
  </p:cSld>
  <p:clrMapOvr>
    <a:masterClrMapping/>
  </p:clrMapOvr>
  <p:hf hdr="0" dt="0"/>
  <p:extLst>
    <p:ext uri="{DCECCB84-F9BA-43D5-87BE-67443E8EF086}">
      <p15:sldGuideLst xmlns:p15="http://schemas.microsoft.com/office/powerpoint/2012/main">
        <p15:guide id="1" pos="489">
          <p15:clr>
            <a:srgbClr val="FBAE40"/>
          </p15:clr>
        </p15:guide>
        <p15:guide id="2" pos="3120">
          <p15:clr>
            <a:srgbClr val="FBAE40"/>
          </p15:clr>
        </p15:guide>
        <p15:guide id="3" orient="horz" pos="143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act Slide / Four Members">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8" name="Objekt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C19EFE86-52CE-4A1C-8F6D-2322A3C359D7}"/>
              </a:ext>
            </a:extLst>
          </p:cNvPr>
          <p:cNvSpPr>
            <a:spLocks noGrp="1"/>
          </p:cNvSpPr>
          <p:nvPr>
            <p:ph type="sldNum" sz="quarter" idx="12"/>
          </p:nvPr>
        </p:nvSpPr>
        <p:spPr/>
        <p:txBody>
          <a:bodyPr/>
          <a:lstStyle/>
          <a:p>
            <a:pPr algn="r"/>
            <a:fld id="{F2322A94-3156-491B-AD20-567107C600A1}" type="slidenum">
              <a:rPr lang="en-US"/>
              <a:pPr algn="r"/>
              <a:t>‹Nr.›</a:t>
            </a:fld>
            <a:endParaRPr lang="en-US" dirty="0"/>
          </a:p>
        </p:txBody>
      </p:sp>
      <p:sp>
        <p:nvSpPr>
          <p:cNvPr id="27" name="Picture Placeholder 13">
            <a:extLst>
              <a:ext uri="{FF2B5EF4-FFF2-40B4-BE49-F238E27FC236}">
                <a16:creationId xmlns:a16="http://schemas.microsoft.com/office/drawing/2014/main" id="{2A522C20-B859-42CF-A840-C701F767C10B}"/>
              </a:ext>
            </a:extLst>
          </p:cNvPr>
          <p:cNvSpPr>
            <a:spLocks noGrp="1"/>
          </p:cNvSpPr>
          <p:nvPr>
            <p:ph type="pic" sz="quarter" idx="15" hasCustomPrompt="1"/>
          </p:nvPr>
        </p:nvSpPr>
        <p:spPr>
          <a:xfrm>
            <a:off x="416496" y="1988840"/>
            <a:ext cx="1368000" cy="1944000"/>
          </a:xfrm>
          <a:prstGeom prst="rect">
            <a:avLst/>
          </a:prstGeom>
          <a:noFill/>
        </p:spPr>
        <p:txBody>
          <a:bodyPr wrap="square" tIns="180000">
            <a:noAutofit/>
          </a:bodyPr>
          <a:lstStyle>
            <a:lvl1pPr algn="ctr">
              <a:defRPr>
                <a:latin typeface="+mj-lt"/>
              </a:defRPr>
            </a:lvl1pPr>
          </a:lstStyle>
          <a:p>
            <a:r>
              <a:rPr lang="en-US" dirty="0"/>
              <a:t>Bild</a:t>
            </a:r>
          </a:p>
        </p:txBody>
      </p:sp>
      <p:sp>
        <p:nvSpPr>
          <p:cNvPr id="28" name="Text Placeholder 25">
            <a:extLst>
              <a:ext uri="{FF2B5EF4-FFF2-40B4-BE49-F238E27FC236}">
                <a16:creationId xmlns:a16="http://schemas.microsoft.com/office/drawing/2014/main" id="{4B75FF0C-4D90-44A1-8174-1775BAD6978A}"/>
              </a:ext>
            </a:extLst>
          </p:cNvPr>
          <p:cNvSpPr>
            <a:spLocks noGrp="1"/>
          </p:cNvSpPr>
          <p:nvPr>
            <p:ph type="body" sz="quarter" idx="23"/>
          </p:nvPr>
        </p:nvSpPr>
        <p:spPr bwMode="ltGray">
          <a:xfrm>
            <a:off x="1640632" y="2060848"/>
            <a:ext cx="2952328" cy="864096"/>
          </a:xfrm>
          <a:solidFill>
            <a:schemeClr val="accent1"/>
          </a:solidFill>
        </p:spPr>
        <p:txBody>
          <a:bodyPr wrap="square" lIns="90000" tIns="46800" rIns="90000" bIns="46800" anchor="ctr" anchorCtr="0">
            <a:noAutofit/>
          </a:bodyPr>
          <a:lstStyle>
            <a:lvl1pPr>
              <a:spcBef>
                <a:spcPts val="1200"/>
              </a:spcBef>
              <a:defRPr>
                <a:solidFill>
                  <a:schemeClr val="bg1"/>
                </a:solidFill>
                <a:latin typeface="+mj-lt"/>
              </a:defRPr>
            </a:lvl1pPr>
            <a:lvl2pPr>
              <a:lnSpc>
                <a:spcPct val="100000"/>
              </a:lnSpc>
              <a:spcBef>
                <a:spcPts val="300"/>
              </a:spcBef>
              <a:defRPr sz="1000" b="0">
                <a:solidFill>
                  <a:schemeClr val="bg1"/>
                </a:solidFill>
              </a:defRPr>
            </a:lvl2pPr>
            <a:lvl3pPr marL="0" indent="0">
              <a:buNone/>
              <a:defRPr/>
            </a:lvl3pPr>
          </a:lstStyle>
          <a:p>
            <a:pPr lvl="0"/>
            <a:r>
              <a:rPr lang="de-DE"/>
              <a:t>Mastertextformat bearbeiten</a:t>
            </a:r>
          </a:p>
        </p:txBody>
      </p:sp>
      <p:sp>
        <p:nvSpPr>
          <p:cNvPr id="29" name="Rectangle 8">
            <a:extLst>
              <a:ext uri="{FF2B5EF4-FFF2-40B4-BE49-F238E27FC236}">
                <a16:creationId xmlns:a16="http://schemas.microsoft.com/office/drawing/2014/main" id="{1FB9B418-E23C-4478-A36C-97DE9E8276A7}"/>
              </a:ext>
            </a:extLst>
          </p:cNvPr>
          <p:cNvSpPr/>
          <p:nvPr/>
        </p:nvSpPr>
        <p:spPr>
          <a:xfrm rot="16200000">
            <a:off x="1658847" y="-1323271"/>
            <a:ext cx="1296145" cy="4608000"/>
          </a:xfrm>
          <a:prstGeom prst="rect">
            <a:avLst/>
          </a:prstGeom>
          <a:solidFill>
            <a:srgbClr val="C72A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p>
        </p:txBody>
      </p:sp>
      <p:sp>
        <p:nvSpPr>
          <p:cNvPr id="30" name="Title 6">
            <a:extLst>
              <a:ext uri="{FF2B5EF4-FFF2-40B4-BE49-F238E27FC236}">
                <a16:creationId xmlns:a16="http://schemas.microsoft.com/office/drawing/2014/main" id="{BB52DA60-7E50-48EB-BEB8-943A41BD4CA9}"/>
              </a:ext>
            </a:extLst>
          </p:cNvPr>
          <p:cNvSpPr txBox="1">
            <a:spLocks/>
          </p:cNvSpPr>
          <p:nvPr/>
        </p:nvSpPr>
        <p:spPr>
          <a:xfrm>
            <a:off x="680782" y="785237"/>
            <a:ext cx="2544026" cy="699550"/>
          </a:xfrm>
          <a:prstGeom prst="rect">
            <a:avLst/>
          </a:prstGeom>
        </p:spPr>
        <p:txBody>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r>
              <a:rPr lang="de-DE" sz="4000" dirty="0">
                <a:solidFill>
                  <a:schemeClr val="bg1"/>
                </a:solidFill>
              </a:rPr>
              <a:t>Kontakt</a:t>
            </a:r>
          </a:p>
        </p:txBody>
      </p:sp>
      <p:sp>
        <p:nvSpPr>
          <p:cNvPr id="31" name="Text Placeholder 33">
            <a:extLst>
              <a:ext uri="{FF2B5EF4-FFF2-40B4-BE49-F238E27FC236}">
                <a16:creationId xmlns:a16="http://schemas.microsoft.com/office/drawing/2014/main" id="{B820EB28-5FDE-4276-8FB6-78969FA66DC1}"/>
              </a:ext>
            </a:extLst>
          </p:cNvPr>
          <p:cNvSpPr>
            <a:spLocks noGrp="1"/>
          </p:cNvSpPr>
          <p:nvPr>
            <p:ph type="body" sz="quarter" idx="31"/>
          </p:nvPr>
        </p:nvSpPr>
        <p:spPr>
          <a:xfrm>
            <a:off x="1856656" y="2996952"/>
            <a:ext cx="2736304" cy="935004"/>
          </a:xfrm>
        </p:spPr>
        <p:txBody>
          <a:bodyPr lIns="90000" tIns="46800" rIns="90000" bIns="46800" anchor="ctr"/>
          <a:lstStyle>
            <a:lvl1pPr>
              <a:defRPr sz="1050" baseline="0"/>
            </a:lvl1pPr>
          </a:lstStyle>
          <a:p>
            <a:pPr lvl="0"/>
            <a:r>
              <a:rPr lang="de-DE" sz="1200"/>
              <a:t>Mastertextformat bearbeiten</a:t>
            </a:r>
          </a:p>
        </p:txBody>
      </p:sp>
      <p:sp>
        <p:nvSpPr>
          <p:cNvPr id="25" name="Picture Placeholder 13">
            <a:extLst>
              <a:ext uri="{FF2B5EF4-FFF2-40B4-BE49-F238E27FC236}">
                <a16:creationId xmlns:a16="http://schemas.microsoft.com/office/drawing/2014/main" id="{2A522C20-B859-42CF-A840-C701F767C10B}"/>
              </a:ext>
            </a:extLst>
          </p:cNvPr>
          <p:cNvSpPr>
            <a:spLocks noGrp="1"/>
          </p:cNvSpPr>
          <p:nvPr>
            <p:ph type="pic" sz="quarter" idx="32" hasCustomPrompt="1"/>
          </p:nvPr>
        </p:nvSpPr>
        <p:spPr>
          <a:xfrm>
            <a:off x="5313040" y="1988840"/>
            <a:ext cx="1368000" cy="1944000"/>
          </a:xfrm>
          <a:prstGeom prst="rect">
            <a:avLst/>
          </a:prstGeom>
          <a:noFill/>
        </p:spPr>
        <p:txBody>
          <a:bodyPr wrap="square" tIns="180000">
            <a:noAutofit/>
          </a:bodyPr>
          <a:lstStyle>
            <a:lvl1pPr algn="ctr">
              <a:defRPr>
                <a:latin typeface="+mj-lt"/>
              </a:defRPr>
            </a:lvl1pPr>
          </a:lstStyle>
          <a:p>
            <a:r>
              <a:rPr lang="en-US" dirty="0"/>
              <a:t>Bild</a:t>
            </a:r>
          </a:p>
        </p:txBody>
      </p:sp>
      <p:sp>
        <p:nvSpPr>
          <p:cNvPr id="26" name="Text Placeholder 25">
            <a:extLst>
              <a:ext uri="{FF2B5EF4-FFF2-40B4-BE49-F238E27FC236}">
                <a16:creationId xmlns:a16="http://schemas.microsoft.com/office/drawing/2014/main" id="{4B75FF0C-4D90-44A1-8174-1775BAD6978A}"/>
              </a:ext>
            </a:extLst>
          </p:cNvPr>
          <p:cNvSpPr>
            <a:spLocks noGrp="1"/>
          </p:cNvSpPr>
          <p:nvPr>
            <p:ph type="body" sz="quarter" idx="33"/>
          </p:nvPr>
        </p:nvSpPr>
        <p:spPr bwMode="ltGray">
          <a:xfrm>
            <a:off x="6537176" y="2060848"/>
            <a:ext cx="2952328" cy="864096"/>
          </a:xfrm>
          <a:solidFill>
            <a:schemeClr val="accent1"/>
          </a:solidFill>
        </p:spPr>
        <p:txBody>
          <a:bodyPr wrap="square" lIns="90000" tIns="46800" rIns="90000" bIns="46800" anchor="ctr" anchorCtr="0">
            <a:noAutofit/>
          </a:bodyPr>
          <a:lstStyle>
            <a:lvl1pPr>
              <a:spcBef>
                <a:spcPts val="1200"/>
              </a:spcBef>
              <a:defRPr>
                <a:solidFill>
                  <a:schemeClr val="bg1"/>
                </a:solidFill>
                <a:latin typeface="+mj-lt"/>
              </a:defRPr>
            </a:lvl1pPr>
            <a:lvl2pPr>
              <a:lnSpc>
                <a:spcPct val="100000"/>
              </a:lnSpc>
              <a:spcBef>
                <a:spcPts val="300"/>
              </a:spcBef>
              <a:defRPr sz="1000" b="0">
                <a:solidFill>
                  <a:schemeClr val="bg1"/>
                </a:solidFill>
              </a:defRPr>
            </a:lvl2pPr>
            <a:lvl3pPr marL="0" indent="0">
              <a:buNone/>
              <a:defRPr/>
            </a:lvl3pPr>
          </a:lstStyle>
          <a:p>
            <a:pPr lvl="0"/>
            <a:r>
              <a:rPr lang="de-DE"/>
              <a:t>Mastertextformat bearbeiten</a:t>
            </a:r>
          </a:p>
        </p:txBody>
      </p:sp>
      <p:sp>
        <p:nvSpPr>
          <p:cNvPr id="35" name="Text Placeholder 33">
            <a:extLst>
              <a:ext uri="{FF2B5EF4-FFF2-40B4-BE49-F238E27FC236}">
                <a16:creationId xmlns:a16="http://schemas.microsoft.com/office/drawing/2014/main" id="{B820EB28-5FDE-4276-8FB6-78969FA66DC1}"/>
              </a:ext>
            </a:extLst>
          </p:cNvPr>
          <p:cNvSpPr>
            <a:spLocks noGrp="1"/>
          </p:cNvSpPr>
          <p:nvPr>
            <p:ph type="body" sz="quarter" idx="34"/>
          </p:nvPr>
        </p:nvSpPr>
        <p:spPr>
          <a:xfrm>
            <a:off x="6753200" y="2996952"/>
            <a:ext cx="2736304" cy="935004"/>
          </a:xfrm>
        </p:spPr>
        <p:txBody>
          <a:bodyPr lIns="90000" tIns="46800" rIns="90000" bIns="46800" anchor="ctr"/>
          <a:lstStyle>
            <a:lvl1pPr>
              <a:defRPr sz="1050" baseline="0"/>
            </a:lvl1pPr>
          </a:lstStyle>
          <a:p>
            <a:pPr lvl="0"/>
            <a:r>
              <a:rPr lang="de-DE" sz="1200"/>
              <a:t>Mastertextformat bearbeiten</a:t>
            </a:r>
          </a:p>
        </p:txBody>
      </p:sp>
      <p:sp>
        <p:nvSpPr>
          <p:cNvPr id="36" name="Picture Placeholder 13">
            <a:extLst>
              <a:ext uri="{FF2B5EF4-FFF2-40B4-BE49-F238E27FC236}">
                <a16:creationId xmlns:a16="http://schemas.microsoft.com/office/drawing/2014/main" id="{2A522C20-B859-42CF-A840-C701F767C10B}"/>
              </a:ext>
            </a:extLst>
          </p:cNvPr>
          <p:cNvSpPr>
            <a:spLocks noGrp="1"/>
          </p:cNvSpPr>
          <p:nvPr>
            <p:ph type="pic" sz="quarter" idx="35" hasCustomPrompt="1"/>
          </p:nvPr>
        </p:nvSpPr>
        <p:spPr>
          <a:xfrm>
            <a:off x="416496" y="4221088"/>
            <a:ext cx="1368000" cy="1944000"/>
          </a:xfrm>
          <a:prstGeom prst="rect">
            <a:avLst/>
          </a:prstGeom>
          <a:noFill/>
        </p:spPr>
        <p:txBody>
          <a:bodyPr wrap="square" tIns="180000">
            <a:noAutofit/>
          </a:bodyPr>
          <a:lstStyle>
            <a:lvl1pPr algn="ctr">
              <a:defRPr>
                <a:latin typeface="+mj-lt"/>
              </a:defRPr>
            </a:lvl1pPr>
          </a:lstStyle>
          <a:p>
            <a:r>
              <a:rPr lang="en-US" dirty="0"/>
              <a:t>Bild</a:t>
            </a:r>
          </a:p>
        </p:txBody>
      </p:sp>
      <p:sp>
        <p:nvSpPr>
          <p:cNvPr id="37" name="Text Placeholder 25">
            <a:extLst>
              <a:ext uri="{FF2B5EF4-FFF2-40B4-BE49-F238E27FC236}">
                <a16:creationId xmlns:a16="http://schemas.microsoft.com/office/drawing/2014/main" id="{4B75FF0C-4D90-44A1-8174-1775BAD6978A}"/>
              </a:ext>
            </a:extLst>
          </p:cNvPr>
          <p:cNvSpPr>
            <a:spLocks noGrp="1"/>
          </p:cNvSpPr>
          <p:nvPr>
            <p:ph type="body" sz="quarter" idx="36"/>
          </p:nvPr>
        </p:nvSpPr>
        <p:spPr bwMode="ltGray">
          <a:xfrm>
            <a:off x="1640632" y="4293096"/>
            <a:ext cx="2952328" cy="864096"/>
          </a:xfrm>
          <a:solidFill>
            <a:schemeClr val="accent1"/>
          </a:solidFill>
        </p:spPr>
        <p:txBody>
          <a:bodyPr wrap="square" lIns="90000" tIns="46800" rIns="90000" bIns="46800" anchor="ctr" anchorCtr="0">
            <a:noAutofit/>
          </a:bodyPr>
          <a:lstStyle>
            <a:lvl1pPr>
              <a:spcBef>
                <a:spcPts val="1200"/>
              </a:spcBef>
              <a:defRPr>
                <a:solidFill>
                  <a:schemeClr val="bg1"/>
                </a:solidFill>
                <a:latin typeface="+mj-lt"/>
              </a:defRPr>
            </a:lvl1pPr>
            <a:lvl2pPr>
              <a:lnSpc>
                <a:spcPct val="100000"/>
              </a:lnSpc>
              <a:spcBef>
                <a:spcPts val="300"/>
              </a:spcBef>
              <a:defRPr sz="1000" b="0">
                <a:solidFill>
                  <a:schemeClr val="bg1"/>
                </a:solidFill>
              </a:defRPr>
            </a:lvl2pPr>
            <a:lvl3pPr marL="0" indent="0">
              <a:buNone/>
              <a:defRPr/>
            </a:lvl3pPr>
          </a:lstStyle>
          <a:p>
            <a:pPr lvl="0"/>
            <a:r>
              <a:rPr lang="de-DE"/>
              <a:t>Mastertextformat bearbeiten</a:t>
            </a:r>
          </a:p>
        </p:txBody>
      </p:sp>
      <p:sp>
        <p:nvSpPr>
          <p:cNvPr id="38" name="Text Placeholder 33">
            <a:extLst>
              <a:ext uri="{FF2B5EF4-FFF2-40B4-BE49-F238E27FC236}">
                <a16:creationId xmlns:a16="http://schemas.microsoft.com/office/drawing/2014/main" id="{B820EB28-5FDE-4276-8FB6-78969FA66DC1}"/>
              </a:ext>
            </a:extLst>
          </p:cNvPr>
          <p:cNvSpPr>
            <a:spLocks noGrp="1"/>
          </p:cNvSpPr>
          <p:nvPr>
            <p:ph type="body" sz="quarter" idx="37"/>
          </p:nvPr>
        </p:nvSpPr>
        <p:spPr>
          <a:xfrm>
            <a:off x="1856656" y="5229200"/>
            <a:ext cx="2736304" cy="935004"/>
          </a:xfrm>
        </p:spPr>
        <p:txBody>
          <a:bodyPr lIns="90000" tIns="46800" rIns="90000" bIns="46800" anchor="ctr"/>
          <a:lstStyle>
            <a:lvl1pPr>
              <a:defRPr sz="1050" baseline="0"/>
            </a:lvl1pPr>
          </a:lstStyle>
          <a:p>
            <a:pPr lvl="0"/>
            <a:r>
              <a:rPr lang="de-DE" sz="1200"/>
              <a:t>Mastertextformat bearbeiten</a:t>
            </a:r>
          </a:p>
        </p:txBody>
      </p:sp>
      <p:sp>
        <p:nvSpPr>
          <p:cNvPr id="39" name="Picture Placeholder 13">
            <a:extLst>
              <a:ext uri="{FF2B5EF4-FFF2-40B4-BE49-F238E27FC236}">
                <a16:creationId xmlns:a16="http://schemas.microsoft.com/office/drawing/2014/main" id="{2A522C20-B859-42CF-A840-C701F767C10B}"/>
              </a:ext>
            </a:extLst>
          </p:cNvPr>
          <p:cNvSpPr>
            <a:spLocks noGrp="1"/>
          </p:cNvSpPr>
          <p:nvPr>
            <p:ph type="pic" sz="quarter" idx="38" hasCustomPrompt="1"/>
          </p:nvPr>
        </p:nvSpPr>
        <p:spPr>
          <a:xfrm>
            <a:off x="5313040" y="4221088"/>
            <a:ext cx="1368000" cy="1944000"/>
          </a:xfrm>
          <a:prstGeom prst="rect">
            <a:avLst/>
          </a:prstGeom>
          <a:noFill/>
        </p:spPr>
        <p:txBody>
          <a:bodyPr wrap="square" tIns="180000">
            <a:noAutofit/>
          </a:bodyPr>
          <a:lstStyle>
            <a:lvl1pPr algn="ctr">
              <a:defRPr>
                <a:latin typeface="+mj-lt"/>
              </a:defRPr>
            </a:lvl1pPr>
          </a:lstStyle>
          <a:p>
            <a:r>
              <a:rPr lang="en-US" dirty="0"/>
              <a:t>Bild</a:t>
            </a:r>
          </a:p>
        </p:txBody>
      </p:sp>
      <p:sp>
        <p:nvSpPr>
          <p:cNvPr id="40" name="Text Placeholder 25">
            <a:extLst>
              <a:ext uri="{FF2B5EF4-FFF2-40B4-BE49-F238E27FC236}">
                <a16:creationId xmlns:a16="http://schemas.microsoft.com/office/drawing/2014/main" id="{4B75FF0C-4D90-44A1-8174-1775BAD6978A}"/>
              </a:ext>
            </a:extLst>
          </p:cNvPr>
          <p:cNvSpPr>
            <a:spLocks noGrp="1"/>
          </p:cNvSpPr>
          <p:nvPr>
            <p:ph type="body" sz="quarter" idx="39"/>
          </p:nvPr>
        </p:nvSpPr>
        <p:spPr bwMode="ltGray">
          <a:xfrm>
            <a:off x="6537176" y="4293096"/>
            <a:ext cx="2952328" cy="864096"/>
          </a:xfrm>
          <a:solidFill>
            <a:schemeClr val="accent1"/>
          </a:solidFill>
        </p:spPr>
        <p:txBody>
          <a:bodyPr wrap="square" lIns="90000" tIns="46800" rIns="90000" bIns="46800" anchor="ctr" anchorCtr="0">
            <a:noAutofit/>
          </a:bodyPr>
          <a:lstStyle>
            <a:lvl1pPr>
              <a:spcBef>
                <a:spcPts val="1200"/>
              </a:spcBef>
              <a:defRPr>
                <a:solidFill>
                  <a:schemeClr val="bg1"/>
                </a:solidFill>
                <a:latin typeface="+mj-lt"/>
              </a:defRPr>
            </a:lvl1pPr>
            <a:lvl2pPr>
              <a:lnSpc>
                <a:spcPct val="100000"/>
              </a:lnSpc>
              <a:spcBef>
                <a:spcPts val="300"/>
              </a:spcBef>
              <a:defRPr sz="1000" b="0">
                <a:solidFill>
                  <a:schemeClr val="bg1"/>
                </a:solidFill>
              </a:defRPr>
            </a:lvl2pPr>
            <a:lvl3pPr marL="0" indent="0">
              <a:buNone/>
              <a:defRPr/>
            </a:lvl3pPr>
          </a:lstStyle>
          <a:p>
            <a:pPr lvl="0"/>
            <a:r>
              <a:rPr lang="de-DE"/>
              <a:t>Mastertextformat bearbeiten</a:t>
            </a:r>
          </a:p>
        </p:txBody>
      </p:sp>
      <p:sp>
        <p:nvSpPr>
          <p:cNvPr id="41" name="Text Placeholder 33">
            <a:extLst>
              <a:ext uri="{FF2B5EF4-FFF2-40B4-BE49-F238E27FC236}">
                <a16:creationId xmlns:a16="http://schemas.microsoft.com/office/drawing/2014/main" id="{B820EB28-5FDE-4276-8FB6-78969FA66DC1}"/>
              </a:ext>
            </a:extLst>
          </p:cNvPr>
          <p:cNvSpPr>
            <a:spLocks noGrp="1"/>
          </p:cNvSpPr>
          <p:nvPr>
            <p:ph type="body" sz="quarter" idx="40"/>
          </p:nvPr>
        </p:nvSpPr>
        <p:spPr>
          <a:xfrm>
            <a:off x="6753200" y="5229200"/>
            <a:ext cx="2736304" cy="935004"/>
          </a:xfrm>
        </p:spPr>
        <p:txBody>
          <a:bodyPr lIns="90000" tIns="46800" rIns="90000" bIns="46800" anchor="ctr"/>
          <a:lstStyle>
            <a:lvl1pPr>
              <a:defRPr sz="1050" baseline="0"/>
            </a:lvl1pPr>
          </a:lstStyle>
          <a:p>
            <a:pPr lvl="0"/>
            <a:r>
              <a:rPr lang="de-DE" sz="1200"/>
              <a:t>Mastertextformat bearbeiten</a:t>
            </a:r>
          </a:p>
        </p:txBody>
      </p:sp>
    </p:spTree>
    <p:extLst>
      <p:ext uri="{BB962C8B-B14F-4D97-AF65-F5344CB8AC3E}">
        <p14:creationId xmlns:p14="http://schemas.microsoft.com/office/powerpoint/2010/main" val="2126856429"/>
      </p:ext>
    </p:extLst>
  </p:cSld>
  <p:clrMapOvr>
    <a:masterClrMapping/>
  </p:clrMapOvr>
  <p:hf hdr="0" dt="0"/>
  <p:extLst>
    <p:ext uri="{DCECCB84-F9BA-43D5-87BE-67443E8EF086}">
      <p15:sldGuideLst xmlns:p15="http://schemas.microsoft.com/office/powerpoint/2012/main">
        <p15:guide id="1" pos="3347">
          <p15:clr>
            <a:srgbClr val="FBAE40"/>
          </p15:clr>
        </p15:guide>
        <p15:guide id="2" pos="262">
          <p15:clr>
            <a:srgbClr val="FBAE40"/>
          </p15:clr>
        </p15:guide>
        <p15:guide id="3" orient="horz" pos="1253">
          <p15:clr>
            <a:srgbClr val="FBAE40"/>
          </p15:clr>
        </p15:guide>
        <p15:guide id="4" orient="horz" pos="2659">
          <p15:clr>
            <a:srgbClr val="FBAE40"/>
          </p15:clr>
        </p15:guide>
        <p15:guide id="5" pos="2893">
          <p15:clr>
            <a:srgbClr val="FBAE40"/>
          </p15:clr>
        </p15:guide>
        <p15:guide id="6" pos="597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AE7BA-118C-4471-BC56-4B373F3BF315}"/>
              </a:ext>
            </a:extLst>
          </p:cNvPr>
          <p:cNvSpPr>
            <a:spLocks noGrp="1"/>
          </p:cNvSpPr>
          <p:nvPr>
            <p:ph type="title"/>
          </p:nvPr>
        </p:nvSpPr>
        <p:spPr/>
        <p:txBody>
          <a:bodyPr/>
          <a:lstStyle/>
          <a:p>
            <a:r>
              <a:rPr lang="de-DE"/>
              <a:t>Mastertitelformat bearbeiten</a:t>
            </a:r>
            <a:endParaRPr lang="en-US"/>
          </a:p>
        </p:txBody>
      </p:sp>
      <p:sp>
        <p:nvSpPr>
          <p:cNvPr id="3" name="Date Placeholder 2">
            <a:extLst>
              <a:ext uri="{FF2B5EF4-FFF2-40B4-BE49-F238E27FC236}">
                <a16:creationId xmlns:a16="http://schemas.microsoft.com/office/drawing/2014/main" id="{E24F731E-73B2-451A-977A-97400559258A}"/>
              </a:ext>
            </a:extLst>
          </p:cNvPr>
          <p:cNvSpPr>
            <a:spLocks noGrp="1"/>
          </p:cNvSpPr>
          <p:nvPr>
            <p:ph type="dt" sz="half" idx="10"/>
          </p:nvPr>
        </p:nvSpPr>
        <p:spPr/>
        <p:txBody>
          <a:bodyPr/>
          <a:lstStyle/>
          <a:p>
            <a:fld id="{96CE176C-65D3-409E-BF6F-8B8AB3053D51}" type="datetime1">
              <a:rPr lang="de-DE"/>
              <a:pPr/>
              <a:t>02.12.2025</a:t>
            </a:fld>
            <a:endParaRPr lang="de-DE"/>
          </a:p>
        </p:txBody>
      </p:sp>
      <p:sp>
        <p:nvSpPr>
          <p:cNvPr id="4" name="Footer Placeholder 3">
            <a:extLst>
              <a:ext uri="{FF2B5EF4-FFF2-40B4-BE49-F238E27FC236}">
                <a16:creationId xmlns:a16="http://schemas.microsoft.com/office/drawing/2014/main" id="{81B0588C-F6CF-433A-B312-4D2427AD815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4708739-4658-41F1-AEC1-81C97B489D9D}"/>
              </a:ext>
            </a:extLst>
          </p:cNvPr>
          <p:cNvSpPr>
            <a:spLocks noGrp="1"/>
          </p:cNvSpPr>
          <p:nvPr>
            <p:ph type="sldNum" sz="quarter" idx="12"/>
          </p:nvPr>
        </p:nvSpPr>
        <p:spPr/>
        <p:txBody>
          <a:bodyPr/>
          <a:lstStyle/>
          <a:p>
            <a:pPr algn="r"/>
            <a:fld id="{F2322A94-3156-491B-AD20-567107C600A1}" type="slidenum">
              <a:rPr lang="en-US"/>
              <a:pPr algn="r"/>
              <a:t>‹Nr.›</a:t>
            </a:fld>
            <a:endParaRPr lang="en-US"/>
          </a:p>
        </p:txBody>
      </p:sp>
    </p:spTree>
    <p:extLst>
      <p:ext uri="{BB962C8B-B14F-4D97-AF65-F5344CB8AC3E}">
        <p14:creationId xmlns:p14="http://schemas.microsoft.com/office/powerpoint/2010/main" val="1953100236"/>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Nu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AE7BA-118C-4471-BC56-4B373F3BF315}"/>
              </a:ext>
            </a:extLst>
          </p:cNvPr>
          <p:cNvSpPr>
            <a:spLocks noGrp="1"/>
          </p:cNvSpPr>
          <p:nvPr>
            <p:ph type="title"/>
          </p:nvPr>
        </p:nvSpPr>
        <p:spPr/>
        <p:txBody>
          <a:bodyPr/>
          <a:lstStyle/>
          <a:p>
            <a:r>
              <a:rPr lang="de-DE"/>
              <a:t>Mastertitelformat bearbeiten</a:t>
            </a:r>
            <a:endParaRPr lang="en-US"/>
          </a:p>
        </p:txBody>
      </p:sp>
      <p:sp>
        <p:nvSpPr>
          <p:cNvPr id="3" name="Date Placeholder 2">
            <a:extLst>
              <a:ext uri="{FF2B5EF4-FFF2-40B4-BE49-F238E27FC236}">
                <a16:creationId xmlns:a16="http://schemas.microsoft.com/office/drawing/2014/main" id="{E24F731E-73B2-451A-977A-97400559258A}"/>
              </a:ext>
            </a:extLst>
          </p:cNvPr>
          <p:cNvSpPr>
            <a:spLocks noGrp="1"/>
          </p:cNvSpPr>
          <p:nvPr>
            <p:ph type="dt" sz="half" idx="10"/>
          </p:nvPr>
        </p:nvSpPr>
        <p:spPr/>
        <p:txBody>
          <a:bodyPr/>
          <a:lstStyle/>
          <a:p>
            <a:fld id="{96CE176C-65D3-409E-BF6F-8B8AB3053D51}" type="datetime1">
              <a:rPr lang="de-DE"/>
              <a:pPr/>
              <a:t>02.12.2025</a:t>
            </a:fld>
            <a:endParaRPr lang="de-DE"/>
          </a:p>
        </p:txBody>
      </p:sp>
      <p:sp>
        <p:nvSpPr>
          <p:cNvPr id="4" name="Footer Placeholder 3">
            <a:extLst>
              <a:ext uri="{FF2B5EF4-FFF2-40B4-BE49-F238E27FC236}">
                <a16:creationId xmlns:a16="http://schemas.microsoft.com/office/drawing/2014/main" id="{81B0588C-F6CF-433A-B312-4D2427AD815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4708739-4658-41F1-AEC1-81C97B489D9D}"/>
              </a:ext>
            </a:extLst>
          </p:cNvPr>
          <p:cNvSpPr>
            <a:spLocks noGrp="1"/>
          </p:cNvSpPr>
          <p:nvPr>
            <p:ph type="sldNum" sz="quarter" idx="12"/>
          </p:nvPr>
        </p:nvSpPr>
        <p:spPr/>
        <p:txBody>
          <a:bodyPr/>
          <a:lstStyle/>
          <a:p>
            <a:pPr algn="r"/>
            <a:fld id="{F2322A94-3156-491B-AD20-567107C600A1}" type="slidenum">
              <a:rPr lang="en-US"/>
              <a:pPr algn="r"/>
              <a:t>‹Nr.›</a:t>
            </a:fld>
            <a:endParaRPr lang="en-US"/>
          </a:p>
        </p:txBody>
      </p:sp>
      <p:sp>
        <p:nvSpPr>
          <p:cNvPr id="7" name="Textplatzhalter 6"/>
          <p:cNvSpPr>
            <a:spLocks noGrp="1"/>
          </p:cNvSpPr>
          <p:nvPr>
            <p:ph type="body" sz="quarter" idx="13" hasCustomPrompt="1"/>
          </p:nvPr>
        </p:nvSpPr>
        <p:spPr>
          <a:xfrm>
            <a:off x="344488" y="1556791"/>
            <a:ext cx="9217025" cy="4751933"/>
          </a:xfrm>
        </p:spPr>
        <p:txBody>
          <a:bodyPr/>
          <a:lstStyle>
            <a:lvl1pPr marL="179388" indent="-179388">
              <a:spcBef>
                <a:spcPts val="0"/>
              </a:spcBef>
              <a:spcAft>
                <a:spcPts val="600"/>
              </a:spcAft>
              <a:buClr>
                <a:schemeClr val="accent1"/>
              </a:buClr>
              <a:buFont typeface="Wingdings" panose="05000000000000000000" pitchFamily="2" charset="2"/>
              <a:buChar char="§"/>
              <a:defRPr sz="2000"/>
            </a:lvl1pPr>
            <a:lvl2pPr marL="358775" indent="-179388">
              <a:buFont typeface="Symbol" panose="05050102010706020507" pitchFamily="18" charset="2"/>
              <a:buChar char="-"/>
              <a:defRPr sz="2000"/>
            </a:lvl2pPr>
            <a:lvl3pPr marL="538163" indent="-179388">
              <a:buFont typeface="Arial" panose="020B0604020202020204" pitchFamily="34" charset="0"/>
              <a:buChar char="•"/>
              <a:defRPr sz="2000"/>
            </a:lvl3pPr>
            <a:lvl4pPr marL="179388" indent="-179388">
              <a:buFont typeface="Wingdings 3" panose="05040102010807070707" pitchFamily="18" charset="2"/>
              <a:buChar cha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th level</a:t>
            </a:r>
          </a:p>
          <a:p>
            <a:pPr lvl="6"/>
            <a:r>
              <a:rPr lang="en-US"/>
              <a:t>7th level</a:t>
            </a:r>
          </a:p>
          <a:p>
            <a:pPr lvl="7"/>
            <a:r>
              <a:rPr lang="en-US"/>
              <a:t>8th level</a:t>
            </a:r>
          </a:p>
          <a:p>
            <a:pPr lvl="8"/>
            <a:r>
              <a:rPr lang="en-US"/>
              <a:t>9th level</a:t>
            </a:r>
          </a:p>
        </p:txBody>
      </p:sp>
      <p:sp>
        <p:nvSpPr>
          <p:cNvPr id="8" name="Text Placeholder 9">
            <a:extLst>
              <a:ext uri="{FF2B5EF4-FFF2-40B4-BE49-F238E27FC236}">
                <a16:creationId xmlns:a16="http://schemas.microsoft.com/office/drawing/2014/main" id="{3E288A1C-E8D4-4017-B26E-21F33E45FAC7}"/>
              </a:ext>
            </a:extLst>
          </p:cNvPr>
          <p:cNvSpPr>
            <a:spLocks noGrp="1"/>
          </p:cNvSpPr>
          <p:nvPr>
            <p:ph type="body" sz="quarter" idx="14"/>
          </p:nvPr>
        </p:nvSpPr>
        <p:spPr>
          <a:xfrm>
            <a:off x="344490" y="1124776"/>
            <a:ext cx="9216000" cy="288000"/>
          </a:xfrm>
        </p:spPr>
        <p:txBody>
          <a:bodyPr/>
          <a:lstStyle>
            <a:lvl1pPr>
              <a:defRPr sz="1600" b="0">
                <a:solidFill>
                  <a:schemeClr val="accent6"/>
                </a:solidFill>
              </a:defRPr>
            </a:lvl1pPr>
          </a:lstStyle>
          <a:p>
            <a:pPr lvl="0"/>
            <a:r>
              <a:rPr lang="de-DE"/>
              <a:t>Mastertextformat bearbeiten</a:t>
            </a:r>
          </a:p>
        </p:txBody>
      </p:sp>
    </p:spTree>
    <p:extLst>
      <p:ext uri="{BB962C8B-B14F-4D97-AF65-F5344CB8AC3E}">
        <p14:creationId xmlns:p14="http://schemas.microsoft.com/office/powerpoint/2010/main" val="2303545855"/>
      </p:ext>
    </p:extLst>
  </p:cSld>
  <p:clrMapOvr>
    <a:masterClrMapping/>
  </p:clrMapOvr>
  <p:extLst>
    <p:ext uri="{DCECCB84-F9BA-43D5-87BE-67443E8EF086}">
      <p15:sldGuideLst xmlns:p15="http://schemas.microsoft.com/office/powerpoint/2012/main">
        <p15:guide id="1" orient="horz" pos="98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6555C94-5CB4-424F-9FA3-8D307ADB8603}"/>
              </a:ext>
            </a:extLst>
          </p:cNvPr>
          <p:cNvSpPr>
            <a:spLocks noGrp="1"/>
          </p:cNvSpPr>
          <p:nvPr>
            <p:ph type="sldNum" sz="quarter" idx="12"/>
          </p:nvPr>
        </p:nvSpPr>
        <p:spPr/>
        <p:txBody>
          <a:bodyPr/>
          <a:lstStyle/>
          <a:p>
            <a:pPr algn="r"/>
            <a:fld id="{F2322A94-3156-491B-AD20-567107C600A1}" type="slidenum">
              <a:rPr lang="en-US"/>
              <a:pPr algn="r"/>
              <a:t>‹Nr.›</a:t>
            </a:fld>
            <a:endParaRPr lang="en-US"/>
          </a:p>
        </p:txBody>
      </p:sp>
      <p:sp>
        <p:nvSpPr>
          <p:cNvPr id="6" name="Rectangle 8">
            <a:extLst>
              <a:ext uri="{FF2B5EF4-FFF2-40B4-BE49-F238E27FC236}">
                <a16:creationId xmlns:a16="http://schemas.microsoft.com/office/drawing/2014/main" id="{1FB9B418-E23C-4478-A36C-97DE9E8276A7}"/>
              </a:ext>
            </a:extLst>
          </p:cNvPr>
          <p:cNvSpPr/>
          <p:nvPr/>
        </p:nvSpPr>
        <p:spPr>
          <a:xfrm rot="16200000">
            <a:off x="1658847" y="-1323271"/>
            <a:ext cx="1296145" cy="4608000"/>
          </a:xfrm>
          <a:prstGeom prst="rect">
            <a:avLst/>
          </a:prstGeom>
          <a:solidFill>
            <a:srgbClr val="C72A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Tree>
    <p:extLst>
      <p:ext uri="{BB962C8B-B14F-4D97-AF65-F5344CB8AC3E}">
        <p14:creationId xmlns:p14="http://schemas.microsoft.com/office/powerpoint/2010/main" val="3577985449"/>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Slide Logo">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6555C94-5CB4-424F-9FA3-8D307ADB8603}"/>
              </a:ext>
            </a:extLst>
          </p:cNvPr>
          <p:cNvSpPr>
            <a:spLocks noGrp="1"/>
          </p:cNvSpPr>
          <p:nvPr>
            <p:ph type="sldNum" sz="quarter" idx="12"/>
          </p:nvPr>
        </p:nvSpPr>
        <p:spPr/>
        <p:txBody>
          <a:bodyPr/>
          <a:lstStyle/>
          <a:p>
            <a:pPr algn="r"/>
            <a:fld id="{F2322A94-3156-491B-AD20-567107C600A1}" type="slidenum">
              <a:rPr lang="en-US"/>
              <a:pPr algn="r"/>
              <a:t>‹Nr.›</a:t>
            </a:fld>
            <a:endParaRPr lang="en-US"/>
          </a:p>
        </p:txBody>
      </p:sp>
    </p:spTree>
    <p:extLst>
      <p:ext uri="{BB962C8B-B14F-4D97-AF65-F5344CB8AC3E}">
        <p14:creationId xmlns:p14="http://schemas.microsoft.com/office/powerpoint/2010/main" val="3337591669"/>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Break Slid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723209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6B42179B-1D37-469B-BE48-D48C37776EE2}"/>
              </a:ext>
            </a:extLst>
          </p:cNvPr>
          <p:cNvSpPr>
            <a:spLocks noGrp="1"/>
          </p:cNvSpPr>
          <p:nvPr>
            <p:ph type="sldNum" sz="quarter" idx="4"/>
          </p:nvPr>
        </p:nvSpPr>
        <p:spPr>
          <a:xfrm>
            <a:off x="9310690" y="6551028"/>
            <a:ext cx="214309" cy="174301"/>
          </a:xfrm>
          <a:prstGeom prst="rect">
            <a:avLst/>
          </a:prstGeom>
        </p:spPr>
        <p:txBody>
          <a:bodyPr vert="horz" lIns="0" tIns="0" rIns="0" bIns="0" rtlCol="0" anchor="ctr">
            <a:noAutofit/>
          </a:bodyPr>
          <a:lstStyle>
            <a:lvl1pPr algn="r">
              <a:defRPr sz="800">
                <a:noFill/>
              </a:defRPr>
            </a:lvl1pPr>
          </a:lstStyle>
          <a:p>
            <a:fld id="{F2322A94-3156-491B-AD20-567107C600A1}" type="slidenum">
              <a:rPr lang="en-US"/>
              <a:pPr/>
              <a:t>‹Nr.›</a:t>
            </a:fld>
            <a:endParaRPr lang="en-US"/>
          </a:p>
        </p:txBody>
      </p:sp>
      <p:sp>
        <p:nvSpPr>
          <p:cNvPr id="12" name="Rectangle 8">
            <a:extLst>
              <a:ext uri="{FF2B5EF4-FFF2-40B4-BE49-F238E27FC236}">
                <a16:creationId xmlns:a16="http://schemas.microsoft.com/office/drawing/2014/main" id="{1FB9B418-E23C-4478-A36C-97DE9E8276A7}"/>
              </a:ext>
            </a:extLst>
          </p:cNvPr>
          <p:cNvSpPr/>
          <p:nvPr/>
        </p:nvSpPr>
        <p:spPr>
          <a:xfrm rot="16200000">
            <a:off x="1658847" y="-1323271"/>
            <a:ext cx="1296145" cy="4608000"/>
          </a:xfrm>
          <a:prstGeom prst="rect">
            <a:avLst/>
          </a:prstGeom>
          <a:solidFill>
            <a:srgbClr val="C72A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14" name="Textplatzhalter 2"/>
          <p:cNvSpPr>
            <a:spLocks noGrp="1"/>
          </p:cNvSpPr>
          <p:nvPr>
            <p:ph type="body" sz="quarter" idx="13" hasCustomPrompt="1"/>
          </p:nvPr>
        </p:nvSpPr>
        <p:spPr>
          <a:xfrm>
            <a:off x="704850" y="764704"/>
            <a:ext cx="3600078" cy="719138"/>
          </a:xfrm>
        </p:spPr>
        <p:txBody>
          <a:bodyPr lIns="90000" tIns="46800" rIns="90000" bIns="46800"/>
          <a:lstStyle>
            <a:lvl1pPr marL="0" algn="l" defTabSz="914400" rtl="0" eaLnBrk="1" latinLnBrk="0" hangingPunct="1">
              <a:lnSpc>
                <a:spcPct val="90000"/>
              </a:lnSpc>
              <a:spcBef>
                <a:spcPct val="0"/>
              </a:spcBef>
              <a:buNone/>
              <a:defRPr lang="de-DE" sz="4000" kern="1200" dirty="0">
                <a:solidFill>
                  <a:schemeClr val="bg1"/>
                </a:solidFill>
                <a:latin typeface="+mj-lt"/>
                <a:ea typeface="+mj-ea"/>
                <a:cs typeface="+mj-cs"/>
              </a:defRPr>
            </a:lvl1pPr>
          </a:lstStyle>
          <a:p>
            <a:pPr lvl="0"/>
            <a:r>
              <a:rPr lang="de-DE"/>
              <a:t>Text</a:t>
            </a:r>
          </a:p>
        </p:txBody>
      </p:sp>
    </p:spTree>
    <p:extLst>
      <p:ext uri="{BB962C8B-B14F-4D97-AF65-F5344CB8AC3E}">
        <p14:creationId xmlns:p14="http://schemas.microsoft.com/office/powerpoint/2010/main" val="261569537"/>
      </p:ext>
    </p:extLst>
  </p:cSld>
  <p:clrMapOvr>
    <a:masterClrMapping/>
  </p:clrMapOvr>
  <p:hf hd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lose Slide">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7084C28-2DC4-4D33-A561-E1E59C3CD130}"/>
              </a:ext>
            </a:extLst>
          </p:cNvPr>
          <p:cNvSpPr>
            <a:spLocks noGrp="1"/>
          </p:cNvSpPr>
          <p:nvPr>
            <p:ph type="sldNum" sz="quarter" idx="12"/>
          </p:nvPr>
        </p:nvSpPr>
        <p:spPr/>
        <p:txBody>
          <a:bodyPr/>
          <a:lstStyle>
            <a:lvl1pPr>
              <a:defRPr>
                <a:noFill/>
              </a:defRPr>
            </a:lvl1pPr>
          </a:lstStyle>
          <a:p>
            <a:fld id="{F2322A94-3156-491B-AD20-567107C600A1}" type="slidenum">
              <a:rPr lang="en-US"/>
              <a:pPr/>
              <a:t>‹Nr.›</a:t>
            </a:fld>
            <a:endParaRPr lang="en-US"/>
          </a:p>
        </p:txBody>
      </p:sp>
      <p:sp>
        <p:nvSpPr>
          <p:cNvPr id="9" name="Rectangle 8">
            <a:extLst>
              <a:ext uri="{FF2B5EF4-FFF2-40B4-BE49-F238E27FC236}">
                <a16:creationId xmlns:a16="http://schemas.microsoft.com/office/drawing/2014/main" id="{1FB9B418-E23C-4478-A36C-97DE9E8276A7}"/>
              </a:ext>
            </a:extLst>
          </p:cNvPr>
          <p:cNvSpPr/>
          <p:nvPr/>
        </p:nvSpPr>
        <p:spPr>
          <a:xfrm>
            <a:off x="-4" y="1412776"/>
            <a:ext cx="8136000" cy="3600400"/>
          </a:xfrm>
          <a:prstGeom prst="rect">
            <a:avLst/>
          </a:prstGeom>
          <a:solidFill>
            <a:srgbClr val="C72A3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L="88900" indent="0"/>
            <a:r>
              <a:rPr lang="de-DE" sz="4000">
                <a:latin typeface="+mj-lt"/>
              </a:rPr>
              <a:t>Vielen Dank</a:t>
            </a:r>
          </a:p>
          <a:p>
            <a:pPr marL="88900" indent="0"/>
            <a:r>
              <a:rPr lang="de-DE" sz="4000">
                <a:latin typeface="+mj-lt"/>
              </a:rPr>
              <a:t>für Ihre Aufmerksamkeit</a:t>
            </a:r>
          </a:p>
        </p:txBody>
      </p:sp>
    </p:spTree>
    <p:extLst>
      <p:ext uri="{BB962C8B-B14F-4D97-AF65-F5344CB8AC3E}">
        <p14:creationId xmlns:p14="http://schemas.microsoft.com/office/powerpoint/2010/main" val="322655627"/>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act Slide / Two Members">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8" name="Objekt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C19EFE86-52CE-4A1C-8F6D-2322A3C359D7}"/>
              </a:ext>
            </a:extLst>
          </p:cNvPr>
          <p:cNvSpPr>
            <a:spLocks noGrp="1"/>
          </p:cNvSpPr>
          <p:nvPr>
            <p:ph type="sldNum" sz="quarter" idx="12"/>
          </p:nvPr>
        </p:nvSpPr>
        <p:spPr/>
        <p:txBody>
          <a:bodyPr/>
          <a:lstStyle/>
          <a:p>
            <a:pPr algn="r"/>
            <a:fld id="{F2322A94-3156-491B-AD20-567107C600A1}" type="slidenum">
              <a:rPr lang="en-US"/>
              <a:pPr algn="r"/>
              <a:t>‹Nr.›</a:t>
            </a:fld>
            <a:endParaRPr lang="en-US"/>
          </a:p>
        </p:txBody>
      </p:sp>
      <p:sp>
        <p:nvSpPr>
          <p:cNvPr id="27" name="Picture Placeholder 13">
            <a:extLst>
              <a:ext uri="{FF2B5EF4-FFF2-40B4-BE49-F238E27FC236}">
                <a16:creationId xmlns:a16="http://schemas.microsoft.com/office/drawing/2014/main" id="{2A522C20-B859-42CF-A840-C701F767C10B}"/>
              </a:ext>
            </a:extLst>
          </p:cNvPr>
          <p:cNvSpPr>
            <a:spLocks noGrp="1"/>
          </p:cNvSpPr>
          <p:nvPr>
            <p:ph type="pic" sz="quarter" idx="15" hasCustomPrompt="1"/>
          </p:nvPr>
        </p:nvSpPr>
        <p:spPr>
          <a:xfrm>
            <a:off x="776536" y="2276872"/>
            <a:ext cx="1368000" cy="1944000"/>
          </a:xfrm>
          <a:prstGeom prst="rect">
            <a:avLst/>
          </a:prstGeom>
          <a:noFill/>
        </p:spPr>
        <p:txBody>
          <a:bodyPr wrap="square" tIns="180000">
            <a:noAutofit/>
          </a:bodyPr>
          <a:lstStyle>
            <a:lvl1pPr algn="ctr">
              <a:defRPr>
                <a:latin typeface="+mj-lt"/>
              </a:defRPr>
            </a:lvl1pPr>
          </a:lstStyle>
          <a:p>
            <a:r>
              <a:rPr lang="en-US"/>
              <a:t>Bild</a:t>
            </a:r>
          </a:p>
        </p:txBody>
      </p:sp>
      <p:sp>
        <p:nvSpPr>
          <p:cNvPr id="28" name="Text Placeholder 25">
            <a:extLst>
              <a:ext uri="{FF2B5EF4-FFF2-40B4-BE49-F238E27FC236}">
                <a16:creationId xmlns:a16="http://schemas.microsoft.com/office/drawing/2014/main" id="{4B75FF0C-4D90-44A1-8174-1775BAD6978A}"/>
              </a:ext>
            </a:extLst>
          </p:cNvPr>
          <p:cNvSpPr>
            <a:spLocks noGrp="1"/>
          </p:cNvSpPr>
          <p:nvPr>
            <p:ph type="body" sz="quarter" idx="23"/>
          </p:nvPr>
        </p:nvSpPr>
        <p:spPr bwMode="ltGray">
          <a:xfrm>
            <a:off x="1280592" y="4005064"/>
            <a:ext cx="2952328" cy="864096"/>
          </a:xfrm>
          <a:solidFill>
            <a:schemeClr val="accent1"/>
          </a:solidFill>
        </p:spPr>
        <p:txBody>
          <a:bodyPr wrap="square" lIns="90000" tIns="46800" rIns="90000" bIns="46800" anchor="ctr" anchorCtr="0">
            <a:noAutofit/>
          </a:bodyPr>
          <a:lstStyle>
            <a:lvl1pPr>
              <a:spcBef>
                <a:spcPts val="1200"/>
              </a:spcBef>
              <a:defRPr>
                <a:solidFill>
                  <a:schemeClr val="bg1"/>
                </a:solidFill>
                <a:latin typeface="+mj-lt"/>
              </a:defRPr>
            </a:lvl1pPr>
            <a:lvl2pPr>
              <a:lnSpc>
                <a:spcPct val="100000"/>
              </a:lnSpc>
              <a:spcBef>
                <a:spcPts val="300"/>
              </a:spcBef>
              <a:defRPr sz="1000" b="0">
                <a:solidFill>
                  <a:schemeClr val="bg1"/>
                </a:solidFill>
              </a:defRPr>
            </a:lvl2pPr>
            <a:lvl3pPr marL="0" indent="0">
              <a:buNone/>
              <a:defRPr/>
            </a:lvl3pPr>
          </a:lstStyle>
          <a:p>
            <a:pPr lvl="0"/>
            <a:r>
              <a:rPr lang="de-DE"/>
              <a:t>Mastertextformat bearbeiten</a:t>
            </a:r>
          </a:p>
        </p:txBody>
      </p:sp>
      <p:sp>
        <p:nvSpPr>
          <p:cNvPr id="29" name="Rectangle 8">
            <a:extLst>
              <a:ext uri="{FF2B5EF4-FFF2-40B4-BE49-F238E27FC236}">
                <a16:creationId xmlns:a16="http://schemas.microsoft.com/office/drawing/2014/main" id="{1FB9B418-E23C-4478-A36C-97DE9E8276A7}"/>
              </a:ext>
            </a:extLst>
          </p:cNvPr>
          <p:cNvSpPr/>
          <p:nvPr/>
        </p:nvSpPr>
        <p:spPr>
          <a:xfrm rot="16200000">
            <a:off x="1658847" y="-1323271"/>
            <a:ext cx="1296145" cy="4608000"/>
          </a:xfrm>
          <a:prstGeom prst="rect">
            <a:avLst/>
          </a:prstGeom>
          <a:solidFill>
            <a:srgbClr val="C72A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30" name="Title 6">
            <a:extLst>
              <a:ext uri="{FF2B5EF4-FFF2-40B4-BE49-F238E27FC236}">
                <a16:creationId xmlns:a16="http://schemas.microsoft.com/office/drawing/2014/main" id="{BB52DA60-7E50-48EB-BEB8-943A41BD4CA9}"/>
              </a:ext>
            </a:extLst>
          </p:cNvPr>
          <p:cNvSpPr txBox="1">
            <a:spLocks/>
          </p:cNvSpPr>
          <p:nvPr/>
        </p:nvSpPr>
        <p:spPr>
          <a:xfrm>
            <a:off x="680782" y="785237"/>
            <a:ext cx="2544026" cy="699550"/>
          </a:xfrm>
          <a:prstGeom prst="rect">
            <a:avLst/>
          </a:prstGeom>
        </p:spPr>
        <p:txBody>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r>
              <a:rPr lang="de-DE" sz="4000">
                <a:solidFill>
                  <a:schemeClr val="bg1"/>
                </a:solidFill>
              </a:rPr>
              <a:t>Kontakt</a:t>
            </a:r>
          </a:p>
        </p:txBody>
      </p:sp>
      <p:sp>
        <p:nvSpPr>
          <p:cNvPr id="31" name="Text Placeholder 33">
            <a:extLst>
              <a:ext uri="{FF2B5EF4-FFF2-40B4-BE49-F238E27FC236}">
                <a16:creationId xmlns:a16="http://schemas.microsoft.com/office/drawing/2014/main" id="{B820EB28-5FDE-4276-8FB6-78969FA66DC1}"/>
              </a:ext>
            </a:extLst>
          </p:cNvPr>
          <p:cNvSpPr>
            <a:spLocks noGrp="1"/>
          </p:cNvSpPr>
          <p:nvPr>
            <p:ph type="body" sz="quarter" idx="31"/>
          </p:nvPr>
        </p:nvSpPr>
        <p:spPr>
          <a:xfrm>
            <a:off x="1280592" y="4942268"/>
            <a:ext cx="2952328" cy="935004"/>
          </a:xfrm>
        </p:spPr>
        <p:txBody>
          <a:bodyPr lIns="90000" tIns="46800" rIns="90000" bIns="46800" anchor="ctr"/>
          <a:lstStyle>
            <a:lvl1pPr>
              <a:defRPr sz="1050" baseline="0"/>
            </a:lvl1pPr>
          </a:lstStyle>
          <a:p>
            <a:pPr lvl="0"/>
            <a:r>
              <a:rPr lang="de-DE" sz="1200"/>
              <a:t>Mastertextformat bearbeiten</a:t>
            </a:r>
          </a:p>
        </p:txBody>
      </p:sp>
      <p:sp>
        <p:nvSpPr>
          <p:cNvPr id="32" name="Picture Placeholder 13">
            <a:extLst>
              <a:ext uri="{FF2B5EF4-FFF2-40B4-BE49-F238E27FC236}">
                <a16:creationId xmlns:a16="http://schemas.microsoft.com/office/drawing/2014/main" id="{2A522C20-B859-42CF-A840-C701F767C10B}"/>
              </a:ext>
            </a:extLst>
          </p:cNvPr>
          <p:cNvSpPr>
            <a:spLocks noGrp="1"/>
          </p:cNvSpPr>
          <p:nvPr>
            <p:ph type="pic" sz="quarter" idx="32" hasCustomPrompt="1"/>
          </p:nvPr>
        </p:nvSpPr>
        <p:spPr>
          <a:xfrm>
            <a:off x="4953000" y="2276872"/>
            <a:ext cx="1368000" cy="1944000"/>
          </a:xfrm>
          <a:prstGeom prst="rect">
            <a:avLst/>
          </a:prstGeom>
          <a:noFill/>
        </p:spPr>
        <p:txBody>
          <a:bodyPr wrap="square" tIns="180000">
            <a:noAutofit/>
          </a:bodyPr>
          <a:lstStyle>
            <a:lvl1pPr algn="ctr">
              <a:defRPr>
                <a:latin typeface="+mj-lt"/>
              </a:defRPr>
            </a:lvl1pPr>
          </a:lstStyle>
          <a:p>
            <a:r>
              <a:rPr lang="en-US"/>
              <a:t>Bild</a:t>
            </a:r>
          </a:p>
        </p:txBody>
      </p:sp>
      <p:sp>
        <p:nvSpPr>
          <p:cNvPr id="33" name="Text Placeholder 25">
            <a:extLst>
              <a:ext uri="{FF2B5EF4-FFF2-40B4-BE49-F238E27FC236}">
                <a16:creationId xmlns:a16="http://schemas.microsoft.com/office/drawing/2014/main" id="{4B75FF0C-4D90-44A1-8174-1775BAD6978A}"/>
              </a:ext>
            </a:extLst>
          </p:cNvPr>
          <p:cNvSpPr>
            <a:spLocks noGrp="1"/>
          </p:cNvSpPr>
          <p:nvPr>
            <p:ph type="body" sz="quarter" idx="33"/>
          </p:nvPr>
        </p:nvSpPr>
        <p:spPr bwMode="ltGray">
          <a:xfrm>
            <a:off x="5457056" y="4005064"/>
            <a:ext cx="2952328" cy="864096"/>
          </a:xfrm>
          <a:solidFill>
            <a:schemeClr val="accent1"/>
          </a:solidFill>
        </p:spPr>
        <p:txBody>
          <a:bodyPr wrap="square" lIns="90000" tIns="46800" rIns="90000" bIns="46800" anchor="ctr" anchorCtr="0">
            <a:noAutofit/>
          </a:bodyPr>
          <a:lstStyle>
            <a:lvl1pPr>
              <a:spcBef>
                <a:spcPts val="1200"/>
              </a:spcBef>
              <a:defRPr>
                <a:solidFill>
                  <a:schemeClr val="bg1"/>
                </a:solidFill>
                <a:latin typeface="+mj-lt"/>
              </a:defRPr>
            </a:lvl1pPr>
            <a:lvl2pPr>
              <a:lnSpc>
                <a:spcPct val="100000"/>
              </a:lnSpc>
              <a:spcBef>
                <a:spcPts val="300"/>
              </a:spcBef>
              <a:defRPr sz="1000" b="0">
                <a:solidFill>
                  <a:schemeClr val="bg1"/>
                </a:solidFill>
              </a:defRPr>
            </a:lvl2pPr>
            <a:lvl3pPr marL="0" indent="0">
              <a:buNone/>
              <a:defRPr/>
            </a:lvl3pPr>
          </a:lstStyle>
          <a:p>
            <a:pPr lvl="0"/>
            <a:r>
              <a:rPr lang="de-DE"/>
              <a:t>Mastertextformat bearbeiten</a:t>
            </a:r>
          </a:p>
        </p:txBody>
      </p:sp>
      <p:sp>
        <p:nvSpPr>
          <p:cNvPr id="34" name="Text Placeholder 33">
            <a:extLst>
              <a:ext uri="{FF2B5EF4-FFF2-40B4-BE49-F238E27FC236}">
                <a16:creationId xmlns:a16="http://schemas.microsoft.com/office/drawing/2014/main" id="{B820EB28-5FDE-4276-8FB6-78969FA66DC1}"/>
              </a:ext>
            </a:extLst>
          </p:cNvPr>
          <p:cNvSpPr>
            <a:spLocks noGrp="1"/>
          </p:cNvSpPr>
          <p:nvPr>
            <p:ph type="body" sz="quarter" idx="34"/>
          </p:nvPr>
        </p:nvSpPr>
        <p:spPr>
          <a:xfrm>
            <a:off x="5457056" y="4942268"/>
            <a:ext cx="2952328" cy="935004"/>
          </a:xfrm>
        </p:spPr>
        <p:txBody>
          <a:bodyPr vert="horz" lIns="90000" tIns="46800" rIns="90000" bIns="46800" rtlCol="0" anchor="ctr">
            <a:noAutofit/>
          </a:bodyPr>
          <a:lstStyle>
            <a:lvl1pPr>
              <a:defRPr lang="de-DE" sz="1200" baseline="0" dirty="0"/>
            </a:lvl1pPr>
          </a:lstStyle>
          <a:p>
            <a:pPr lvl="0"/>
            <a:r>
              <a:rPr lang="de-DE" sz="1200"/>
              <a:t>Mastertextformat bearbeiten</a:t>
            </a:r>
          </a:p>
        </p:txBody>
      </p:sp>
    </p:spTree>
    <p:extLst>
      <p:ext uri="{BB962C8B-B14F-4D97-AF65-F5344CB8AC3E}">
        <p14:creationId xmlns:p14="http://schemas.microsoft.com/office/powerpoint/2010/main" val="2485738296"/>
      </p:ext>
    </p:extLst>
  </p:cSld>
  <p:clrMapOvr>
    <a:masterClrMapping/>
  </p:clrMapOvr>
  <p:hf hdr="0" dt="0"/>
  <p:extLst>
    <p:ext uri="{DCECCB84-F9BA-43D5-87BE-67443E8EF086}">
      <p15:sldGuideLst xmlns:p15="http://schemas.microsoft.com/office/powerpoint/2012/main">
        <p15:guide id="1" pos="489">
          <p15:clr>
            <a:srgbClr val="FBAE40"/>
          </p15:clr>
        </p15:guide>
        <p15:guide id="2" pos="3120">
          <p15:clr>
            <a:srgbClr val="FBAE40"/>
          </p15:clr>
        </p15:guide>
        <p15:guide id="3" orient="horz" pos="143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1.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13"/>
            </p:custDataLst>
            <p:extLst>
              <p:ext uri="{D42A27DB-BD31-4B8C-83A1-F6EECF244321}">
                <p14:modId xmlns:p14="http://schemas.microsoft.com/office/powerpoint/2010/main" val="231151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532" imgH="530" progId="TCLayout.ActiveDocument.1">
                  <p:embed/>
                </p:oleObj>
              </mc:Choice>
              <mc:Fallback>
                <p:oleObj name="think-cell Folie" r:id="rId16" imgW="532" imgH="530" progId="TCLayout.ActiveDocument.1">
                  <p:embed/>
                  <p:pic>
                    <p:nvPicPr>
                      <p:cNvPr id="15" name="Objekt 14"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4" name="Rechteck 13" hidden="1"/>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400" b="0"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344489" y="332656"/>
            <a:ext cx="9217024" cy="699550"/>
          </a:xfrm>
          <a:prstGeom prst="rect">
            <a:avLst/>
          </a:prstGeom>
        </p:spPr>
        <p:txBody>
          <a:bodyPr vert="horz" lIns="0" tIns="0" rIns="0" bIns="0" rtlCol="0" anchor="t">
            <a:noAutofit/>
          </a:bodyPr>
          <a:lstStyle/>
          <a:p>
            <a:r>
              <a:rPr lang="de-DE"/>
              <a:t>Titelmasterformat durch Klicken bearbeiten</a:t>
            </a:r>
          </a:p>
        </p:txBody>
      </p:sp>
      <p:sp>
        <p:nvSpPr>
          <p:cNvPr id="3" name="Text Placeholder 2"/>
          <p:cNvSpPr>
            <a:spLocks noGrp="1"/>
          </p:cNvSpPr>
          <p:nvPr>
            <p:ph type="body" idx="1"/>
          </p:nvPr>
        </p:nvSpPr>
        <p:spPr>
          <a:xfrm>
            <a:off x="345512" y="1557339"/>
            <a:ext cx="9216000" cy="4751386"/>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e Placeholder 3"/>
          <p:cNvSpPr>
            <a:spLocks noGrp="1"/>
          </p:cNvSpPr>
          <p:nvPr>
            <p:ph type="dt" sz="half" idx="2"/>
          </p:nvPr>
        </p:nvSpPr>
        <p:spPr>
          <a:xfrm>
            <a:off x="381000" y="6551028"/>
            <a:ext cx="2228850" cy="174301"/>
          </a:xfrm>
          <a:prstGeom prst="rect">
            <a:avLst/>
          </a:prstGeom>
        </p:spPr>
        <p:txBody>
          <a:bodyPr vert="horz" lIns="0" tIns="0" rIns="0" bIns="0" rtlCol="0" anchor="ctr">
            <a:noAutofit/>
          </a:bodyPr>
          <a:lstStyle>
            <a:lvl1pPr algn="l">
              <a:defRPr lang="de-DE" sz="800">
                <a:solidFill>
                  <a:schemeClr val="tx1">
                    <a:tint val="75000"/>
                  </a:schemeClr>
                </a:solidFill>
              </a:defRPr>
            </a:lvl1pPr>
          </a:lstStyle>
          <a:p>
            <a:fld id="{00A52BB4-1E46-4D1F-8B87-3C9678AE82A3}" type="datetime1">
              <a:rPr lang="de-DE"/>
              <a:pPr/>
              <a:t>02.12.2025</a:t>
            </a:fld>
            <a:endParaRPr lang="de-DE"/>
          </a:p>
        </p:txBody>
      </p:sp>
      <p:sp>
        <p:nvSpPr>
          <p:cNvPr id="5" name="Footer Placeholder 4"/>
          <p:cNvSpPr>
            <a:spLocks noGrp="1"/>
          </p:cNvSpPr>
          <p:nvPr>
            <p:ph type="ftr" sz="quarter" idx="3"/>
          </p:nvPr>
        </p:nvSpPr>
        <p:spPr>
          <a:xfrm>
            <a:off x="3281363" y="6551028"/>
            <a:ext cx="3343275" cy="174301"/>
          </a:xfrm>
          <a:prstGeom prst="rect">
            <a:avLst/>
          </a:prstGeom>
        </p:spPr>
        <p:txBody>
          <a:bodyPr vert="horz" lIns="0" tIns="0" rIns="0" bIns="0" rtlCol="0" anchor="ctr">
            <a:noAutofit/>
          </a:bodyPr>
          <a:lstStyle>
            <a:lvl1pPr algn="ctr">
              <a:defRPr lang="de-DE" sz="800" dirty="0">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9310690" y="6551028"/>
            <a:ext cx="214309" cy="174301"/>
          </a:xfrm>
          <a:prstGeom prst="rect">
            <a:avLst/>
          </a:prstGeom>
        </p:spPr>
        <p:txBody>
          <a:bodyPr vert="horz" lIns="0" tIns="0" rIns="0" bIns="0" rtlCol="0" anchor="ctr">
            <a:noAutofit/>
          </a:bodyPr>
          <a:lstStyle>
            <a:lvl1pPr algn="r">
              <a:defRPr sz="800">
                <a:solidFill>
                  <a:schemeClr val="tx1">
                    <a:tint val="75000"/>
                  </a:schemeClr>
                </a:solidFill>
              </a:defRPr>
            </a:lvl1pPr>
          </a:lstStyle>
          <a:p>
            <a:pPr algn="r"/>
            <a:fld id="{F2322A94-3156-491B-AD20-567107C600A1}" type="slidenum">
              <a:rPr lang="de-DE"/>
              <a:pPr algn="r"/>
              <a:t>‹Nr.›</a:t>
            </a:fld>
            <a:endParaRPr lang="de-DE"/>
          </a:p>
        </p:txBody>
      </p:sp>
      <p:cxnSp>
        <p:nvCxnSpPr>
          <p:cNvPr id="7" name="Straight Connector 6">
            <a:extLst>
              <a:ext uri="{FF2B5EF4-FFF2-40B4-BE49-F238E27FC236}">
                <a16:creationId xmlns:a16="http://schemas.microsoft.com/office/drawing/2014/main" id="{3AEF1B8B-7A9A-43E1-B0EF-C2B0C0C8FCBA}"/>
              </a:ext>
            </a:extLst>
          </p:cNvPr>
          <p:cNvCxnSpPr>
            <a:cxnSpLocks/>
          </p:cNvCxnSpPr>
          <p:nvPr/>
        </p:nvCxnSpPr>
        <p:spPr>
          <a:xfrm>
            <a:off x="9264875" y="6418052"/>
            <a:ext cx="0" cy="44025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empower - DO NOT DELETE!!!" hidden="1"/>
          <p:cNvSpPr/>
          <p:nvPr>
            <p:custDataLst>
              <p:tags r:id="rId15"/>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2" name="Group 7">
            <a:extLst>
              <a:ext uri="{FF2B5EF4-FFF2-40B4-BE49-F238E27FC236}">
                <a16:creationId xmlns:a16="http://schemas.microsoft.com/office/drawing/2014/main" id="{874DCCCF-194D-4BD3-8163-AF81E98EA0C4}"/>
              </a:ext>
            </a:extLst>
          </p:cNvPr>
          <p:cNvGrpSpPr/>
          <p:nvPr/>
        </p:nvGrpSpPr>
        <p:grpSpPr>
          <a:xfrm>
            <a:off x="8551251" y="6572200"/>
            <a:ext cx="606871" cy="131957"/>
            <a:chOff x="334964" y="4642762"/>
            <a:chExt cx="7276689" cy="1582231"/>
          </a:xfrm>
        </p:grpSpPr>
        <p:sp>
          <p:nvSpPr>
            <p:cNvPr id="13" name="Freeform: Shape 8">
              <a:extLst>
                <a:ext uri="{FF2B5EF4-FFF2-40B4-BE49-F238E27FC236}">
                  <a16:creationId xmlns:a16="http://schemas.microsoft.com/office/drawing/2014/main" id="{CBA0845F-F015-42C7-A14B-B1413C31E2C3}"/>
                </a:ext>
              </a:extLst>
            </p:cNvPr>
            <p:cNvSpPr/>
            <p:nvPr/>
          </p:nvSpPr>
          <p:spPr>
            <a:xfrm>
              <a:off x="5572325" y="5747747"/>
              <a:ext cx="750842" cy="477246"/>
            </a:xfrm>
            <a:custGeom>
              <a:avLst/>
              <a:gdLst>
                <a:gd name="connsiteX0" fmla="*/ 750843 w 750842"/>
                <a:gd name="connsiteY0" fmla="*/ 169172 h 477246"/>
                <a:gd name="connsiteX1" fmla="*/ 326756 w 750842"/>
                <a:gd name="connsiteY1" fmla="*/ 465801 h 477246"/>
                <a:gd name="connsiteX2" fmla="*/ 0 w 750842"/>
                <a:gd name="connsiteY2" fmla="*/ 361517 h 477246"/>
                <a:gd name="connsiteX3" fmla="*/ 150632 w 750842"/>
                <a:gd name="connsiteY3" fmla="*/ 141362 h 477246"/>
                <a:gd name="connsiteX4" fmla="*/ 614116 w 750842"/>
                <a:gd name="connsiteY4" fmla="*/ 0 h 477246"/>
                <a:gd name="connsiteX5" fmla="*/ 750843 w 750842"/>
                <a:gd name="connsiteY5" fmla="*/ 169172 h 477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0842" h="477246">
                  <a:moveTo>
                    <a:pt x="750843" y="169172"/>
                  </a:moveTo>
                  <a:cubicBezTo>
                    <a:pt x="618750" y="333708"/>
                    <a:pt x="477388" y="433357"/>
                    <a:pt x="326756" y="465801"/>
                  </a:cubicBezTo>
                  <a:cubicBezTo>
                    <a:pt x="185393" y="498245"/>
                    <a:pt x="76475" y="461166"/>
                    <a:pt x="0" y="361517"/>
                  </a:cubicBezTo>
                  <a:lnTo>
                    <a:pt x="150632" y="141362"/>
                  </a:lnTo>
                  <a:cubicBezTo>
                    <a:pt x="261868" y="245646"/>
                    <a:pt x="451896" y="190028"/>
                    <a:pt x="614116" y="0"/>
                  </a:cubicBezTo>
                  <a:lnTo>
                    <a:pt x="750843" y="169172"/>
                  </a:lnTo>
                  <a:close/>
                </a:path>
              </a:pathLst>
            </a:custGeom>
            <a:solidFill>
              <a:srgbClr val="971940"/>
            </a:solidFill>
            <a:ln w="23158" cap="flat">
              <a:noFill/>
              <a:prstDash val="solid"/>
              <a:miter/>
            </a:ln>
          </p:spPr>
          <p:txBody>
            <a:bodyPr rtlCol="0" anchor="ctr"/>
            <a:lstStyle/>
            <a:p>
              <a:endParaRPr lang="de-DE"/>
            </a:p>
          </p:txBody>
        </p:sp>
        <p:sp>
          <p:nvSpPr>
            <p:cNvPr id="17" name="Freeform: Shape 9">
              <a:extLst>
                <a:ext uri="{FF2B5EF4-FFF2-40B4-BE49-F238E27FC236}">
                  <a16:creationId xmlns:a16="http://schemas.microsoft.com/office/drawing/2014/main" id="{05CC2446-973E-47FD-B904-A7EFB9071E99}"/>
                </a:ext>
              </a:extLst>
            </p:cNvPr>
            <p:cNvSpPr/>
            <p:nvPr/>
          </p:nvSpPr>
          <p:spPr>
            <a:xfrm>
              <a:off x="5468533" y="5112774"/>
              <a:ext cx="289184" cy="910745"/>
            </a:xfrm>
            <a:custGeom>
              <a:avLst/>
              <a:gdLst>
                <a:gd name="connsiteX0" fmla="*/ 50491 w 289184"/>
                <a:gd name="connsiteY0" fmla="*/ 910745 h 910745"/>
                <a:gd name="connsiteX1" fmla="*/ 18047 w 289184"/>
                <a:gd name="connsiteY1" fmla="*/ 475071 h 910745"/>
                <a:gd name="connsiteX2" fmla="*/ 198806 w 289184"/>
                <a:gd name="connsiteY2" fmla="*/ 0 h 910745"/>
                <a:gd name="connsiteX3" fmla="*/ 289185 w 289184"/>
                <a:gd name="connsiteY3" fmla="*/ 111236 h 910745"/>
                <a:gd name="connsiteX4" fmla="*/ 198806 w 289184"/>
                <a:gd name="connsiteY4" fmla="*/ 695225 h 910745"/>
                <a:gd name="connsiteX5" fmla="*/ 50491 w 289184"/>
                <a:gd name="connsiteY5" fmla="*/ 910745 h 910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184" h="910745">
                  <a:moveTo>
                    <a:pt x="50491" y="910745"/>
                  </a:moveTo>
                  <a:cubicBezTo>
                    <a:pt x="-2810" y="794874"/>
                    <a:pt x="-14397" y="648877"/>
                    <a:pt x="18047" y="475071"/>
                  </a:cubicBezTo>
                  <a:cubicBezTo>
                    <a:pt x="45856" y="308217"/>
                    <a:pt x="106109" y="150632"/>
                    <a:pt x="198806" y="0"/>
                  </a:cubicBezTo>
                  <a:lnTo>
                    <a:pt x="289185" y="111236"/>
                  </a:lnTo>
                  <a:cubicBezTo>
                    <a:pt x="175632" y="312851"/>
                    <a:pt x="136235" y="549228"/>
                    <a:pt x="198806" y="695225"/>
                  </a:cubicBezTo>
                  <a:lnTo>
                    <a:pt x="50491" y="910745"/>
                  </a:lnTo>
                  <a:close/>
                </a:path>
              </a:pathLst>
            </a:custGeom>
            <a:solidFill>
              <a:srgbClr val="E78A03"/>
            </a:solidFill>
            <a:ln w="23158" cap="flat">
              <a:noFill/>
              <a:prstDash val="solid"/>
              <a:miter/>
            </a:ln>
          </p:spPr>
          <p:txBody>
            <a:bodyPr rtlCol="0" anchor="ctr"/>
            <a:lstStyle/>
            <a:p>
              <a:endParaRPr lang="de-DE"/>
            </a:p>
          </p:txBody>
        </p:sp>
        <p:sp>
          <p:nvSpPr>
            <p:cNvPr id="18" name="Freeform: Shape 10">
              <a:extLst>
                <a:ext uri="{FF2B5EF4-FFF2-40B4-BE49-F238E27FC236}">
                  <a16:creationId xmlns:a16="http://schemas.microsoft.com/office/drawing/2014/main" id="{7AC71089-5494-49CB-83AF-2BBEC6A4F770}"/>
                </a:ext>
              </a:extLst>
            </p:cNvPr>
            <p:cNvSpPr/>
            <p:nvPr/>
          </p:nvSpPr>
          <p:spPr>
            <a:xfrm>
              <a:off x="5748448" y="4642762"/>
              <a:ext cx="690589" cy="456108"/>
            </a:xfrm>
            <a:custGeom>
              <a:avLst/>
              <a:gdLst>
                <a:gd name="connsiteX0" fmla="*/ 0 w 690589"/>
                <a:gd name="connsiteY0" fmla="*/ 349507 h 456108"/>
                <a:gd name="connsiteX1" fmla="*/ 347613 w 690589"/>
                <a:gd name="connsiteY1" fmla="*/ 48243 h 456108"/>
                <a:gd name="connsiteX2" fmla="*/ 690590 w 690589"/>
                <a:gd name="connsiteY2" fmla="*/ 38973 h 456108"/>
                <a:gd name="connsiteX3" fmla="*/ 533006 w 690589"/>
                <a:gd name="connsiteY3" fmla="*/ 268397 h 456108"/>
                <a:gd name="connsiteX4" fmla="*/ 92697 w 690589"/>
                <a:gd name="connsiteY4" fmla="*/ 456108 h 456108"/>
                <a:gd name="connsiteX5" fmla="*/ 0 w 690589"/>
                <a:gd name="connsiteY5" fmla="*/ 349507 h 456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0589" h="456108">
                  <a:moveTo>
                    <a:pt x="0" y="349507"/>
                  </a:moveTo>
                  <a:cubicBezTo>
                    <a:pt x="106601" y="205827"/>
                    <a:pt x="222472" y="106178"/>
                    <a:pt x="347613" y="48243"/>
                  </a:cubicBezTo>
                  <a:cubicBezTo>
                    <a:pt x="479705" y="-12010"/>
                    <a:pt x="593259" y="-16645"/>
                    <a:pt x="690590" y="38973"/>
                  </a:cubicBezTo>
                  <a:lnTo>
                    <a:pt x="533006" y="268397"/>
                  </a:lnTo>
                  <a:cubicBezTo>
                    <a:pt x="412500" y="201192"/>
                    <a:pt x="234059" y="282302"/>
                    <a:pt x="92697" y="456108"/>
                  </a:cubicBezTo>
                  <a:lnTo>
                    <a:pt x="0" y="349507"/>
                  </a:lnTo>
                  <a:close/>
                </a:path>
              </a:pathLst>
            </a:custGeom>
            <a:solidFill>
              <a:srgbClr val="F5BF06"/>
            </a:solidFill>
            <a:ln w="23158" cap="flat">
              <a:noFill/>
              <a:prstDash val="solid"/>
              <a:miter/>
            </a:ln>
          </p:spPr>
          <p:txBody>
            <a:bodyPr rtlCol="0" anchor="ctr"/>
            <a:lstStyle/>
            <a:p>
              <a:endParaRPr lang="de-DE"/>
            </a:p>
          </p:txBody>
        </p:sp>
        <p:sp>
          <p:nvSpPr>
            <p:cNvPr id="20" name="Freeform: Shape 11">
              <a:extLst>
                <a:ext uri="{FF2B5EF4-FFF2-40B4-BE49-F238E27FC236}">
                  <a16:creationId xmlns:a16="http://schemas.microsoft.com/office/drawing/2014/main" id="{4824452B-3FC8-4F4E-8804-F9400D8E4A0C}"/>
                </a:ext>
              </a:extLst>
            </p:cNvPr>
            <p:cNvSpPr/>
            <p:nvPr/>
          </p:nvSpPr>
          <p:spPr>
            <a:xfrm>
              <a:off x="6286089" y="4741987"/>
              <a:ext cx="344353" cy="1024298"/>
            </a:xfrm>
            <a:custGeom>
              <a:avLst/>
              <a:gdLst>
                <a:gd name="connsiteX0" fmla="*/ 229425 w 344353"/>
                <a:gd name="connsiteY0" fmla="*/ 0 h 1024298"/>
                <a:gd name="connsiteX1" fmla="*/ 333709 w 344353"/>
                <a:gd name="connsiteY1" fmla="*/ 234059 h 1024298"/>
                <a:gd name="connsiteX2" fmla="*/ 301264 w 344353"/>
                <a:gd name="connsiteY2" fmla="*/ 655829 h 1024298"/>
                <a:gd name="connsiteX3" fmla="*/ 141363 w 344353"/>
                <a:gd name="connsiteY3" fmla="*/ 1024299 h 1024298"/>
                <a:gd name="connsiteX4" fmla="*/ 0 w 344353"/>
                <a:gd name="connsiteY4" fmla="*/ 864397 h 1024298"/>
                <a:gd name="connsiteX5" fmla="*/ 64888 w 344353"/>
                <a:gd name="connsiteY5" fmla="*/ 236377 h 1024298"/>
                <a:gd name="connsiteX6" fmla="*/ 229425 w 344353"/>
                <a:gd name="connsiteY6" fmla="*/ 0 h 102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353" h="1024298">
                  <a:moveTo>
                    <a:pt x="229425" y="0"/>
                  </a:moveTo>
                  <a:cubicBezTo>
                    <a:pt x="282725" y="57935"/>
                    <a:pt x="317486" y="134410"/>
                    <a:pt x="333709" y="234059"/>
                  </a:cubicBezTo>
                  <a:cubicBezTo>
                    <a:pt x="354565" y="359200"/>
                    <a:pt x="345296" y="500562"/>
                    <a:pt x="301264" y="655829"/>
                  </a:cubicBezTo>
                  <a:cubicBezTo>
                    <a:pt x="266503" y="785605"/>
                    <a:pt x="213203" y="908428"/>
                    <a:pt x="141363" y="1024299"/>
                  </a:cubicBezTo>
                  <a:lnTo>
                    <a:pt x="0" y="864397"/>
                  </a:lnTo>
                  <a:cubicBezTo>
                    <a:pt x="132093" y="632655"/>
                    <a:pt x="157585" y="373104"/>
                    <a:pt x="64888" y="236377"/>
                  </a:cubicBezTo>
                  <a:lnTo>
                    <a:pt x="229425" y="0"/>
                  </a:lnTo>
                  <a:close/>
                </a:path>
              </a:pathLst>
            </a:custGeom>
            <a:solidFill>
              <a:srgbClr val="C02D41"/>
            </a:solidFill>
            <a:ln w="23158" cap="flat">
              <a:noFill/>
              <a:prstDash val="solid"/>
              <a:miter/>
            </a:ln>
          </p:spPr>
          <p:txBody>
            <a:bodyPr rtlCol="0" anchor="ctr"/>
            <a:lstStyle/>
            <a:p>
              <a:endParaRPr lang="de-DE"/>
            </a:p>
          </p:txBody>
        </p:sp>
        <p:sp>
          <p:nvSpPr>
            <p:cNvPr id="21" name="Freeform: Shape 12">
              <a:extLst>
                <a:ext uri="{FF2B5EF4-FFF2-40B4-BE49-F238E27FC236}">
                  <a16:creationId xmlns:a16="http://schemas.microsoft.com/office/drawing/2014/main" id="{5E783321-9080-4546-91F5-D8D28B97461A}"/>
                </a:ext>
              </a:extLst>
            </p:cNvPr>
            <p:cNvSpPr/>
            <p:nvPr/>
          </p:nvSpPr>
          <p:spPr>
            <a:xfrm>
              <a:off x="334964" y="4890303"/>
              <a:ext cx="7276689" cy="1096139"/>
            </a:xfrm>
            <a:custGeom>
              <a:avLst/>
              <a:gdLst>
                <a:gd name="connsiteX0" fmla="*/ 3483078 w 7276689"/>
                <a:gd name="connsiteY0" fmla="*/ 303582 h 1096139"/>
                <a:gd name="connsiteX1" fmla="*/ 3344033 w 7276689"/>
                <a:gd name="connsiteY1" fmla="*/ 660464 h 1096139"/>
                <a:gd name="connsiteX2" fmla="*/ 3619805 w 7276689"/>
                <a:gd name="connsiteY2" fmla="*/ 660464 h 1096139"/>
                <a:gd name="connsiteX3" fmla="*/ 2377670 w 7276689"/>
                <a:gd name="connsiteY3" fmla="*/ 208568 h 1096139"/>
                <a:gd name="connsiteX4" fmla="*/ 2377670 w 7276689"/>
                <a:gd name="connsiteY4" fmla="*/ 482023 h 1096139"/>
                <a:gd name="connsiteX5" fmla="*/ 2607094 w 7276689"/>
                <a:gd name="connsiteY5" fmla="*/ 342978 h 1096139"/>
                <a:gd name="connsiteX6" fmla="*/ 2377670 w 7276689"/>
                <a:gd name="connsiteY6" fmla="*/ 208568 h 1096139"/>
                <a:gd name="connsiteX7" fmla="*/ 6440102 w 7276689"/>
                <a:gd name="connsiteY7" fmla="*/ 27809 h 1096139"/>
                <a:gd name="connsiteX8" fmla="*/ 6630130 w 7276689"/>
                <a:gd name="connsiteY8" fmla="*/ 27809 h 1096139"/>
                <a:gd name="connsiteX9" fmla="*/ 7077391 w 7276689"/>
                <a:gd name="connsiteY9" fmla="*/ 713765 h 1096139"/>
                <a:gd name="connsiteX10" fmla="*/ 7077391 w 7276689"/>
                <a:gd name="connsiteY10" fmla="*/ 27809 h 1096139"/>
                <a:gd name="connsiteX11" fmla="*/ 7276689 w 7276689"/>
                <a:gd name="connsiteY11" fmla="*/ 27809 h 1096139"/>
                <a:gd name="connsiteX12" fmla="*/ 7276689 w 7276689"/>
                <a:gd name="connsiteY12" fmla="*/ 1070647 h 1096139"/>
                <a:gd name="connsiteX13" fmla="*/ 7086661 w 7276689"/>
                <a:gd name="connsiteY13" fmla="*/ 1070647 h 1096139"/>
                <a:gd name="connsiteX14" fmla="*/ 6639400 w 7276689"/>
                <a:gd name="connsiteY14" fmla="*/ 387009 h 1096139"/>
                <a:gd name="connsiteX15" fmla="*/ 6639400 w 7276689"/>
                <a:gd name="connsiteY15" fmla="*/ 1070647 h 1096139"/>
                <a:gd name="connsiteX16" fmla="*/ 6440102 w 7276689"/>
                <a:gd name="connsiteY16" fmla="*/ 1070647 h 1096139"/>
                <a:gd name="connsiteX17" fmla="*/ 3381111 w 7276689"/>
                <a:gd name="connsiteY17" fmla="*/ 27809 h 1096139"/>
                <a:gd name="connsiteX18" fmla="*/ 3582727 w 7276689"/>
                <a:gd name="connsiteY18" fmla="*/ 27809 h 1096139"/>
                <a:gd name="connsiteX19" fmla="*/ 3983640 w 7276689"/>
                <a:gd name="connsiteY19" fmla="*/ 1068330 h 1096139"/>
                <a:gd name="connsiteX20" fmla="*/ 3777390 w 7276689"/>
                <a:gd name="connsiteY20" fmla="*/ 1068330 h 1096139"/>
                <a:gd name="connsiteX21" fmla="*/ 3696280 w 7276689"/>
                <a:gd name="connsiteY21" fmla="*/ 855127 h 1096139"/>
                <a:gd name="connsiteX22" fmla="*/ 3272193 w 7276689"/>
                <a:gd name="connsiteY22" fmla="*/ 855127 h 1096139"/>
                <a:gd name="connsiteX23" fmla="*/ 3186448 w 7276689"/>
                <a:gd name="connsiteY23" fmla="*/ 1068330 h 1096139"/>
                <a:gd name="connsiteX24" fmla="*/ 2980198 w 7276689"/>
                <a:gd name="connsiteY24" fmla="*/ 1068330 h 1096139"/>
                <a:gd name="connsiteX25" fmla="*/ 2176055 w 7276689"/>
                <a:gd name="connsiteY25" fmla="*/ 27809 h 1096139"/>
                <a:gd name="connsiteX26" fmla="*/ 2363765 w 7276689"/>
                <a:gd name="connsiteY26" fmla="*/ 27809 h 1096139"/>
                <a:gd name="connsiteX27" fmla="*/ 2646490 w 7276689"/>
                <a:gd name="connsiteY27" fmla="*/ 76475 h 1096139"/>
                <a:gd name="connsiteX28" fmla="*/ 2797122 w 7276689"/>
                <a:gd name="connsiteY28" fmla="*/ 338343 h 1096139"/>
                <a:gd name="connsiteX29" fmla="*/ 2583920 w 7276689"/>
                <a:gd name="connsiteY29" fmla="*/ 632655 h 1096139"/>
                <a:gd name="connsiteX30" fmla="*/ 2908358 w 7276689"/>
                <a:gd name="connsiteY30" fmla="*/ 1068330 h 1096139"/>
                <a:gd name="connsiteX31" fmla="*/ 2665030 w 7276689"/>
                <a:gd name="connsiteY31" fmla="*/ 1068330 h 1096139"/>
                <a:gd name="connsiteX32" fmla="*/ 2377670 w 7276689"/>
                <a:gd name="connsiteY32" fmla="*/ 662782 h 1096139"/>
                <a:gd name="connsiteX33" fmla="*/ 2377670 w 7276689"/>
                <a:gd name="connsiteY33" fmla="*/ 1066012 h 1096139"/>
                <a:gd name="connsiteX34" fmla="*/ 2176055 w 7276689"/>
                <a:gd name="connsiteY34" fmla="*/ 1066012 h 1096139"/>
                <a:gd name="connsiteX35" fmla="*/ 1149439 w 7276689"/>
                <a:gd name="connsiteY35" fmla="*/ 27809 h 1096139"/>
                <a:gd name="connsiteX36" fmla="*/ 1348737 w 7276689"/>
                <a:gd name="connsiteY36" fmla="*/ 27809 h 1096139"/>
                <a:gd name="connsiteX37" fmla="*/ 1348737 w 7276689"/>
                <a:gd name="connsiteY37" fmla="*/ 632655 h 1096139"/>
                <a:gd name="connsiteX38" fmla="*/ 1552669 w 7276689"/>
                <a:gd name="connsiteY38" fmla="*/ 903793 h 1096139"/>
                <a:gd name="connsiteX39" fmla="*/ 1756602 w 7276689"/>
                <a:gd name="connsiteY39" fmla="*/ 632655 h 1096139"/>
                <a:gd name="connsiteX40" fmla="*/ 1756602 w 7276689"/>
                <a:gd name="connsiteY40" fmla="*/ 27809 h 1096139"/>
                <a:gd name="connsiteX41" fmla="*/ 1955900 w 7276689"/>
                <a:gd name="connsiteY41" fmla="*/ 27809 h 1096139"/>
                <a:gd name="connsiteX42" fmla="*/ 1955900 w 7276689"/>
                <a:gd name="connsiteY42" fmla="*/ 674369 h 1096139"/>
                <a:gd name="connsiteX43" fmla="*/ 1552669 w 7276689"/>
                <a:gd name="connsiteY43" fmla="*/ 1093821 h 1096139"/>
                <a:gd name="connsiteX44" fmla="*/ 1149439 w 7276689"/>
                <a:gd name="connsiteY44" fmla="*/ 674369 h 1096139"/>
                <a:gd name="connsiteX45" fmla="*/ 553863 w 7276689"/>
                <a:gd name="connsiteY45" fmla="*/ 2317 h 1096139"/>
                <a:gd name="connsiteX46" fmla="*/ 801826 w 7276689"/>
                <a:gd name="connsiteY46" fmla="*/ 55618 h 1096139"/>
                <a:gd name="connsiteX47" fmla="*/ 1008076 w 7276689"/>
                <a:gd name="connsiteY47" fmla="*/ 210885 h 1096139"/>
                <a:gd name="connsiteX48" fmla="*/ 869031 w 7276689"/>
                <a:gd name="connsiteY48" fmla="*/ 342978 h 1096139"/>
                <a:gd name="connsiteX49" fmla="*/ 551545 w 7276689"/>
                <a:gd name="connsiteY49" fmla="*/ 194663 h 1096139"/>
                <a:gd name="connsiteX50" fmla="*/ 298947 w 7276689"/>
                <a:gd name="connsiteY50" fmla="*/ 296630 h 1096139"/>
                <a:gd name="connsiteX51" fmla="*/ 196980 w 7276689"/>
                <a:gd name="connsiteY51" fmla="*/ 546911 h 1096139"/>
                <a:gd name="connsiteX52" fmla="*/ 243329 w 7276689"/>
                <a:gd name="connsiteY52" fmla="*/ 732304 h 1096139"/>
                <a:gd name="connsiteX53" fmla="*/ 370787 w 7276689"/>
                <a:gd name="connsiteY53" fmla="*/ 859762 h 1096139"/>
                <a:gd name="connsiteX54" fmla="*/ 553863 w 7276689"/>
                <a:gd name="connsiteY54" fmla="*/ 906111 h 1096139"/>
                <a:gd name="connsiteX55" fmla="*/ 711447 w 7276689"/>
                <a:gd name="connsiteY55" fmla="*/ 873667 h 1096139"/>
                <a:gd name="connsiteX56" fmla="*/ 869031 w 7276689"/>
                <a:gd name="connsiteY56" fmla="*/ 755478 h 1096139"/>
                <a:gd name="connsiteX57" fmla="*/ 1003442 w 7276689"/>
                <a:gd name="connsiteY57" fmla="*/ 894523 h 1096139"/>
                <a:gd name="connsiteX58" fmla="*/ 785604 w 7276689"/>
                <a:gd name="connsiteY58" fmla="*/ 1049791 h 1096139"/>
                <a:gd name="connsiteX59" fmla="*/ 551545 w 7276689"/>
                <a:gd name="connsiteY59" fmla="*/ 1093821 h 1096139"/>
                <a:gd name="connsiteX60" fmla="*/ 155267 w 7276689"/>
                <a:gd name="connsiteY60" fmla="*/ 940872 h 1096139"/>
                <a:gd name="connsiteX61" fmla="*/ 0 w 7276689"/>
                <a:gd name="connsiteY61" fmla="*/ 546911 h 1096139"/>
                <a:gd name="connsiteX62" fmla="*/ 69523 w 7276689"/>
                <a:gd name="connsiteY62" fmla="*/ 271138 h 1096139"/>
                <a:gd name="connsiteX63" fmla="*/ 271138 w 7276689"/>
                <a:gd name="connsiteY63" fmla="*/ 76475 h 1096139"/>
                <a:gd name="connsiteX64" fmla="*/ 553863 w 7276689"/>
                <a:gd name="connsiteY64" fmla="*/ 2317 h 1096139"/>
                <a:gd name="connsiteX65" fmla="*/ 4565311 w 7276689"/>
                <a:gd name="connsiteY65" fmla="*/ 0 h 1096139"/>
                <a:gd name="connsiteX66" fmla="*/ 4813275 w 7276689"/>
                <a:gd name="connsiteY66" fmla="*/ 55618 h 1096139"/>
                <a:gd name="connsiteX67" fmla="*/ 5019525 w 7276689"/>
                <a:gd name="connsiteY67" fmla="*/ 210885 h 1096139"/>
                <a:gd name="connsiteX68" fmla="*/ 4882798 w 7276689"/>
                <a:gd name="connsiteY68" fmla="*/ 340660 h 1096139"/>
                <a:gd name="connsiteX69" fmla="*/ 4562994 w 7276689"/>
                <a:gd name="connsiteY69" fmla="*/ 190028 h 1096139"/>
                <a:gd name="connsiteX70" fmla="*/ 4310396 w 7276689"/>
                <a:gd name="connsiteY70" fmla="*/ 291995 h 1096139"/>
                <a:gd name="connsiteX71" fmla="*/ 4208429 w 7276689"/>
                <a:gd name="connsiteY71" fmla="*/ 544593 h 1096139"/>
                <a:gd name="connsiteX72" fmla="*/ 4254778 w 7276689"/>
                <a:gd name="connsiteY72" fmla="*/ 729987 h 1096139"/>
                <a:gd name="connsiteX73" fmla="*/ 4382236 w 7276689"/>
                <a:gd name="connsiteY73" fmla="*/ 857445 h 1096139"/>
                <a:gd name="connsiteX74" fmla="*/ 4567629 w 7276689"/>
                <a:gd name="connsiteY74" fmla="*/ 903793 h 1096139"/>
                <a:gd name="connsiteX75" fmla="*/ 4725213 w 7276689"/>
                <a:gd name="connsiteY75" fmla="*/ 871349 h 1096139"/>
                <a:gd name="connsiteX76" fmla="*/ 4882798 w 7276689"/>
                <a:gd name="connsiteY76" fmla="*/ 753161 h 1096139"/>
                <a:gd name="connsiteX77" fmla="*/ 5017208 w 7276689"/>
                <a:gd name="connsiteY77" fmla="*/ 894523 h 1096139"/>
                <a:gd name="connsiteX78" fmla="*/ 4799371 w 7276689"/>
                <a:gd name="connsiteY78" fmla="*/ 1052108 h 1096139"/>
                <a:gd name="connsiteX79" fmla="*/ 4565311 w 7276689"/>
                <a:gd name="connsiteY79" fmla="*/ 1096139 h 1096139"/>
                <a:gd name="connsiteX80" fmla="*/ 4166716 w 7276689"/>
                <a:gd name="connsiteY80" fmla="*/ 943189 h 1096139"/>
                <a:gd name="connsiteX81" fmla="*/ 4011449 w 7276689"/>
                <a:gd name="connsiteY81" fmla="*/ 546911 h 1096139"/>
                <a:gd name="connsiteX82" fmla="*/ 4080971 w 7276689"/>
                <a:gd name="connsiteY82" fmla="*/ 268821 h 1096139"/>
                <a:gd name="connsiteX83" fmla="*/ 4282587 w 7276689"/>
                <a:gd name="connsiteY83" fmla="*/ 74157 h 1096139"/>
                <a:gd name="connsiteX84" fmla="*/ 4565311 w 7276689"/>
                <a:gd name="connsiteY84" fmla="*/ 0 h 1096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7276689" h="1096139">
                  <a:moveTo>
                    <a:pt x="3483078" y="303582"/>
                  </a:moveTo>
                  <a:lnTo>
                    <a:pt x="3344033" y="660464"/>
                  </a:lnTo>
                  <a:lnTo>
                    <a:pt x="3619805" y="660464"/>
                  </a:lnTo>
                  <a:close/>
                  <a:moveTo>
                    <a:pt x="2377670" y="208568"/>
                  </a:moveTo>
                  <a:lnTo>
                    <a:pt x="2377670" y="482023"/>
                  </a:lnTo>
                  <a:cubicBezTo>
                    <a:pt x="2512080" y="482023"/>
                    <a:pt x="2607094" y="456531"/>
                    <a:pt x="2607094" y="342978"/>
                  </a:cubicBezTo>
                  <a:cubicBezTo>
                    <a:pt x="2607094" y="217837"/>
                    <a:pt x="2470366" y="208568"/>
                    <a:pt x="2377670" y="208568"/>
                  </a:cubicBezTo>
                  <a:close/>
                  <a:moveTo>
                    <a:pt x="6440102" y="27809"/>
                  </a:moveTo>
                  <a:lnTo>
                    <a:pt x="6630130" y="27809"/>
                  </a:lnTo>
                  <a:lnTo>
                    <a:pt x="7077391" y="713765"/>
                  </a:lnTo>
                  <a:lnTo>
                    <a:pt x="7077391" y="27809"/>
                  </a:lnTo>
                  <a:lnTo>
                    <a:pt x="7276689" y="27809"/>
                  </a:lnTo>
                  <a:lnTo>
                    <a:pt x="7276689" y="1070647"/>
                  </a:lnTo>
                  <a:lnTo>
                    <a:pt x="7086661" y="1070647"/>
                  </a:lnTo>
                  <a:lnTo>
                    <a:pt x="6639400" y="387009"/>
                  </a:lnTo>
                  <a:lnTo>
                    <a:pt x="6639400" y="1070647"/>
                  </a:lnTo>
                  <a:lnTo>
                    <a:pt x="6440102" y="1070647"/>
                  </a:lnTo>
                  <a:close/>
                  <a:moveTo>
                    <a:pt x="3381111" y="27809"/>
                  </a:moveTo>
                  <a:lnTo>
                    <a:pt x="3582727" y="27809"/>
                  </a:lnTo>
                  <a:lnTo>
                    <a:pt x="3983640" y="1068330"/>
                  </a:lnTo>
                  <a:lnTo>
                    <a:pt x="3777390" y="1068330"/>
                  </a:lnTo>
                  <a:lnTo>
                    <a:pt x="3696280" y="855127"/>
                  </a:lnTo>
                  <a:lnTo>
                    <a:pt x="3272193" y="855127"/>
                  </a:lnTo>
                  <a:lnTo>
                    <a:pt x="3186448" y="1068330"/>
                  </a:lnTo>
                  <a:lnTo>
                    <a:pt x="2980198" y="1068330"/>
                  </a:lnTo>
                  <a:close/>
                  <a:moveTo>
                    <a:pt x="2176055" y="27809"/>
                  </a:moveTo>
                  <a:lnTo>
                    <a:pt x="2363765" y="27809"/>
                  </a:lnTo>
                  <a:cubicBezTo>
                    <a:pt x="2451827" y="27809"/>
                    <a:pt x="2558428" y="27809"/>
                    <a:pt x="2646490" y="76475"/>
                  </a:cubicBezTo>
                  <a:cubicBezTo>
                    <a:pt x="2743822" y="129775"/>
                    <a:pt x="2797122" y="234059"/>
                    <a:pt x="2797122" y="338343"/>
                  </a:cubicBezTo>
                  <a:cubicBezTo>
                    <a:pt x="2797122" y="475071"/>
                    <a:pt x="2713695" y="593259"/>
                    <a:pt x="2583920" y="632655"/>
                  </a:cubicBezTo>
                  <a:lnTo>
                    <a:pt x="2908358" y="1068330"/>
                  </a:lnTo>
                  <a:lnTo>
                    <a:pt x="2665030" y="1068330"/>
                  </a:lnTo>
                  <a:lnTo>
                    <a:pt x="2377670" y="662782"/>
                  </a:lnTo>
                  <a:lnTo>
                    <a:pt x="2377670" y="1066012"/>
                  </a:lnTo>
                  <a:lnTo>
                    <a:pt x="2176055" y="1066012"/>
                  </a:lnTo>
                  <a:close/>
                  <a:moveTo>
                    <a:pt x="1149439" y="27809"/>
                  </a:moveTo>
                  <a:lnTo>
                    <a:pt x="1348737" y="27809"/>
                  </a:lnTo>
                  <a:lnTo>
                    <a:pt x="1348737" y="632655"/>
                  </a:lnTo>
                  <a:cubicBezTo>
                    <a:pt x="1348737" y="785605"/>
                    <a:pt x="1392768" y="903793"/>
                    <a:pt x="1552669" y="903793"/>
                  </a:cubicBezTo>
                  <a:cubicBezTo>
                    <a:pt x="1710254" y="903793"/>
                    <a:pt x="1756602" y="785605"/>
                    <a:pt x="1756602" y="632655"/>
                  </a:cubicBezTo>
                  <a:lnTo>
                    <a:pt x="1756602" y="27809"/>
                  </a:lnTo>
                  <a:lnTo>
                    <a:pt x="1955900" y="27809"/>
                  </a:lnTo>
                  <a:lnTo>
                    <a:pt x="1955900" y="674369"/>
                  </a:lnTo>
                  <a:cubicBezTo>
                    <a:pt x="1955900" y="903793"/>
                    <a:pt x="1805268" y="1093821"/>
                    <a:pt x="1552669" y="1093821"/>
                  </a:cubicBezTo>
                  <a:cubicBezTo>
                    <a:pt x="1300071" y="1093821"/>
                    <a:pt x="1149439" y="903793"/>
                    <a:pt x="1149439" y="674369"/>
                  </a:cubicBezTo>
                  <a:close/>
                  <a:moveTo>
                    <a:pt x="553863" y="2317"/>
                  </a:moveTo>
                  <a:cubicBezTo>
                    <a:pt x="639607" y="2317"/>
                    <a:pt x="723034" y="20857"/>
                    <a:pt x="801826" y="55618"/>
                  </a:cubicBezTo>
                  <a:cubicBezTo>
                    <a:pt x="880618" y="92697"/>
                    <a:pt x="950141" y="143680"/>
                    <a:pt x="1008076" y="210885"/>
                  </a:cubicBezTo>
                  <a:lnTo>
                    <a:pt x="869031" y="342978"/>
                  </a:lnTo>
                  <a:cubicBezTo>
                    <a:pt x="774017" y="243329"/>
                    <a:pt x="669733" y="194663"/>
                    <a:pt x="551545" y="194663"/>
                  </a:cubicBezTo>
                  <a:cubicBezTo>
                    <a:pt x="451896" y="194663"/>
                    <a:pt x="368469" y="229424"/>
                    <a:pt x="298947" y="296630"/>
                  </a:cubicBezTo>
                  <a:cubicBezTo>
                    <a:pt x="231742" y="363835"/>
                    <a:pt x="196980" y="447262"/>
                    <a:pt x="196980" y="546911"/>
                  </a:cubicBezTo>
                  <a:cubicBezTo>
                    <a:pt x="196980" y="616433"/>
                    <a:pt x="213202" y="676686"/>
                    <a:pt x="243329" y="732304"/>
                  </a:cubicBezTo>
                  <a:cubicBezTo>
                    <a:pt x="273455" y="785605"/>
                    <a:pt x="315169" y="827318"/>
                    <a:pt x="370787" y="859762"/>
                  </a:cubicBezTo>
                  <a:cubicBezTo>
                    <a:pt x="426405" y="889889"/>
                    <a:pt x="486658" y="906111"/>
                    <a:pt x="553863" y="906111"/>
                  </a:cubicBezTo>
                  <a:cubicBezTo>
                    <a:pt x="611798" y="906111"/>
                    <a:pt x="662781" y="894523"/>
                    <a:pt x="711447" y="873667"/>
                  </a:cubicBezTo>
                  <a:cubicBezTo>
                    <a:pt x="760113" y="852810"/>
                    <a:pt x="811096" y="813414"/>
                    <a:pt x="869031" y="755478"/>
                  </a:cubicBezTo>
                  <a:lnTo>
                    <a:pt x="1003442" y="894523"/>
                  </a:lnTo>
                  <a:cubicBezTo>
                    <a:pt x="926967" y="968681"/>
                    <a:pt x="855127" y="1021981"/>
                    <a:pt x="785604" y="1049791"/>
                  </a:cubicBezTo>
                  <a:cubicBezTo>
                    <a:pt x="718399" y="1077600"/>
                    <a:pt x="639607" y="1093821"/>
                    <a:pt x="551545" y="1093821"/>
                  </a:cubicBezTo>
                  <a:cubicBezTo>
                    <a:pt x="389326" y="1093821"/>
                    <a:pt x="257233" y="1042838"/>
                    <a:pt x="155267" y="940872"/>
                  </a:cubicBezTo>
                  <a:cubicBezTo>
                    <a:pt x="50983" y="836588"/>
                    <a:pt x="0" y="706813"/>
                    <a:pt x="0" y="546911"/>
                  </a:cubicBezTo>
                  <a:cubicBezTo>
                    <a:pt x="0" y="442627"/>
                    <a:pt x="23174" y="352248"/>
                    <a:pt x="69523" y="271138"/>
                  </a:cubicBezTo>
                  <a:cubicBezTo>
                    <a:pt x="115871" y="190028"/>
                    <a:pt x="183076" y="125141"/>
                    <a:pt x="271138" y="76475"/>
                  </a:cubicBezTo>
                  <a:cubicBezTo>
                    <a:pt x="359200" y="27809"/>
                    <a:pt x="451896" y="2317"/>
                    <a:pt x="553863" y="2317"/>
                  </a:cubicBezTo>
                  <a:close/>
                  <a:moveTo>
                    <a:pt x="4565311" y="0"/>
                  </a:moveTo>
                  <a:cubicBezTo>
                    <a:pt x="4651056" y="0"/>
                    <a:pt x="4734483" y="18539"/>
                    <a:pt x="4813275" y="55618"/>
                  </a:cubicBezTo>
                  <a:cubicBezTo>
                    <a:pt x="4892067" y="92697"/>
                    <a:pt x="4961590" y="143680"/>
                    <a:pt x="5019525" y="210885"/>
                  </a:cubicBezTo>
                  <a:lnTo>
                    <a:pt x="4882798" y="340660"/>
                  </a:lnTo>
                  <a:cubicBezTo>
                    <a:pt x="4787784" y="241012"/>
                    <a:pt x="4681182" y="190028"/>
                    <a:pt x="4562994" y="190028"/>
                  </a:cubicBezTo>
                  <a:cubicBezTo>
                    <a:pt x="4463345" y="190028"/>
                    <a:pt x="4379918" y="224790"/>
                    <a:pt x="4310396" y="291995"/>
                  </a:cubicBezTo>
                  <a:cubicBezTo>
                    <a:pt x="4243191" y="361517"/>
                    <a:pt x="4208429" y="444944"/>
                    <a:pt x="4208429" y="544593"/>
                  </a:cubicBezTo>
                  <a:cubicBezTo>
                    <a:pt x="4208429" y="614116"/>
                    <a:pt x="4224651" y="676686"/>
                    <a:pt x="4254778" y="729987"/>
                  </a:cubicBezTo>
                  <a:cubicBezTo>
                    <a:pt x="4284904" y="783287"/>
                    <a:pt x="4326617" y="827318"/>
                    <a:pt x="4382236" y="857445"/>
                  </a:cubicBezTo>
                  <a:cubicBezTo>
                    <a:pt x="4437854" y="887571"/>
                    <a:pt x="4500424" y="903793"/>
                    <a:pt x="4567629" y="903793"/>
                  </a:cubicBezTo>
                  <a:cubicBezTo>
                    <a:pt x="4625564" y="903793"/>
                    <a:pt x="4676548" y="892206"/>
                    <a:pt x="4725213" y="871349"/>
                  </a:cubicBezTo>
                  <a:cubicBezTo>
                    <a:pt x="4773879" y="848175"/>
                    <a:pt x="4824862" y="808779"/>
                    <a:pt x="4882798" y="753161"/>
                  </a:cubicBezTo>
                  <a:lnTo>
                    <a:pt x="5017208" y="894523"/>
                  </a:lnTo>
                  <a:cubicBezTo>
                    <a:pt x="4940733" y="970998"/>
                    <a:pt x="4868893" y="1021981"/>
                    <a:pt x="4799371" y="1052108"/>
                  </a:cubicBezTo>
                  <a:cubicBezTo>
                    <a:pt x="4732165" y="1082234"/>
                    <a:pt x="4653373" y="1096139"/>
                    <a:pt x="4565311" y="1096139"/>
                  </a:cubicBezTo>
                  <a:cubicBezTo>
                    <a:pt x="4403092" y="1096139"/>
                    <a:pt x="4271000" y="1045156"/>
                    <a:pt x="4166716" y="943189"/>
                  </a:cubicBezTo>
                  <a:cubicBezTo>
                    <a:pt x="4062432" y="838905"/>
                    <a:pt x="4011449" y="706813"/>
                    <a:pt x="4011449" y="546911"/>
                  </a:cubicBezTo>
                  <a:cubicBezTo>
                    <a:pt x="4011449" y="442627"/>
                    <a:pt x="4034623" y="349930"/>
                    <a:pt x="4080971" y="268821"/>
                  </a:cubicBezTo>
                  <a:cubicBezTo>
                    <a:pt x="4127320" y="187711"/>
                    <a:pt x="4194525" y="122823"/>
                    <a:pt x="4282587" y="74157"/>
                  </a:cubicBezTo>
                  <a:cubicBezTo>
                    <a:pt x="4370649" y="25492"/>
                    <a:pt x="4463345" y="0"/>
                    <a:pt x="4565311" y="0"/>
                  </a:cubicBezTo>
                  <a:close/>
                </a:path>
              </a:pathLst>
            </a:custGeom>
            <a:solidFill>
              <a:srgbClr val="929A9F"/>
            </a:solidFill>
            <a:ln w="23158" cap="flat">
              <a:noFill/>
              <a:prstDash val="solid"/>
              <a:miter/>
            </a:ln>
          </p:spPr>
          <p:txBody>
            <a:bodyPr rtlCol="0" anchor="ctr"/>
            <a:lstStyle/>
            <a:p>
              <a:endParaRPr lang="de-DE"/>
            </a:p>
          </p:txBody>
        </p:sp>
      </p:grpSp>
    </p:spTree>
    <p:extLst>
      <p:ext uri="{BB962C8B-B14F-4D97-AF65-F5344CB8AC3E}">
        <p14:creationId xmlns:p14="http://schemas.microsoft.com/office/powerpoint/2010/main" val="2390375088"/>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32" r:id="rId11"/>
  </p:sldLayoutIdLst>
  <p:hf hdr="0" ftr="0" dt="0"/>
  <p:txStyles>
    <p:title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600"/>
        </a:spcBef>
        <a:buFont typeface="Arial" panose="020B0604020202020204" pitchFamily="34" charset="0"/>
        <a:buNone/>
        <a:defRPr sz="1400" kern="1200">
          <a:solidFill>
            <a:schemeClr val="tx1"/>
          </a:solidFill>
          <a:latin typeface="+mn-lt"/>
          <a:ea typeface="+mn-ea"/>
          <a:cs typeface="+mn-cs"/>
        </a:defRPr>
      </a:lvl1pPr>
      <a:lvl2pPr marL="179388" indent="-179388"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b="0" kern="1200">
          <a:solidFill>
            <a:schemeClr val="tx1"/>
          </a:solidFill>
          <a:latin typeface="+mn-lt"/>
          <a:ea typeface="+mn-ea"/>
          <a:cs typeface="+mn-cs"/>
        </a:defRPr>
      </a:lvl2pPr>
      <a:lvl3pPr marL="358775" indent="-179388" algn="l" defTabSz="914400" rtl="0" eaLnBrk="1" latinLnBrk="0" hangingPunct="1">
        <a:lnSpc>
          <a:spcPct val="100000"/>
        </a:lnSpc>
        <a:spcBef>
          <a:spcPts val="0"/>
        </a:spcBef>
        <a:spcAft>
          <a:spcPts val="600"/>
        </a:spcAft>
        <a:buClr>
          <a:schemeClr val="accent1"/>
        </a:buClr>
        <a:buFont typeface="Symbol" panose="05050102010706020507" pitchFamily="18" charset="2"/>
        <a:buChar char="-"/>
        <a:defRPr sz="1400" b="0" kern="1200">
          <a:solidFill>
            <a:schemeClr val="tx1"/>
          </a:solidFill>
          <a:latin typeface="+mn-lt"/>
          <a:ea typeface="+mn-ea"/>
          <a:cs typeface="+mn-cs"/>
        </a:defRPr>
      </a:lvl3pPr>
      <a:lvl4pPr marL="538163" indent="-1793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79388" indent="-179388"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sz="1400" kern="1200">
          <a:solidFill>
            <a:schemeClr val="tx1"/>
          </a:solidFill>
          <a:latin typeface="+mn-lt"/>
          <a:ea typeface="+mn-ea"/>
          <a:cs typeface="+mn-cs"/>
        </a:defRPr>
      </a:lvl5pPr>
      <a:lvl6pPr marL="0" indent="0" algn="l" defTabSz="914400" rtl="0" eaLnBrk="1" latinLnBrk="0" hangingPunct="1">
        <a:lnSpc>
          <a:spcPct val="110000"/>
        </a:lnSpc>
        <a:spcBef>
          <a:spcPts val="600"/>
        </a:spcBef>
        <a:spcAft>
          <a:spcPts val="0"/>
        </a:spcAft>
        <a:buFont typeface="Arial" panose="020B0604020202020204" pitchFamily="34" charset="0"/>
        <a:buNone/>
        <a:defRPr sz="800" kern="1200" cap="none" baseline="0">
          <a:solidFill>
            <a:schemeClr val="tx1"/>
          </a:solidFill>
          <a:latin typeface="+mn-lt"/>
          <a:ea typeface="+mn-ea"/>
          <a:cs typeface="+mn-cs"/>
        </a:defRPr>
      </a:lvl6pPr>
      <a:lvl7pPr marL="0" indent="0" algn="l" defTabSz="914400" rtl="0" eaLnBrk="1" latinLnBrk="0" hangingPunct="1">
        <a:lnSpc>
          <a:spcPct val="110000"/>
        </a:lnSpc>
        <a:spcBef>
          <a:spcPts val="600"/>
        </a:spcBef>
        <a:spcAft>
          <a:spcPts val="600"/>
        </a:spcAft>
        <a:buFont typeface="Arial" panose="020B0604020202020204" pitchFamily="34" charset="0"/>
        <a:buNone/>
        <a:defRPr sz="2000" kern="1200" cap="all" baseline="0">
          <a:solidFill>
            <a:schemeClr val="accent1"/>
          </a:solidFill>
          <a:latin typeface="+mj-lt"/>
          <a:ea typeface="+mn-ea"/>
          <a:cs typeface="+mn-cs"/>
        </a:defRPr>
      </a:lvl7pPr>
      <a:lvl8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cap="all" baseline="0">
          <a:solidFill>
            <a:schemeClr val="accent5"/>
          </a:solidFill>
          <a:latin typeface="+mj-lt"/>
          <a:ea typeface="+mn-ea"/>
          <a:cs typeface="+mn-cs"/>
        </a:defRPr>
      </a:lvl8pPr>
      <a:lvl9pPr marL="288000" indent="-288000" algn="l" defTabSz="914400" rtl="0" eaLnBrk="1" latinLnBrk="0" hangingPunct="1">
        <a:lnSpc>
          <a:spcPct val="110000"/>
        </a:lnSpc>
        <a:spcBef>
          <a:spcPts val="600"/>
        </a:spcBef>
        <a:spcAft>
          <a:spcPts val="0"/>
        </a:spcAft>
        <a:buClr>
          <a:schemeClr val="accent1"/>
        </a:buClr>
        <a:buFont typeface="Wingdings 3" panose="05040102010807070707" pitchFamily="18" charset="2"/>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4">
          <p15:clr>
            <a:srgbClr val="F26B43"/>
          </p15:clr>
        </p15:guide>
        <p15:guide id="2" pos="217">
          <p15:clr>
            <a:srgbClr val="F26B43"/>
          </p15:clr>
        </p15:guide>
        <p15:guide id="3" pos="6023">
          <p15:clr>
            <a:srgbClr val="F26B43"/>
          </p15:clr>
        </p15:guide>
        <p15:guide id="4" orient="horz" pos="981">
          <p15:clr>
            <a:srgbClr val="F26B43"/>
          </p15:clr>
        </p15:guide>
        <p15:guide id="5" orient="horz" pos="21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12"/>
            </p:custDataLst>
            <p:extLst>
              <p:ext uri="{D42A27DB-BD31-4B8C-83A1-F6EECF244321}">
                <p14:modId xmlns:p14="http://schemas.microsoft.com/office/powerpoint/2010/main" val="231151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532" imgH="530" progId="TCLayout.ActiveDocument.1">
                  <p:embed/>
                </p:oleObj>
              </mc:Choice>
              <mc:Fallback>
                <p:oleObj name="think-cell Folie" r:id="rId15" imgW="532" imgH="530" progId="TCLayout.ActiveDocument.1">
                  <p:embed/>
                  <p:pic>
                    <p:nvPicPr>
                      <p:cNvPr id="15" name="Objekt 14"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4" name="Rechteck 13" hidden="1"/>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344489" y="332656"/>
            <a:ext cx="9217024" cy="699550"/>
          </a:xfrm>
          <a:prstGeom prst="rect">
            <a:avLst/>
          </a:prstGeom>
        </p:spPr>
        <p:txBody>
          <a:bodyPr vert="horz" lIns="0" tIns="0" rIns="0" bIns="0" rtlCol="0" anchor="t">
            <a:noAutofit/>
          </a:bodyPr>
          <a:lstStyle/>
          <a:p>
            <a:r>
              <a:rPr lang="de-DE" dirty="0"/>
              <a:t>Titelmasterformat durch Klicken bearbeiten</a:t>
            </a:r>
          </a:p>
        </p:txBody>
      </p:sp>
      <p:sp>
        <p:nvSpPr>
          <p:cNvPr id="3" name="Text Placeholder 2"/>
          <p:cNvSpPr>
            <a:spLocks noGrp="1"/>
          </p:cNvSpPr>
          <p:nvPr>
            <p:ph type="body" idx="1"/>
          </p:nvPr>
        </p:nvSpPr>
        <p:spPr>
          <a:xfrm>
            <a:off x="345512" y="1557339"/>
            <a:ext cx="9216000" cy="4751386"/>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381000" y="6551028"/>
            <a:ext cx="2228850" cy="174301"/>
          </a:xfrm>
          <a:prstGeom prst="rect">
            <a:avLst/>
          </a:prstGeom>
        </p:spPr>
        <p:txBody>
          <a:bodyPr vert="horz" lIns="0" tIns="0" rIns="0" bIns="0" rtlCol="0" anchor="ctr">
            <a:noAutofit/>
          </a:bodyPr>
          <a:lstStyle>
            <a:lvl1pPr algn="l">
              <a:defRPr lang="de-DE" sz="800">
                <a:solidFill>
                  <a:schemeClr val="tx1">
                    <a:tint val="75000"/>
                  </a:schemeClr>
                </a:solidFill>
              </a:defRPr>
            </a:lvl1pPr>
          </a:lstStyle>
          <a:p>
            <a:fld id="{00A52BB4-1E46-4D1F-8B87-3C9678AE82A3}" type="datetime1">
              <a:rPr lang="de-DE"/>
              <a:pPr/>
              <a:t>02.12.2025</a:t>
            </a:fld>
            <a:endParaRPr lang="de-DE" dirty="0"/>
          </a:p>
        </p:txBody>
      </p:sp>
      <p:sp>
        <p:nvSpPr>
          <p:cNvPr id="5" name="Footer Placeholder 4"/>
          <p:cNvSpPr>
            <a:spLocks noGrp="1"/>
          </p:cNvSpPr>
          <p:nvPr>
            <p:ph type="ftr" sz="quarter" idx="3"/>
          </p:nvPr>
        </p:nvSpPr>
        <p:spPr>
          <a:xfrm>
            <a:off x="3281363" y="6551028"/>
            <a:ext cx="3343275" cy="174301"/>
          </a:xfrm>
          <a:prstGeom prst="rect">
            <a:avLst/>
          </a:prstGeom>
        </p:spPr>
        <p:txBody>
          <a:bodyPr vert="horz" lIns="0" tIns="0" rIns="0" bIns="0" rtlCol="0" anchor="ctr">
            <a:noAutofit/>
          </a:bodyPr>
          <a:lstStyle>
            <a:lvl1pPr algn="ctr">
              <a:defRPr lang="de-DE" sz="800" dirty="0">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9310690" y="6551028"/>
            <a:ext cx="214309" cy="174301"/>
          </a:xfrm>
          <a:prstGeom prst="rect">
            <a:avLst/>
          </a:prstGeom>
        </p:spPr>
        <p:txBody>
          <a:bodyPr vert="horz" lIns="0" tIns="0" rIns="0" bIns="0" rtlCol="0" anchor="ctr">
            <a:noAutofit/>
          </a:bodyPr>
          <a:lstStyle>
            <a:lvl1pPr algn="r">
              <a:defRPr sz="800">
                <a:solidFill>
                  <a:schemeClr val="tx1">
                    <a:tint val="75000"/>
                  </a:schemeClr>
                </a:solidFill>
              </a:defRPr>
            </a:lvl1pPr>
          </a:lstStyle>
          <a:p>
            <a:pPr algn="r"/>
            <a:fld id="{F2322A94-3156-491B-AD20-567107C600A1}" type="slidenum">
              <a:rPr lang="de-DE"/>
              <a:pPr algn="r"/>
              <a:t>‹Nr.›</a:t>
            </a:fld>
            <a:endParaRPr lang="de-DE" dirty="0"/>
          </a:p>
        </p:txBody>
      </p:sp>
      <p:cxnSp>
        <p:nvCxnSpPr>
          <p:cNvPr id="7" name="Straight Connector 6">
            <a:extLst>
              <a:ext uri="{FF2B5EF4-FFF2-40B4-BE49-F238E27FC236}">
                <a16:creationId xmlns:a16="http://schemas.microsoft.com/office/drawing/2014/main" id="{3AEF1B8B-7A9A-43E1-B0EF-C2B0C0C8FCBA}"/>
              </a:ext>
            </a:extLst>
          </p:cNvPr>
          <p:cNvCxnSpPr>
            <a:cxnSpLocks/>
          </p:cNvCxnSpPr>
          <p:nvPr/>
        </p:nvCxnSpPr>
        <p:spPr>
          <a:xfrm>
            <a:off x="9264875" y="6418052"/>
            <a:ext cx="0" cy="44025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empower - DO NOT DELETE!!!" hidden="1"/>
          <p:cNvSpPr/>
          <p:nvPr>
            <p:custDataLst>
              <p:tags r:id="rId14"/>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dirty="0"/>
          </a:p>
        </p:txBody>
      </p:sp>
      <p:grpSp>
        <p:nvGrpSpPr>
          <p:cNvPr id="12" name="Group 7">
            <a:extLst>
              <a:ext uri="{FF2B5EF4-FFF2-40B4-BE49-F238E27FC236}">
                <a16:creationId xmlns:a16="http://schemas.microsoft.com/office/drawing/2014/main" id="{874DCCCF-194D-4BD3-8163-AF81E98EA0C4}"/>
              </a:ext>
            </a:extLst>
          </p:cNvPr>
          <p:cNvGrpSpPr/>
          <p:nvPr/>
        </p:nvGrpSpPr>
        <p:grpSpPr>
          <a:xfrm>
            <a:off x="8551251" y="6572200"/>
            <a:ext cx="606871" cy="131957"/>
            <a:chOff x="334964" y="4642762"/>
            <a:chExt cx="7276689" cy="1582231"/>
          </a:xfrm>
        </p:grpSpPr>
        <p:sp>
          <p:nvSpPr>
            <p:cNvPr id="13" name="Freeform: Shape 8">
              <a:extLst>
                <a:ext uri="{FF2B5EF4-FFF2-40B4-BE49-F238E27FC236}">
                  <a16:creationId xmlns:a16="http://schemas.microsoft.com/office/drawing/2014/main" id="{CBA0845F-F015-42C7-A14B-B1413C31E2C3}"/>
                </a:ext>
              </a:extLst>
            </p:cNvPr>
            <p:cNvSpPr/>
            <p:nvPr/>
          </p:nvSpPr>
          <p:spPr>
            <a:xfrm>
              <a:off x="5572325" y="5747747"/>
              <a:ext cx="750842" cy="477246"/>
            </a:xfrm>
            <a:custGeom>
              <a:avLst/>
              <a:gdLst>
                <a:gd name="connsiteX0" fmla="*/ 750843 w 750842"/>
                <a:gd name="connsiteY0" fmla="*/ 169172 h 477246"/>
                <a:gd name="connsiteX1" fmla="*/ 326756 w 750842"/>
                <a:gd name="connsiteY1" fmla="*/ 465801 h 477246"/>
                <a:gd name="connsiteX2" fmla="*/ 0 w 750842"/>
                <a:gd name="connsiteY2" fmla="*/ 361517 h 477246"/>
                <a:gd name="connsiteX3" fmla="*/ 150632 w 750842"/>
                <a:gd name="connsiteY3" fmla="*/ 141362 h 477246"/>
                <a:gd name="connsiteX4" fmla="*/ 614116 w 750842"/>
                <a:gd name="connsiteY4" fmla="*/ 0 h 477246"/>
                <a:gd name="connsiteX5" fmla="*/ 750843 w 750842"/>
                <a:gd name="connsiteY5" fmla="*/ 169172 h 477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0842" h="477246">
                  <a:moveTo>
                    <a:pt x="750843" y="169172"/>
                  </a:moveTo>
                  <a:cubicBezTo>
                    <a:pt x="618750" y="333708"/>
                    <a:pt x="477388" y="433357"/>
                    <a:pt x="326756" y="465801"/>
                  </a:cubicBezTo>
                  <a:cubicBezTo>
                    <a:pt x="185393" y="498245"/>
                    <a:pt x="76475" y="461166"/>
                    <a:pt x="0" y="361517"/>
                  </a:cubicBezTo>
                  <a:lnTo>
                    <a:pt x="150632" y="141362"/>
                  </a:lnTo>
                  <a:cubicBezTo>
                    <a:pt x="261868" y="245646"/>
                    <a:pt x="451896" y="190028"/>
                    <a:pt x="614116" y="0"/>
                  </a:cubicBezTo>
                  <a:lnTo>
                    <a:pt x="750843" y="169172"/>
                  </a:lnTo>
                  <a:close/>
                </a:path>
              </a:pathLst>
            </a:custGeom>
            <a:solidFill>
              <a:srgbClr val="971940"/>
            </a:solidFill>
            <a:ln w="23158" cap="flat">
              <a:noFill/>
              <a:prstDash val="solid"/>
              <a:miter/>
            </a:ln>
          </p:spPr>
          <p:txBody>
            <a:bodyPr rtlCol="0" anchor="ctr"/>
            <a:lstStyle/>
            <a:p>
              <a:endParaRPr lang="de-DE" dirty="0"/>
            </a:p>
          </p:txBody>
        </p:sp>
        <p:sp>
          <p:nvSpPr>
            <p:cNvPr id="17" name="Freeform: Shape 9">
              <a:extLst>
                <a:ext uri="{FF2B5EF4-FFF2-40B4-BE49-F238E27FC236}">
                  <a16:creationId xmlns:a16="http://schemas.microsoft.com/office/drawing/2014/main" id="{05CC2446-973E-47FD-B904-A7EFB9071E99}"/>
                </a:ext>
              </a:extLst>
            </p:cNvPr>
            <p:cNvSpPr/>
            <p:nvPr/>
          </p:nvSpPr>
          <p:spPr>
            <a:xfrm>
              <a:off x="5468533" y="5112774"/>
              <a:ext cx="289184" cy="910745"/>
            </a:xfrm>
            <a:custGeom>
              <a:avLst/>
              <a:gdLst>
                <a:gd name="connsiteX0" fmla="*/ 50491 w 289184"/>
                <a:gd name="connsiteY0" fmla="*/ 910745 h 910745"/>
                <a:gd name="connsiteX1" fmla="*/ 18047 w 289184"/>
                <a:gd name="connsiteY1" fmla="*/ 475071 h 910745"/>
                <a:gd name="connsiteX2" fmla="*/ 198806 w 289184"/>
                <a:gd name="connsiteY2" fmla="*/ 0 h 910745"/>
                <a:gd name="connsiteX3" fmla="*/ 289185 w 289184"/>
                <a:gd name="connsiteY3" fmla="*/ 111236 h 910745"/>
                <a:gd name="connsiteX4" fmla="*/ 198806 w 289184"/>
                <a:gd name="connsiteY4" fmla="*/ 695225 h 910745"/>
                <a:gd name="connsiteX5" fmla="*/ 50491 w 289184"/>
                <a:gd name="connsiteY5" fmla="*/ 910745 h 910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184" h="910745">
                  <a:moveTo>
                    <a:pt x="50491" y="910745"/>
                  </a:moveTo>
                  <a:cubicBezTo>
                    <a:pt x="-2810" y="794874"/>
                    <a:pt x="-14397" y="648877"/>
                    <a:pt x="18047" y="475071"/>
                  </a:cubicBezTo>
                  <a:cubicBezTo>
                    <a:pt x="45856" y="308217"/>
                    <a:pt x="106109" y="150632"/>
                    <a:pt x="198806" y="0"/>
                  </a:cubicBezTo>
                  <a:lnTo>
                    <a:pt x="289185" y="111236"/>
                  </a:lnTo>
                  <a:cubicBezTo>
                    <a:pt x="175632" y="312851"/>
                    <a:pt x="136235" y="549228"/>
                    <a:pt x="198806" y="695225"/>
                  </a:cubicBezTo>
                  <a:lnTo>
                    <a:pt x="50491" y="910745"/>
                  </a:lnTo>
                  <a:close/>
                </a:path>
              </a:pathLst>
            </a:custGeom>
            <a:solidFill>
              <a:srgbClr val="E78A03"/>
            </a:solidFill>
            <a:ln w="23158" cap="flat">
              <a:noFill/>
              <a:prstDash val="solid"/>
              <a:miter/>
            </a:ln>
          </p:spPr>
          <p:txBody>
            <a:bodyPr rtlCol="0" anchor="ctr"/>
            <a:lstStyle/>
            <a:p>
              <a:endParaRPr lang="de-DE" dirty="0"/>
            </a:p>
          </p:txBody>
        </p:sp>
        <p:sp>
          <p:nvSpPr>
            <p:cNvPr id="18" name="Freeform: Shape 10">
              <a:extLst>
                <a:ext uri="{FF2B5EF4-FFF2-40B4-BE49-F238E27FC236}">
                  <a16:creationId xmlns:a16="http://schemas.microsoft.com/office/drawing/2014/main" id="{7AC71089-5494-49CB-83AF-2BBEC6A4F770}"/>
                </a:ext>
              </a:extLst>
            </p:cNvPr>
            <p:cNvSpPr/>
            <p:nvPr/>
          </p:nvSpPr>
          <p:spPr>
            <a:xfrm>
              <a:off x="5748448" y="4642762"/>
              <a:ext cx="690589" cy="456108"/>
            </a:xfrm>
            <a:custGeom>
              <a:avLst/>
              <a:gdLst>
                <a:gd name="connsiteX0" fmla="*/ 0 w 690589"/>
                <a:gd name="connsiteY0" fmla="*/ 349507 h 456108"/>
                <a:gd name="connsiteX1" fmla="*/ 347613 w 690589"/>
                <a:gd name="connsiteY1" fmla="*/ 48243 h 456108"/>
                <a:gd name="connsiteX2" fmla="*/ 690590 w 690589"/>
                <a:gd name="connsiteY2" fmla="*/ 38973 h 456108"/>
                <a:gd name="connsiteX3" fmla="*/ 533006 w 690589"/>
                <a:gd name="connsiteY3" fmla="*/ 268397 h 456108"/>
                <a:gd name="connsiteX4" fmla="*/ 92697 w 690589"/>
                <a:gd name="connsiteY4" fmla="*/ 456108 h 456108"/>
                <a:gd name="connsiteX5" fmla="*/ 0 w 690589"/>
                <a:gd name="connsiteY5" fmla="*/ 349507 h 456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0589" h="456108">
                  <a:moveTo>
                    <a:pt x="0" y="349507"/>
                  </a:moveTo>
                  <a:cubicBezTo>
                    <a:pt x="106601" y="205827"/>
                    <a:pt x="222472" y="106178"/>
                    <a:pt x="347613" y="48243"/>
                  </a:cubicBezTo>
                  <a:cubicBezTo>
                    <a:pt x="479705" y="-12010"/>
                    <a:pt x="593259" y="-16645"/>
                    <a:pt x="690590" y="38973"/>
                  </a:cubicBezTo>
                  <a:lnTo>
                    <a:pt x="533006" y="268397"/>
                  </a:lnTo>
                  <a:cubicBezTo>
                    <a:pt x="412500" y="201192"/>
                    <a:pt x="234059" y="282302"/>
                    <a:pt x="92697" y="456108"/>
                  </a:cubicBezTo>
                  <a:lnTo>
                    <a:pt x="0" y="349507"/>
                  </a:lnTo>
                  <a:close/>
                </a:path>
              </a:pathLst>
            </a:custGeom>
            <a:solidFill>
              <a:srgbClr val="F5BF06"/>
            </a:solidFill>
            <a:ln w="23158" cap="flat">
              <a:noFill/>
              <a:prstDash val="solid"/>
              <a:miter/>
            </a:ln>
          </p:spPr>
          <p:txBody>
            <a:bodyPr rtlCol="0" anchor="ctr"/>
            <a:lstStyle/>
            <a:p>
              <a:endParaRPr lang="de-DE" dirty="0"/>
            </a:p>
          </p:txBody>
        </p:sp>
        <p:sp>
          <p:nvSpPr>
            <p:cNvPr id="20" name="Freeform: Shape 11">
              <a:extLst>
                <a:ext uri="{FF2B5EF4-FFF2-40B4-BE49-F238E27FC236}">
                  <a16:creationId xmlns:a16="http://schemas.microsoft.com/office/drawing/2014/main" id="{4824452B-3FC8-4F4E-8804-F9400D8E4A0C}"/>
                </a:ext>
              </a:extLst>
            </p:cNvPr>
            <p:cNvSpPr/>
            <p:nvPr/>
          </p:nvSpPr>
          <p:spPr>
            <a:xfrm>
              <a:off x="6286089" y="4741987"/>
              <a:ext cx="344353" cy="1024298"/>
            </a:xfrm>
            <a:custGeom>
              <a:avLst/>
              <a:gdLst>
                <a:gd name="connsiteX0" fmla="*/ 229425 w 344353"/>
                <a:gd name="connsiteY0" fmla="*/ 0 h 1024298"/>
                <a:gd name="connsiteX1" fmla="*/ 333709 w 344353"/>
                <a:gd name="connsiteY1" fmla="*/ 234059 h 1024298"/>
                <a:gd name="connsiteX2" fmla="*/ 301264 w 344353"/>
                <a:gd name="connsiteY2" fmla="*/ 655829 h 1024298"/>
                <a:gd name="connsiteX3" fmla="*/ 141363 w 344353"/>
                <a:gd name="connsiteY3" fmla="*/ 1024299 h 1024298"/>
                <a:gd name="connsiteX4" fmla="*/ 0 w 344353"/>
                <a:gd name="connsiteY4" fmla="*/ 864397 h 1024298"/>
                <a:gd name="connsiteX5" fmla="*/ 64888 w 344353"/>
                <a:gd name="connsiteY5" fmla="*/ 236377 h 1024298"/>
                <a:gd name="connsiteX6" fmla="*/ 229425 w 344353"/>
                <a:gd name="connsiteY6" fmla="*/ 0 h 102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353" h="1024298">
                  <a:moveTo>
                    <a:pt x="229425" y="0"/>
                  </a:moveTo>
                  <a:cubicBezTo>
                    <a:pt x="282725" y="57935"/>
                    <a:pt x="317486" y="134410"/>
                    <a:pt x="333709" y="234059"/>
                  </a:cubicBezTo>
                  <a:cubicBezTo>
                    <a:pt x="354565" y="359200"/>
                    <a:pt x="345296" y="500562"/>
                    <a:pt x="301264" y="655829"/>
                  </a:cubicBezTo>
                  <a:cubicBezTo>
                    <a:pt x="266503" y="785605"/>
                    <a:pt x="213203" y="908428"/>
                    <a:pt x="141363" y="1024299"/>
                  </a:cubicBezTo>
                  <a:lnTo>
                    <a:pt x="0" y="864397"/>
                  </a:lnTo>
                  <a:cubicBezTo>
                    <a:pt x="132093" y="632655"/>
                    <a:pt x="157585" y="373104"/>
                    <a:pt x="64888" y="236377"/>
                  </a:cubicBezTo>
                  <a:lnTo>
                    <a:pt x="229425" y="0"/>
                  </a:lnTo>
                  <a:close/>
                </a:path>
              </a:pathLst>
            </a:custGeom>
            <a:solidFill>
              <a:srgbClr val="C02D41"/>
            </a:solidFill>
            <a:ln w="23158" cap="flat">
              <a:noFill/>
              <a:prstDash val="solid"/>
              <a:miter/>
            </a:ln>
          </p:spPr>
          <p:txBody>
            <a:bodyPr rtlCol="0" anchor="ctr"/>
            <a:lstStyle/>
            <a:p>
              <a:endParaRPr lang="de-DE" dirty="0"/>
            </a:p>
          </p:txBody>
        </p:sp>
        <p:sp>
          <p:nvSpPr>
            <p:cNvPr id="21" name="Freeform: Shape 12">
              <a:extLst>
                <a:ext uri="{FF2B5EF4-FFF2-40B4-BE49-F238E27FC236}">
                  <a16:creationId xmlns:a16="http://schemas.microsoft.com/office/drawing/2014/main" id="{5E783321-9080-4546-91F5-D8D28B97461A}"/>
                </a:ext>
              </a:extLst>
            </p:cNvPr>
            <p:cNvSpPr/>
            <p:nvPr/>
          </p:nvSpPr>
          <p:spPr>
            <a:xfrm>
              <a:off x="334964" y="4890303"/>
              <a:ext cx="7276689" cy="1096139"/>
            </a:xfrm>
            <a:custGeom>
              <a:avLst/>
              <a:gdLst>
                <a:gd name="connsiteX0" fmla="*/ 3483078 w 7276689"/>
                <a:gd name="connsiteY0" fmla="*/ 303582 h 1096139"/>
                <a:gd name="connsiteX1" fmla="*/ 3344033 w 7276689"/>
                <a:gd name="connsiteY1" fmla="*/ 660464 h 1096139"/>
                <a:gd name="connsiteX2" fmla="*/ 3619805 w 7276689"/>
                <a:gd name="connsiteY2" fmla="*/ 660464 h 1096139"/>
                <a:gd name="connsiteX3" fmla="*/ 2377670 w 7276689"/>
                <a:gd name="connsiteY3" fmla="*/ 208568 h 1096139"/>
                <a:gd name="connsiteX4" fmla="*/ 2377670 w 7276689"/>
                <a:gd name="connsiteY4" fmla="*/ 482023 h 1096139"/>
                <a:gd name="connsiteX5" fmla="*/ 2607094 w 7276689"/>
                <a:gd name="connsiteY5" fmla="*/ 342978 h 1096139"/>
                <a:gd name="connsiteX6" fmla="*/ 2377670 w 7276689"/>
                <a:gd name="connsiteY6" fmla="*/ 208568 h 1096139"/>
                <a:gd name="connsiteX7" fmla="*/ 6440102 w 7276689"/>
                <a:gd name="connsiteY7" fmla="*/ 27809 h 1096139"/>
                <a:gd name="connsiteX8" fmla="*/ 6630130 w 7276689"/>
                <a:gd name="connsiteY8" fmla="*/ 27809 h 1096139"/>
                <a:gd name="connsiteX9" fmla="*/ 7077391 w 7276689"/>
                <a:gd name="connsiteY9" fmla="*/ 713765 h 1096139"/>
                <a:gd name="connsiteX10" fmla="*/ 7077391 w 7276689"/>
                <a:gd name="connsiteY10" fmla="*/ 27809 h 1096139"/>
                <a:gd name="connsiteX11" fmla="*/ 7276689 w 7276689"/>
                <a:gd name="connsiteY11" fmla="*/ 27809 h 1096139"/>
                <a:gd name="connsiteX12" fmla="*/ 7276689 w 7276689"/>
                <a:gd name="connsiteY12" fmla="*/ 1070647 h 1096139"/>
                <a:gd name="connsiteX13" fmla="*/ 7086661 w 7276689"/>
                <a:gd name="connsiteY13" fmla="*/ 1070647 h 1096139"/>
                <a:gd name="connsiteX14" fmla="*/ 6639400 w 7276689"/>
                <a:gd name="connsiteY14" fmla="*/ 387009 h 1096139"/>
                <a:gd name="connsiteX15" fmla="*/ 6639400 w 7276689"/>
                <a:gd name="connsiteY15" fmla="*/ 1070647 h 1096139"/>
                <a:gd name="connsiteX16" fmla="*/ 6440102 w 7276689"/>
                <a:gd name="connsiteY16" fmla="*/ 1070647 h 1096139"/>
                <a:gd name="connsiteX17" fmla="*/ 3381111 w 7276689"/>
                <a:gd name="connsiteY17" fmla="*/ 27809 h 1096139"/>
                <a:gd name="connsiteX18" fmla="*/ 3582727 w 7276689"/>
                <a:gd name="connsiteY18" fmla="*/ 27809 h 1096139"/>
                <a:gd name="connsiteX19" fmla="*/ 3983640 w 7276689"/>
                <a:gd name="connsiteY19" fmla="*/ 1068330 h 1096139"/>
                <a:gd name="connsiteX20" fmla="*/ 3777390 w 7276689"/>
                <a:gd name="connsiteY20" fmla="*/ 1068330 h 1096139"/>
                <a:gd name="connsiteX21" fmla="*/ 3696280 w 7276689"/>
                <a:gd name="connsiteY21" fmla="*/ 855127 h 1096139"/>
                <a:gd name="connsiteX22" fmla="*/ 3272193 w 7276689"/>
                <a:gd name="connsiteY22" fmla="*/ 855127 h 1096139"/>
                <a:gd name="connsiteX23" fmla="*/ 3186448 w 7276689"/>
                <a:gd name="connsiteY23" fmla="*/ 1068330 h 1096139"/>
                <a:gd name="connsiteX24" fmla="*/ 2980198 w 7276689"/>
                <a:gd name="connsiteY24" fmla="*/ 1068330 h 1096139"/>
                <a:gd name="connsiteX25" fmla="*/ 2176055 w 7276689"/>
                <a:gd name="connsiteY25" fmla="*/ 27809 h 1096139"/>
                <a:gd name="connsiteX26" fmla="*/ 2363765 w 7276689"/>
                <a:gd name="connsiteY26" fmla="*/ 27809 h 1096139"/>
                <a:gd name="connsiteX27" fmla="*/ 2646490 w 7276689"/>
                <a:gd name="connsiteY27" fmla="*/ 76475 h 1096139"/>
                <a:gd name="connsiteX28" fmla="*/ 2797122 w 7276689"/>
                <a:gd name="connsiteY28" fmla="*/ 338343 h 1096139"/>
                <a:gd name="connsiteX29" fmla="*/ 2583920 w 7276689"/>
                <a:gd name="connsiteY29" fmla="*/ 632655 h 1096139"/>
                <a:gd name="connsiteX30" fmla="*/ 2908358 w 7276689"/>
                <a:gd name="connsiteY30" fmla="*/ 1068330 h 1096139"/>
                <a:gd name="connsiteX31" fmla="*/ 2665030 w 7276689"/>
                <a:gd name="connsiteY31" fmla="*/ 1068330 h 1096139"/>
                <a:gd name="connsiteX32" fmla="*/ 2377670 w 7276689"/>
                <a:gd name="connsiteY32" fmla="*/ 662782 h 1096139"/>
                <a:gd name="connsiteX33" fmla="*/ 2377670 w 7276689"/>
                <a:gd name="connsiteY33" fmla="*/ 1066012 h 1096139"/>
                <a:gd name="connsiteX34" fmla="*/ 2176055 w 7276689"/>
                <a:gd name="connsiteY34" fmla="*/ 1066012 h 1096139"/>
                <a:gd name="connsiteX35" fmla="*/ 1149439 w 7276689"/>
                <a:gd name="connsiteY35" fmla="*/ 27809 h 1096139"/>
                <a:gd name="connsiteX36" fmla="*/ 1348737 w 7276689"/>
                <a:gd name="connsiteY36" fmla="*/ 27809 h 1096139"/>
                <a:gd name="connsiteX37" fmla="*/ 1348737 w 7276689"/>
                <a:gd name="connsiteY37" fmla="*/ 632655 h 1096139"/>
                <a:gd name="connsiteX38" fmla="*/ 1552669 w 7276689"/>
                <a:gd name="connsiteY38" fmla="*/ 903793 h 1096139"/>
                <a:gd name="connsiteX39" fmla="*/ 1756602 w 7276689"/>
                <a:gd name="connsiteY39" fmla="*/ 632655 h 1096139"/>
                <a:gd name="connsiteX40" fmla="*/ 1756602 w 7276689"/>
                <a:gd name="connsiteY40" fmla="*/ 27809 h 1096139"/>
                <a:gd name="connsiteX41" fmla="*/ 1955900 w 7276689"/>
                <a:gd name="connsiteY41" fmla="*/ 27809 h 1096139"/>
                <a:gd name="connsiteX42" fmla="*/ 1955900 w 7276689"/>
                <a:gd name="connsiteY42" fmla="*/ 674369 h 1096139"/>
                <a:gd name="connsiteX43" fmla="*/ 1552669 w 7276689"/>
                <a:gd name="connsiteY43" fmla="*/ 1093821 h 1096139"/>
                <a:gd name="connsiteX44" fmla="*/ 1149439 w 7276689"/>
                <a:gd name="connsiteY44" fmla="*/ 674369 h 1096139"/>
                <a:gd name="connsiteX45" fmla="*/ 553863 w 7276689"/>
                <a:gd name="connsiteY45" fmla="*/ 2317 h 1096139"/>
                <a:gd name="connsiteX46" fmla="*/ 801826 w 7276689"/>
                <a:gd name="connsiteY46" fmla="*/ 55618 h 1096139"/>
                <a:gd name="connsiteX47" fmla="*/ 1008076 w 7276689"/>
                <a:gd name="connsiteY47" fmla="*/ 210885 h 1096139"/>
                <a:gd name="connsiteX48" fmla="*/ 869031 w 7276689"/>
                <a:gd name="connsiteY48" fmla="*/ 342978 h 1096139"/>
                <a:gd name="connsiteX49" fmla="*/ 551545 w 7276689"/>
                <a:gd name="connsiteY49" fmla="*/ 194663 h 1096139"/>
                <a:gd name="connsiteX50" fmla="*/ 298947 w 7276689"/>
                <a:gd name="connsiteY50" fmla="*/ 296630 h 1096139"/>
                <a:gd name="connsiteX51" fmla="*/ 196980 w 7276689"/>
                <a:gd name="connsiteY51" fmla="*/ 546911 h 1096139"/>
                <a:gd name="connsiteX52" fmla="*/ 243329 w 7276689"/>
                <a:gd name="connsiteY52" fmla="*/ 732304 h 1096139"/>
                <a:gd name="connsiteX53" fmla="*/ 370787 w 7276689"/>
                <a:gd name="connsiteY53" fmla="*/ 859762 h 1096139"/>
                <a:gd name="connsiteX54" fmla="*/ 553863 w 7276689"/>
                <a:gd name="connsiteY54" fmla="*/ 906111 h 1096139"/>
                <a:gd name="connsiteX55" fmla="*/ 711447 w 7276689"/>
                <a:gd name="connsiteY55" fmla="*/ 873667 h 1096139"/>
                <a:gd name="connsiteX56" fmla="*/ 869031 w 7276689"/>
                <a:gd name="connsiteY56" fmla="*/ 755478 h 1096139"/>
                <a:gd name="connsiteX57" fmla="*/ 1003442 w 7276689"/>
                <a:gd name="connsiteY57" fmla="*/ 894523 h 1096139"/>
                <a:gd name="connsiteX58" fmla="*/ 785604 w 7276689"/>
                <a:gd name="connsiteY58" fmla="*/ 1049791 h 1096139"/>
                <a:gd name="connsiteX59" fmla="*/ 551545 w 7276689"/>
                <a:gd name="connsiteY59" fmla="*/ 1093821 h 1096139"/>
                <a:gd name="connsiteX60" fmla="*/ 155267 w 7276689"/>
                <a:gd name="connsiteY60" fmla="*/ 940872 h 1096139"/>
                <a:gd name="connsiteX61" fmla="*/ 0 w 7276689"/>
                <a:gd name="connsiteY61" fmla="*/ 546911 h 1096139"/>
                <a:gd name="connsiteX62" fmla="*/ 69523 w 7276689"/>
                <a:gd name="connsiteY62" fmla="*/ 271138 h 1096139"/>
                <a:gd name="connsiteX63" fmla="*/ 271138 w 7276689"/>
                <a:gd name="connsiteY63" fmla="*/ 76475 h 1096139"/>
                <a:gd name="connsiteX64" fmla="*/ 553863 w 7276689"/>
                <a:gd name="connsiteY64" fmla="*/ 2317 h 1096139"/>
                <a:gd name="connsiteX65" fmla="*/ 4565311 w 7276689"/>
                <a:gd name="connsiteY65" fmla="*/ 0 h 1096139"/>
                <a:gd name="connsiteX66" fmla="*/ 4813275 w 7276689"/>
                <a:gd name="connsiteY66" fmla="*/ 55618 h 1096139"/>
                <a:gd name="connsiteX67" fmla="*/ 5019525 w 7276689"/>
                <a:gd name="connsiteY67" fmla="*/ 210885 h 1096139"/>
                <a:gd name="connsiteX68" fmla="*/ 4882798 w 7276689"/>
                <a:gd name="connsiteY68" fmla="*/ 340660 h 1096139"/>
                <a:gd name="connsiteX69" fmla="*/ 4562994 w 7276689"/>
                <a:gd name="connsiteY69" fmla="*/ 190028 h 1096139"/>
                <a:gd name="connsiteX70" fmla="*/ 4310396 w 7276689"/>
                <a:gd name="connsiteY70" fmla="*/ 291995 h 1096139"/>
                <a:gd name="connsiteX71" fmla="*/ 4208429 w 7276689"/>
                <a:gd name="connsiteY71" fmla="*/ 544593 h 1096139"/>
                <a:gd name="connsiteX72" fmla="*/ 4254778 w 7276689"/>
                <a:gd name="connsiteY72" fmla="*/ 729987 h 1096139"/>
                <a:gd name="connsiteX73" fmla="*/ 4382236 w 7276689"/>
                <a:gd name="connsiteY73" fmla="*/ 857445 h 1096139"/>
                <a:gd name="connsiteX74" fmla="*/ 4567629 w 7276689"/>
                <a:gd name="connsiteY74" fmla="*/ 903793 h 1096139"/>
                <a:gd name="connsiteX75" fmla="*/ 4725213 w 7276689"/>
                <a:gd name="connsiteY75" fmla="*/ 871349 h 1096139"/>
                <a:gd name="connsiteX76" fmla="*/ 4882798 w 7276689"/>
                <a:gd name="connsiteY76" fmla="*/ 753161 h 1096139"/>
                <a:gd name="connsiteX77" fmla="*/ 5017208 w 7276689"/>
                <a:gd name="connsiteY77" fmla="*/ 894523 h 1096139"/>
                <a:gd name="connsiteX78" fmla="*/ 4799371 w 7276689"/>
                <a:gd name="connsiteY78" fmla="*/ 1052108 h 1096139"/>
                <a:gd name="connsiteX79" fmla="*/ 4565311 w 7276689"/>
                <a:gd name="connsiteY79" fmla="*/ 1096139 h 1096139"/>
                <a:gd name="connsiteX80" fmla="*/ 4166716 w 7276689"/>
                <a:gd name="connsiteY80" fmla="*/ 943189 h 1096139"/>
                <a:gd name="connsiteX81" fmla="*/ 4011449 w 7276689"/>
                <a:gd name="connsiteY81" fmla="*/ 546911 h 1096139"/>
                <a:gd name="connsiteX82" fmla="*/ 4080971 w 7276689"/>
                <a:gd name="connsiteY82" fmla="*/ 268821 h 1096139"/>
                <a:gd name="connsiteX83" fmla="*/ 4282587 w 7276689"/>
                <a:gd name="connsiteY83" fmla="*/ 74157 h 1096139"/>
                <a:gd name="connsiteX84" fmla="*/ 4565311 w 7276689"/>
                <a:gd name="connsiteY84" fmla="*/ 0 h 1096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7276689" h="1096139">
                  <a:moveTo>
                    <a:pt x="3483078" y="303582"/>
                  </a:moveTo>
                  <a:lnTo>
                    <a:pt x="3344033" y="660464"/>
                  </a:lnTo>
                  <a:lnTo>
                    <a:pt x="3619805" y="660464"/>
                  </a:lnTo>
                  <a:close/>
                  <a:moveTo>
                    <a:pt x="2377670" y="208568"/>
                  </a:moveTo>
                  <a:lnTo>
                    <a:pt x="2377670" y="482023"/>
                  </a:lnTo>
                  <a:cubicBezTo>
                    <a:pt x="2512080" y="482023"/>
                    <a:pt x="2607094" y="456531"/>
                    <a:pt x="2607094" y="342978"/>
                  </a:cubicBezTo>
                  <a:cubicBezTo>
                    <a:pt x="2607094" y="217837"/>
                    <a:pt x="2470366" y="208568"/>
                    <a:pt x="2377670" y="208568"/>
                  </a:cubicBezTo>
                  <a:close/>
                  <a:moveTo>
                    <a:pt x="6440102" y="27809"/>
                  </a:moveTo>
                  <a:lnTo>
                    <a:pt x="6630130" y="27809"/>
                  </a:lnTo>
                  <a:lnTo>
                    <a:pt x="7077391" y="713765"/>
                  </a:lnTo>
                  <a:lnTo>
                    <a:pt x="7077391" y="27809"/>
                  </a:lnTo>
                  <a:lnTo>
                    <a:pt x="7276689" y="27809"/>
                  </a:lnTo>
                  <a:lnTo>
                    <a:pt x="7276689" y="1070647"/>
                  </a:lnTo>
                  <a:lnTo>
                    <a:pt x="7086661" y="1070647"/>
                  </a:lnTo>
                  <a:lnTo>
                    <a:pt x="6639400" y="387009"/>
                  </a:lnTo>
                  <a:lnTo>
                    <a:pt x="6639400" y="1070647"/>
                  </a:lnTo>
                  <a:lnTo>
                    <a:pt x="6440102" y="1070647"/>
                  </a:lnTo>
                  <a:close/>
                  <a:moveTo>
                    <a:pt x="3381111" y="27809"/>
                  </a:moveTo>
                  <a:lnTo>
                    <a:pt x="3582727" y="27809"/>
                  </a:lnTo>
                  <a:lnTo>
                    <a:pt x="3983640" y="1068330"/>
                  </a:lnTo>
                  <a:lnTo>
                    <a:pt x="3777390" y="1068330"/>
                  </a:lnTo>
                  <a:lnTo>
                    <a:pt x="3696280" y="855127"/>
                  </a:lnTo>
                  <a:lnTo>
                    <a:pt x="3272193" y="855127"/>
                  </a:lnTo>
                  <a:lnTo>
                    <a:pt x="3186448" y="1068330"/>
                  </a:lnTo>
                  <a:lnTo>
                    <a:pt x="2980198" y="1068330"/>
                  </a:lnTo>
                  <a:close/>
                  <a:moveTo>
                    <a:pt x="2176055" y="27809"/>
                  </a:moveTo>
                  <a:lnTo>
                    <a:pt x="2363765" y="27809"/>
                  </a:lnTo>
                  <a:cubicBezTo>
                    <a:pt x="2451827" y="27809"/>
                    <a:pt x="2558428" y="27809"/>
                    <a:pt x="2646490" y="76475"/>
                  </a:cubicBezTo>
                  <a:cubicBezTo>
                    <a:pt x="2743822" y="129775"/>
                    <a:pt x="2797122" y="234059"/>
                    <a:pt x="2797122" y="338343"/>
                  </a:cubicBezTo>
                  <a:cubicBezTo>
                    <a:pt x="2797122" y="475071"/>
                    <a:pt x="2713695" y="593259"/>
                    <a:pt x="2583920" y="632655"/>
                  </a:cubicBezTo>
                  <a:lnTo>
                    <a:pt x="2908358" y="1068330"/>
                  </a:lnTo>
                  <a:lnTo>
                    <a:pt x="2665030" y="1068330"/>
                  </a:lnTo>
                  <a:lnTo>
                    <a:pt x="2377670" y="662782"/>
                  </a:lnTo>
                  <a:lnTo>
                    <a:pt x="2377670" y="1066012"/>
                  </a:lnTo>
                  <a:lnTo>
                    <a:pt x="2176055" y="1066012"/>
                  </a:lnTo>
                  <a:close/>
                  <a:moveTo>
                    <a:pt x="1149439" y="27809"/>
                  </a:moveTo>
                  <a:lnTo>
                    <a:pt x="1348737" y="27809"/>
                  </a:lnTo>
                  <a:lnTo>
                    <a:pt x="1348737" y="632655"/>
                  </a:lnTo>
                  <a:cubicBezTo>
                    <a:pt x="1348737" y="785605"/>
                    <a:pt x="1392768" y="903793"/>
                    <a:pt x="1552669" y="903793"/>
                  </a:cubicBezTo>
                  <a:cubicBezTo>
                    <a:pt x="1710254" y="903793"/>
                    <a:pt x="1756602" y="785605"/>
                    <a:pt x="1756602" y="632655"/>
                  </a:cubicBezTo>
                  <a:lnTo>
                    <a:pt x="1756602" y="27809"/>
                  </a:lnTo>
                  <a:lnTo>
                    <a:pt x="1955900" y="27809"/>
                  </a:lnTo>
                  <a:lnTo>
                    <a:pt x="1955900" y="674369"/>
                  </a:lnTo>
                  <a:cubicBezTo>
                    <a:pt x="1955900" y="903793"/>
                    <a:pt x="1805268" y="1093821"/>
                    <a:pt x="1552669" y="1093821"/>
                  </a:cubicBezTo>
                  <a:cubicBezTo>
                    <a:pt x="1300071" y="1093821"/>
                    <a:pt x="1149439" y="903793"/>
                    <a:pt x="1149439" y="674369"/>
                  </a:cubicBezTo>
                  <a:close/>
                  <a:moveTo>
                    <a:pt x="553863" y="2317"/>
                  </a:moveTo>
                  <a:cubicBezTo>
                    <a:pt x="639607" y="2317"/>
                    <a:pt x="723034" y="20857"/>
                    <a:pt x="801826" y="55618"/>
                  </a:cubicBezTo>
                  <a:cubicBezTo>
                    <a:pt x="880618" y="92697"/>
                    <a:pt x="950141" y="143680"/>
                    <a:pt x="1008076" y="210885"/>
                  </a:cubicBezTo>
                  <a:lnTo>
                    <a:pt x="869031" y="342978"/>
                  </a:lnTo>
                  <a:cubicBezTo>
                    <a:pt x="774017" y="243329"/>
                    <a:pt x="669733" y="194663"/>
                    <a:pt x="551545" y="194663"/>
                  </a:cubicBezTo>
                  <a:cubicBezTo>
                    <a:pt x="451896" y="194663"/>
                    <a:pt x="368469" y="229424"/>
                    <a:pt x="298947" y="296630"/>
                  </a:cubicBezTo>
                  <a:cubicBezTo>
                    <a:pt x="231742" y="363835"/>
                    <a:pt x="196980" y="447262"/>
                    <a:pt x="196980" y="546911"/>
                  </a:cubicBezTo>
                  <a:cubicBezTo>
                    <a:pt x="196980" y="616433"/>
                    <a:pt x="213202" y="676686"/>
                    <a:pt x="243329" y="732304"/>
                  </a:cubicBezTo>
                  <a:cubicBezTo>
                    <a:pt x="273455" y="785605"/>
                    <a:pt x="315169" y="827318"/>
                    <a:pt x="370787" y="859762"/>
                  </a:cubicBezTo>
                  <a:cubicBezTo>
                    <a:pt x="426405" y="889889"/>
                    <a:pt x="486658" y="906111"/>
                    <a:pt x="553863" y="906111"/>
                  </a:cubicBezTo>
                  <a:cubicBezTo>
                    <a:pt x="611798" y="906111"/>
                    <a:pt x="662781" y="894523"/>
                    <a:pt x="711447" y="873667"/>
                  </a:cubicBezTo>
                  <a:cubicBezTo>
                    <a:pt x="760113" y="852810"/>
                    <a:pt x="811096" y="813414"/>
                    <a:pt x="869031" y="755478"/>
                  </a:cubicBezTo>
                  <a:lnTo>
                    <a:pt x="1003442" y="894523"/>
                  </a:lnTo>
                  <a:cubicBezTo>
                    <a:pt x="926967" y="968681"/>
                    <a:pt x="855127" y="1021981"/>
                    <a:pt x="785604" y="1049791"/>
                  </a:cubicBezTo>
                  <a:cubicBezTo>
                    <a:pt x="718399" y="1077600"/>
                    <a:pt x="639607" y="1093821"/>
                    <a:pt x="551545" y="1093821"/>
                  </a:cubicBezTo>
                  <a:cubicBezTo>
                    <a:pt x="389326" y="1093821"/>
                    <a:pt x="257233" y="1042838"/>
                    <a:pt x="155267" y="940872"/>
                  </a:cubicBezTo>
                  <a:cubicBezTo>
                    <a:pt x="50983" y="836588"/>
                    <a:pt x="0" y="706813"/>
                    <a:pt x="0" y="546911"/>
                  </a:cubicBezTo>
                  <a:cubicBezTo>
                    <a:pt x="0" y="442627"/>
                    <a:pt x="23174" y="352248"/>
                    <a:pt x="69523" y="271138"/>
                  </a:cubicBezTo>
                  <a:cubicBezTo>
                    <a:pt x="115871" y="190028"/>
                    <a:pt x="183076" y="125141"/>
                    <a:pt x="271138" y="76475"/>
                  </a:cubicBezTo>
                  <a:cubicBezTo>
                    <a:pt x="359200" y="27809"/>
                    <a:pt x="451896" y="2317"/>
                    <a:pt x="553863" y="2317"/>
                  </a:cubicBezTo>
                  <a:close/>
                  <a:moveTo>
                    <a:pt x="4565311" y="0"/>
                  </a:moveTo>
                  <a:cubicBezTo>
                    <a:pt x="4651056" y="0"/>
                    <a:pt x="4734483" y="18539"/>
                    <a:pt x="4813275" y="55618"/>
                  </a:cubicBezTo>
                  <a:cubicBezTo>
                    <a:pt x="4892067" y="92697"/>
                    <a:pt x="4961590" y="143680"/>
                    <a:pt x="5019525" y="210885"/>
                  </a:cubicBezTo>
                  <a:lnTo>
                    <a:pt x="4882798" y="340660"/>
                  </a:lnTo>
                  <a:cubicBezTo>
                    <a:pt x="4787784" y="241012"/>
                    <a:pt x="4681182" y="190028"/>
                    <a:pt x="4562994" y="190028"/>
                  </a:cubicBezTo>
                  <a:cubicBezTo>
                    <a:pt x="4463345" y="190028"/>
                    <a:pt x="4379918" y="224790"/>
                    <a:pt x="4310396" y="291995"/>
                  </a:cubicBezTo>
                  <a:cubicBezTo>
                    <a:pt x="4243191" y="361517"/>
                    <a:pt x="4208429" y="444944"/>
                    <a:pt x="4208429" y="544593"/>
                  </a:cubicBezTo>
                  <a:cubicBezTo>
                    <a:pt x="4208429" y="614116"/>
                    <a:pt x="4224651" y="676686"/>
                    <a:pt x="4254778" y="729987"/>
                  </a:cubicBezTo>
                  <a:cubicBezTo>
                    <a:pt x="4284904" y="783287"/>
                    <a:pt x="4326617" y="827318"/>
                    <a:pt x="4382236" y="857445"/>
                  </a:cubicBezTo>
                  <a:cubicBezTo>
                    <a:pt x="4437854" y="887571"/>
                    <a:pt x="4500424" y="903793"/>
                    <a:pt x="4567629" y="903793"/>
                  </a:cubicBezTo>
                  <a:cubicBezTo>
                    <a:pt x="4625564" y="903793"/>
                    <a:pt x="4676548" y="892206"/>
                    <a:pt x="4725213" y="871349"/>
                  </a:cubicBezTo>
                  <a:cubicBezTo>
                    <a:pt x="4773879" y="848175"/>
                    <a:pt x="4824862" y="808779"/>
                    <a:pt x="4882798" y="753161"/>
                  </a:cubicBezTo>
                  <a:lnTo>
                    <a:pt x="5017208" y="894523"/>
                  </a:lnTo>
                  <a:cubicBezTo>
                    <a:pt x="4940733" y="970998"/>
                    <a:pt x="4868893" y="1021981"/>
                    <a:pt x="4799371" y="1052108"/>
                  </a:cubicBezTo>
                  <a:cubicBezTo>
                    <a:pt x="4732165" y="1082234"/>
                    <a:pt x="4653373" y="1096139"/>
                    <a:pt x="4565311" y="1096139"/>
                  </a:cubicBezTo>
                  <a:cubicBezTo>
                    <a:pt x="4403092" y="1096139"/>
                    <a:pt x="4271000" y="1045156"/>
                    <a:pt x="4166716" y="943189"/>
                  </a:cubicBezTo>
                  <a:cubicBezTo>
                    <a:pt x="4062432" y="838905"/>
                    <a:pt x="4011449" y="706813"/>
                    <a:pt x="4011449" y="546911"/>
                  </a:cubicBezTo>
                  <a:cubicBezTo>
                    <a:pt x="4011449" y="442627"/>
                    <a:pt x="4034623" y="349930"/>
                    <a:pt x="4080971" y="268821"/>
                  </a:cubicBezTo>
                  <a:cubicBezTo>
                    <a:pt x="4127320" y="187711"/>
                    <a:pt x="4194525" y="122823"/>
                    <a:pt x="4282587" y="74157"/>
                  </a:cubicBezTo>
                  <a:cubicBezTo>
                    <a:pt x="4370649" y="25492"/>
                    <a:pt x="4463345" y="0"/>
                    <a:pt x="4565311" y="0"/>
                  </a:cubicBezTo>
                  <a:close/>
                </a:path>
              </a:pathLst>
            </a:custGeom>
            <a:solidFill>
              <a:srgbClr val="929A9F"/>
            </a:solidFill>
            <a:ln w="23158" cap="flat">
              <a:noFill/>
              <a:prstDash val="solid"/>
              <a:miter/>
            </a:ln>
          </p:spPr>
          <p:txBody>
            <a:bodyPr rtlCol="0" anchor="ctr"/>
            <a:lstStyle/>
            <a:p>
              <a:endParaRPr lang="de-DE" dirty="0"/>
            </a:p>
          </p:txBody>
        </p:sp>
      </p:grpSp>
    </p:spTree>
    <p:extLst>
      <p:ext uri="{BB962C8B-B14F-4D97-AF65-F5344CB8AC3E}">
        <p14:creationId xmlns:p14="http://schemas.microsoft.com/office/powerpoint/2010/main" val="392719313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Lst>
  <p:hf hdr="0" ftr="0" dt="0"/>
  <p:txStyles>
    <p:title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600"/>
        </a:spcBef>
        <a:buFont typeface="Arial" panose="020B0604020202020204" pitchFamily="34" charset="0"/>
        <a:buNone/>
        <a:defRPr sz="1400" kern="1200">
          <a:solidFill>
            <a:schemeClr val="tx1"/>
          </a:solidFill>
          <a:latin typeface="+mn-lt"/>
          <a:ea typeface="+mn-ea"/>
          <a:cs typeface="+mn-cs"/>
        </a:defRPr>
      </a:lvl1pPr>
      <a:lvl2pPr marL="179388" indent="-179388"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b="0" kern="1200">
          <a:solidFill>
            <a:schemeClr val="tx1"/>
          </a:solidFill>
          <a:latin typeface="+mn-lt"/>
          <a:ea typeface="+mn-ea"/>
          <a:cs typeface="+mn-cs"/>
        </a:defRPr>
      </a:lvl2pPr>
      <a:lvl3pPr marL="358775" indent="-179388" algn="l" defTabSz="914400" rtl="0" eaLnBrk="1" latinLnBrk="0" hangingPunct="1">
        <a:lnSpc>
          <a:spcPct val="100000"/>
        </a:lnSpc>
        <a:spcBef>
          <a:spcPts val="0"/>
        </a:spcBef>
        <a:spcAft>
          <a:spcPts val="600"/>
        </a:spcAft>
        <a:buClr>
          <a:schemeClr val="accent1"/>
        </a:buClr>
        <a:buFont typeface="Symbol" panose="05050102010706020507" pitchFamily="18" charset="2"/>
        <a:buChar char="-"/>
        <a:defRPr sz="1400" b="0" kern="1200">
          <a:solidFill>
            <a:schemeClr val="tx1"/>
          </a:solidFill>
          <a:latin typeface="+mn-lt"/>
          <a:ea typeface="+mn-ea"/>
          <a:cs typeface="+mn-cs"/>
        </a:defRPr>
      </a:lvl3pPr>
      <a:lvl4pPr marL="538163" indent="-1793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79388" indent="-179388"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sz="1400" kern="1200">
          <a:solidFill>
            <a:schemeClr val="tx1"/>
          </a:solidFill>
          <a:latin typeface="+mn-lt"/>
          <a:ea typeface="+mn-ea"/>
          <a:cs typeface="+mn-cs"/>
        </a:defRPr>
      </a:lvl5pPr>
      <a:lvl6pPr marL="0" indent="0" algn="l" defTabSz="914400" rtl="0" eaLnBrk="1" latinLnBrk="0" hangingPunct="1">
        <a:lnSpc>
          <a:spcPct val="110000"/>
        </a:lnSpc>
        <a:spcBef>
          <a:spcPts val="600"/>
        </a:spcBef>
        <a:spcAft>
          <a:spcPts val="0"/>
        </a:spcAft>
        <a:buFont typeface="Arial" panose="020B0604020202020204" pitchFamily="34" charset="0"/>
        <a:buNone/>
        <a:defRPr sz="800" kern="1200" cap="none" baseline="0">
          <a:solidFill>
            <a:schemeClr val="tx1"/>
          </a:solidFill>
          <a:latin typeface="+mn-lt"/>
          <a:ea typeface="+mn-ea"/>
          <a:cs typeface="+mn-cs"/>
        </a:defRPr>
      </a:lvl6pPr>
      <a:lvl7pPr marL="0" indent="0" algn="l" defTabSz="914400" rtl="0" eaLnBrk="1" latinLnBrk="0" hangingPunct="1">
        <a:lnSpc>
          <a:spcPct val="110000"/>
        </a:lnSpc>
        <a:spcBef>
          <a:spcPts val="600"/>
        </a:spcBef>
        <a:spcAft>
          <a:spcPts val="600"/>
        </a:spcAft>
        <a:buFont typeface="Arial" panose="020B0604020202020204" pitchFamily="34" charset="0"/>
        <a:buNone/>
        <a:defRPr sz="2000" kern="1200" cap="all" baseline="0">
          <a:solidFill>
            <a:schemeClr val="accent1"/>
          </a:solidFill>
          <a:latin typeface="+mj-lt"/>
          <a:ea typeface="+mn-ea"/>
          <a:cs typeface="+mn-cs"/>
        </a:defRPr>
      </a:lvl7pPr>
      <a:lvl8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cap="all" baseline="0">
          <a:solidFill>
            <a:schemeClr val="accent5"/>
          </a:solidFill>
          <a:latin typeface="+mj-lt"/>
          <a:ea typeface="+mn-ea"/>
          <a:cs typeface="+mn-cs"/>
        </a:defRPr>
      </a:lvl8pPr>
      <a:lvl9pPr marL="288000" indent="-288000" algn="l" defTabSz="914400" rtl="0" eaLnBrk="1" latinLnBrk="0" hangingPunct="1">
        <a:lnSpc>
          <a:spcPct val="110000"/>
        </a:lnSpc>
        <a:spcBef>
          <a:spcPts val="600"/>
        </a:spcBef>
        <a:spcAft>
          <a:spcPts val="0"/>
        </a:spcAft>
        <a:buClr>
          <a:schemeClr val="accent1"/>
        </a:buClr>
        <a:buFont typeface="Wingdings 3" panose="05040102010807070707" pitchFamily="18" charset="2"/>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4">
          <p15:clr>
            <a:srgbClr val="F26B43"/>
          </p15:clr>
        </p15:guide>
        <p15:guide id="2" pos="217">
          <p15:clr>
            <a:srgbClr val="F26B43"/>
          </p15:clr>
        </p15:guide>
        <p15:guide id="3" pos="6023">
          <p15:clr>
            <a:srgbClr val="F26B43"/>
          </p15:clr>
        </p15:guide>
        <p15:guide id="4" orient="horz" pos="981">
          <p15:clr>
            <a:srgbClr val="F26B43"/>
          </p15:clr>
        </p15:guide>
        <p15:guide id="5" orient="horz" pos="21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image" Target="../media/image10.emf"/><Relationship Id="rId18" Type="http://schemas.microsoft.com/office/2007/relationships/diagramDrawing" Target="../diagrams/drawing1.xml"/><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oleObject" Target="../embeddings/oleObject6.bin"/><Relationship Id="rId17" Type="http://schemas.openxmlformats.org/officeDocument/2006/relationships/diagramColors" Target="../diagrams/colors1.xml"/><Relationship Id="rId2" Type="http://schemas.openxmlformats.org/officeDocument/2006/relationships/tags" Target="../tags/tag110.xml"/><Relationship Id="rId16" Type="http://schemas.openxmlformats.org/officeDocument/2006/relationships/diagramQuickStyle" Target="../diagrams/quickStyle1.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notesSlide" Target="../notesSlides/notesSlide9.xml"/><Relationship Id="rId5" Type="http://schemas.openxmlformats.org/officeDocument/2006/relationships/tags" Target="../tags/tag113.xml"/><Relationship Id="rId15" Type="http://schemas.openxmlformats.org/officeDocument/2006/relationships/diagramLayout" Target="../diagrams/layout1.xml"/><Relationship Id="rId10" Type="http://schemas.openxmlformats.org/officeDocument/2006/relationships/slideLayout" Target="../slideLayouts/slideLayout2.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diagramData" Target="../diagrams/data1.xml"/></Relationships>
</file>

<file path=ppt/slides/_rels/slide2.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26" Type="http://schemas.openxmlformats.org/officeDocument/2006/relationships/tags" Target="../tags/tag47.xml"/><Relationship Id="rId3" Type="http://schemas.openxmlformats.org/officeDocument/2006/relationships/tags" Target="../tags/tag24.xml"/><Relationship Id="rId21" Type="http://schemas.openxmlformats.org/officeDocument/2006/relationships/tags" Target="../tags/tag42.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tags" Target="../tags/tag46.xml"/><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tags" Target="../tags/tag41.xml"/><Relationship Id="rId29" Type="http://schemas.openxmlformats.org/officeDocument/2006/relationships/image" Target="../media/image55.png"/><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24" Type="http://schemas.openxmlformats.org/officeDocument/2006/relationships/tags" Target="../tags/tag45.xml"/><Relationship Id="rId32" Type="http://schemas.openxmlformats.org/officeDocument/2006/relationships/chart" Target="../charts/chart3.xml"/><Relationship Id="rId5" Type="http://schemas.openxmlformats.org/officeDocument/2006/relationships/tags" Target="../tags/tag26.xml"/><Relationship Id="rId15" Type="http://schemas.openxmlformats.org/officeDocument/2006/relationships/tags" Target="../tags/tag36.xml"/><Relationship Id="rId23" Type="http://schemas.openxmlformats.org/officeDocument/2006/relationships/tags" Target="../tags/tag44.xml"/><Relationship Id="rId28" Type="http://schemas.microsoft.com/office/2014/relationships/chartEx" Target="../charts/chartEx1.xml"/><Relationship Id="rId10" Type="http://schemas.openxmlformats.org/officeDocument/2006/relationships/tags" Target="../tags/tag31.xml"/><Relationship Id="rId19" Type="http://schemas.openxmlformats.org/officeDocument/2006/relationships/tags" Target="../tags/tag40.xml"/><Relationship Id="rId31" Type="http://schemas.openxmlformats.org/officeDocument/2006/relationships/chart" Target="../charts/chart2.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tags" Target="../tags/tag43.xml"/><Relationship Id="rId27" Type="http://schemas.openxmlformats.org/officeDocument/2006/relationships/slideLayout" Target="../slideLayouts/slideLayout4.xml"/><Relationship Id="rId30" Type="http://schemas.openxmlformats.org/officeDocument/2006/relationships/chart" Target="../charts/chart1.xml"/></Relationships>
</file>

<file path=ppt/slides/_rels/slide20.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oleObject" Target="../embeddings/oleObject6.bin"/><Relationship Id="rId3" Type="http://schemas.openxmlformats.org/officeDocument/2006/relationships/tags" Target="../tags/tag120.xml"/><Relationship Id="rId21" Type="http://schemas.openxmlformats.org/officeDocument/2006/relationships/image" Target="../media/image21.svg"/><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notesSlide" Target="../notesSlides/notesSlide10.xml"/><Relationship Id="rId25" Type="http://schemas.openxmlformats.org/officeDocument/2006/relationships/image" Target="../media/image25.svg"/><Relationship Id="rId2" Type="http://schemas.openxmlformats.org/officeDocument/2006/relationships/tags" Target="../tags/tag119.xml"/><Relationship Id="rId16" Type="http://schemas.openxmlformats.org/officeDocument/2006/relationships/slideLayout" Target="../slideLayouts/slideLayout2.xml"/><Relationship Id="rId20" Type="http://schemas.openxmlformats.org/officeDocument/2006/relationships/image" Target="../media/image20.png"/><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24" Type="http://schemas.openxmlformats.org/officeDocument/2006/relationships/image" Target="../media/image24.png"/><Relationship Id="rId5" Type="http://schemas.openxmlformats.org/officeDocument/2006/relationships/tags" Target="../tags/tag122.xml"/><Relationship Id="rId15" Type="http://schemas.openxmlformats.org/officeDocument/2006/relationships/tags" Target="../tags/tag132.xml"/><Relationship Id="rId23" Type="http://schemas.openxmlformats.org/officeDocument/2006/relationships/image" Target="../media/image23.svg"/><Relationship Id="rId10" Type="http://schemas.openxmlformats.org/officeDocument/2006/relationships/tags" Target="../tags/tag127.xml"/><Relationship Id="rId19" Type="http://schemas.openxmlformats.org/officeDocument/2006/relationships/image" Target="../media/image10.emf"/><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image" Target="../media/image22.png"/></Relationships>
</file>

<file path=ppt/slides/_rels/slide21.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1.emf"/><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oleObject" Target="../embeddings/oleObject7.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slideLayout" Target="../slideLayouts/slideLayout4.xml"/><Relationship Id="rId3" Type="http://schemas.openxmlformats.org/officeDocument/2006/relationships/tags" Target="../tags/tag138.xml"/><Relationship Id="rId7" Type="http://schemas.openxmlformats.org/officeDocument/2006/relationships/tags" Target="../tags/tag142.xml"/><Relationship Id="rId12" Type="http://schemas.openxmlformats.org/officeDocument/2006/relationships/tags" Target="../tags/tag147.xml"/><Relationship Id="rId2" Type="http://schemas.openxmlformats.org/officeDocument/2006/relationships/tags" Target="../tags/tag137.xml"/><Relationship Id="rId16" Type="http://schemas.openxmlformats.org/officeDocument/2006/relationships/image" Target="../media/image10.emf"/><Relationship Id="rId1" Type="http://schemas.openxmlformats.org/officeDocument/2006/relationships/tags" Target="../tags/tag136.xml"/><Relationship Id="rId6" Type="http://schemas.openxmlformats.org/officeDocument/2006/relationships/tags" Target="../tags/tag141.xml"/><Relationship Id="rId11" Type="http://schemas.openxmlformats.org/officeDocument/2006/relationships/tags" Target="../tags/tag146.xml"/><Relationship Id="rId5" Type="http://schemas.openxmlformats.org/officeDocument/2006/relationships/tags" Target="../tags/tag140.xml"/><Relationship Id="rId15" Type="http://schemas.openxmlformats.org/officeDocument/2006/relationships/oleObject" Target="../embeddings/oleObject5.bin"/><Relationship Id="rId10" Type="http://schemas.openxmlformats.org/officeDocument/2006/relationships/tags" Target="../tags/tag145.xml"/><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notesSlide" Target="../notesSlides/notesSlide12.xml"/></Relationships>
</file>

<file path=ppt/slides/_rels/slide2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50.xml"/><Relationship Id="rId7" Type="http://schemas.openxmlformats.org/officeDocument/2006/relationships/oleObject" Target="../embeddings/oleObject8.bin"/><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notesSlide" Target="../notesSlides/notesSlide13.xml"/><Relationship Id="rId5" Type="http://schemas.openxmlformats.org/officeDocument/2006/relationships/slideLayout" Target="../slideLayouts/slideLayout2.xml"/><Relationship Id="rId4" Type="http://schemas.openxmlformats.org/officeDocument/2006/relationships/tags" Target="../tags/tag151.xml"/><Relationship Id="rId9" Type="http://schemas.openxmlformats.org/officeDocument/2006/relationships/image" Target="../media/image26.png"/></Relationships>
</file>

<file path=ppt/slides/_rels/slide24.xml.rels><?xml version="1.0" encoding="UTF-8" standalone="yes"?>
<Relationships xmlns="http://schemas.openxmlformats.org/package/2006/relationships"><Relationship Id="rId3" Type="http://schemas.openxmlformats.org/officeDocument/2006/relationships/tags" Target="../tags/tag154.xml"/><Relationship Id="rId7" Type="http://schemas.openxmlformats.org/officeDocument/2006/relationships/image" Target="../media/image10.emf"/><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oleObject" Target="../embeddings/oleObject9.bin"/><Relationship Id="rId5" Type="http://schemas.openxmlformats.org/officeDocument/2006/relationships/notesSlide" Target="../notesSlides/notesSlide14.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157.xml"/><Relationship Id="rId7" Type="http://schemas.openxmlformats.org/officeDocument/2006/relationships/oleObject" Target="../embeddings/oleObject10.bin"/><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notesSlide" Target="../notesSlides/notesSlide15.xml"/><Relationship Id="rId5" Type="http://schemas.openxmlformats.org/officeDocument/2006/relationships/slideLayout" Target="../slideLayouts/slideLayout2.xml"/><Relationship Id="rId10" Type="http://schemas.openxmlformats.org/officeDocument/2006/relationships/image" Target="../media/image29.svg"/><Relationship Id="rId4" Type="http://schemas.openxmlformats.org/officeDocument/2006/relationships/tags" Target="../tags/tag158.xml"/><Relationship Id="rId9" Type="http://schemas.openxmlformats.org/officeDocument/2006/relationships/image" Target="../media/image28.png"/></Relationships>
</file>

<file path=ppt/slides/_rels/slide2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61.xml"/><Relationship Id="rId7" Type="http://schemas.openxmlformats.org/officeDocument/2006/relationships/hyperlink" Target="https://www.curacon.de/expert-innen/info/29-kai-tybussek" TargetMode="Externa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30.jpg"/><Relationship Id="rId5" Type="http://schemas.openxmlformats.org/officeDocument/2006/relationships/slideLayout" Target="../slideLayouts/slideLayout20.xml"/><Relationship Id="rId4" Type="http://schemas.openxmlformats.org/officeDocument/2006/relationships/tags" Target="../tags/tag162.xml"/></Relationships>
</file>

<file path=ppt/slides/_rels/slide3.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tags" Target="../tags/tag65.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tags" Target="../tags/tag64.xml"/><Relationship Id="rId2" Type="http://schemas.openxmlformats.org/officeDocument/2006/relationships/tags" Target="../tags/tag49.xml"/><Relationship Id="rId16" Type="http://schemas.openxmlformats.org/officeDocument/2006/relationships/tags" Target="../tags/tag63.xml"/><Relationship Id="rId20"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5" Type="http://schemas.openxmlformats.org/officeDocument/2006/relationships/tags" Target="../tags/tag62.xml"/><Relationship Id="rId10" Type="http://schemas.openxmlformats.org/officeDocument/2006/relationships/tags" Target="../tags/tag57.xml"/><Relationship Id="rId19" Type="http://schemas.openxmlformats.org/officeDocument/2006/relationships/tags" Target="../tags/tag66.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s>
</file>

<file path=ppt/slides/_rels/slide4.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chart" Target="../charts/chart4.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7.jpeg"/><Relationship Id="rId5" Type="http://schemas.openxmlformats.org/officeDocument/2006/relationships/slideLayout" Target="../slideLayouts/slideLayout4.xml"/><Relationship Id="rId4" Type="http://schemas.openxmlformats.org/officeDocument/2006/relationships/tags" Target="../tags/tag70.xml"/></Relationships>
</file>

<file path=ppt/slides/_rels/slide5.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image" Target="../media/image9.jpeg"/><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notesSlide" Target="../notesSlides/notesSlide2.xml"/><Relationship Id="rId2" Type="http://schemas.openxmlformats.org/officeDocument/2006/relationships/tags" Target="../tags/tag72.xml"/><Relationship Id="rId16" Type="http://schemas.openxmlformats.org/officeDocument/2006/relationships/chart" Target="../charts/chart5.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slideLayout" Target="../slideLayouts/slideLayout4.xml"/><Relationship Id="rId5" Type="http://schemas.openxmlformats.org/officeDocument/2006/relationships/tags" Target="../tags/tag75.xml"/><Relationship Id="rId15" Type="http://schemas.openxmlformats.org/officeDocument/2006/relationships/image" Target="../media/image10.emf"/><Relationship Id="rId10" Type="http://schemas.openxmlformats.org/officeDocument/2006/relationships/tags" Target="../tags/tag80.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chart" Target="../charts/chart7.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chart" Target="../charts/chart6.xml"/><Relationship Id="rId5" Type="http://schemas.openxmlformats.org/officeDocument/2006/relationships/tags" Target="../tags/tag85.xml"/><Relationship Id="rId10" Type="http://schemas.openxmlformats.org/officeDocument/2006/relationships/image" Target="../media/image12.jpeg"/><Relationship Id="rId4" Type="http://schemas.openxmlformats.org/officeDocument/2006/relationships/tags" Target="../tags/tag84.xml"/><Relationship Id="rId9"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tags" Target="../tags/tag101.xml"/><Relationship Id="rId18" Type="http://schemas.openxmlformats.org/officeDocument/2006/relationships/tags" Target="../tags/tag106.xml"/><Relationship Id="rId3" Type="http://schemas.openxmlformats.org/officeDocument/2006/relationships/tags" Target="../tags/tag91.xml"/><Relationship Id="rId21" Type="http://schemas.openxmlformats.org/officeDocument/2006/relationships/slideLayout" Target="../slideLayouts/slideLayout2.xml"/><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tags" Target="../tags/tag105.xml"/><Relationship Id="rId2" Type="http://schemas.openxmlformats.org/officeDocument/2006/relationships/tags" Target="../tags/tag90.xml"/><Relationship Id="rId16" Type="http://schemas.openxmlformats.org/officeDocument/2006/relationships/tags" Target="../tags/tag104.xml"/><Relationship Id="rId20" Type="http://schemas.openxmlformats.org/officeDocument/2006/relationships/tags" Target="../tags/tag108.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24" Type="http://schemas.openxmlformats.org/officeDocument/2006/relationships/image" Target="../media/image10.emf"/><Relationship Id="rId5" Type="http://schemas.openxmlformats.org/officeDocument/2006/relationships/tags" Target="../tags/tag93.xml"/><Relationship Id="rId15" Type="http://schemas.openxmlformats.org/officeDocument/2006/relationships/tags" Target="../tags/tag103.xml"/><Relationship Id="rId23" Type="http://schemas.openxmlformats.org/officeDocument/2006/relationships/oleObject" Target="../embeddings/oleObject6.bin"/><Relationship Id="rId10" Type="http://schemas.openxmlformats.org/officeDocument/2006/relationships/tags" Target="../tags/tag98.xml"/><Relationship Id="rId19" Type="http://schemas.openxmlformats.org/officeDocument/2006/relationships/tags" Target="../tags/tag107.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32" imgH="530" progId="TCLayout.ActiveDocument.1">
                  <p:embed/>
                </p:oleObj>
              </mc:Choice>
              <mc:Fallback>
                <p:oleObj name="think-cell Folie" r:id="rId5" imgW="532" imgH="530" progId="TCLayout.ActiveDocument.1">
                  <p:embed/>
                  <p:pic>
                    <p:nvPicPr>
                      <p:cNvPr id="10" name="Objekt 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40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4" name="Title 3">
            <a:extLst>
              <a:ext uri="{FF2B5EF4-FFF2-40B4-BE49-F238E27FC236}">
                <a16:creationId xmlns:a16="http://schemas.microsoft.com/office/drawing/2014/main" id="{D3793201-4DF5-4D6C-BB4D-E03A21B68DFF}"/>
              </a:ext>
            </a:extLst>
          </p:cNvPr>
          <p:cNvSpPr>
            <a:spLocks noGrp="1"/>
          </p:cNvSpPr>
          <p:nvPr>
            <p:ph type="ctrTitle"/>
          </p:nvPr>
        </p:nvSpPr>
        <p:spPr/>
        <p:txBody>
          <a:bodyPr vert="horz"/>
          <a:lstStyle/>
          <a:p>
            <a:r>
              <a:rPr lang="de-DE" sz="2800" dirty="0"/>
              <a:t>Was wäre wenn…</a:t>
            </a:r>
            <a:br>
              <a:rPr lang="de-DE" sz="2800" dirty="0"/>
            </a:br>
            <a:r>
              <a:rPr lang="de-DE" sz="2800" dirty="0" err="1"/>
              <a:t>Betreiber:innen</a:t>
            </a:r>
            <a:r>
              <a:rPr lang="de-DE" sz="2800" dirty="0"/>
              <a:t> klare Kante bei Pflegesatzverhandlungen zeigen und bekommen, was ihnen zusteht?</a:t>
            </a:r>
            <a:endParaRPr lang="de-DE" sz="2800" dirty="0">
              <a:latin typeface="+mn-lt"/>
            </a:endParaRPr>
          </a:p>
        </p:txBody>
      </p:sp>
      <p:sp>
        <p:nvSpPr>
          <p:cNvPr id="5" name="Subtitle 4">
            <a:extLst>
              <a:ext uri="{FF2B5EF4-FFF2-40B4-BE49-F238E27FC236}">
                <a16:creationId xmlns:a16="http://schemas.microsoft.com/office/drawing/2014/main" id="{DA5BD62C-4D2C-4657-BDFE-D70D7F63C357}"/>
              </a:ext>
            </a:extLst>
          </p:cNvPr>
          <p:cNvSpPr>
            <a:spLocks noGrp="1"/>
          </p:cNvSpPr>
          <p:nvPr>
            <p:ph type="subTitle" idx="1"/>
          </p:nvPr>
        </p:nvSpPr>
        <p:spPr>
          <a:xfrm>
            <a:off x="776432" y="4598151"/>
            <a:ext cx="6984880" cy="368349"/>
          </a:xfrm>
        </p:spPr>
        <p:txBody>
          <a:bodyPr/>
          <a:lstStyle/>
          <a:p>
            <a:r>
              <a:rPr lang="de-DE" dirty="0"/>
              <a:t>RA Kai Tybussek</a:t>
            </a:r>
          </a:p>
        </p:txBody>
      </p:sp>
      <p:sp>
        <p:nvSpPr>
          <p:cNvPr id="9" name="Text Placeholder 8">
            <a:extLst>
              <a:ext uri="{FF2B5EF4-FFF2-40B4-BE49-F238E27FC236}">
                <a16:creationId xmlns:a16="http://schemas.microsoft.com/office/drawing/2014/main" id="{064374BA-8830-4301-AE18-C4C5C0065ADF}"/>
              </a:ext>
            </a:extLst>
          </p:cNvPr>
          <p:cNvSpPr>
            <a:spLocks noGrp="1"/>
          </p:cNvSpPr>
          <p:nvPr>
            <p:ph type="body" sz="quarter" idx="18"/>
          </p:nvPr>
        </p:nvSpPr>
        <p:spPr/>
        <p:txBody>
          <a:bodyPr/>
          <a:lstStyle/>
          <a:p>
            <a:r>
              <a:rPr lang="de-DE" dirty="0">
                <a:solidFill>
                  <a:srgbClr val="F5BF06"/>
                </a:solidFill>
              </a:rPr>
              <a:t>Berlin, den 3. Dezember 2025</a:t>
            </a:r>
          </a:p>
        </p:txBody>
      </p:sp>
      <p:pic>
        <p:nvPicPr>
          <p:cNvPr id="6" name="Grafik 5">
            <a:extLst>
              <a:ext uri="{FF2B5EF4-FFF2-40B4-BE49-F238E27FC236}">
                <a16:creationId xmlns:a16="http://schemas.microsoft.com/office/drawing/2014/main" id="{100524A5-8C07-D4F0-F343-F1DF75F3CCE8}"/>
              </a:ext>
            </a:extLst>
          </p:cNvPr>
          <p:cNvPicPr>
            <a:picLocks noChangeAspect="1"/>
          </p:cNvPicPr>
          <p:nvPr/>
        </p:nvPicPr>
        <p:blipFill>
          <a:blip r:embed="rId7"/>
          <a:stretch>
            <a:fillRect/>
          </a:stretch>
        </p:blipFill>
        <p:spPr>
          <a:xfrm>
            <a:off x="211138" y="5120640"/>
            <a:ext cx="1617662" cy="1617662"/>
          </a:xfrm>
          <a:prstGeom prst="rect">
            <a:avLst/>
          </a:prstGeom>
        </p:spPr>
      </p:pic>
    </p:spTree>
    <p:extLst>
      <p:ext uri="{BB962C8B-B14F-4D97-AF65-F5344CB8AC3E}">
        <p14:creationId xmlns:p14="http://schemas.microsoft.com/office/powerpoint/2010/main" val="1802537961"/>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698FA-FC02-36A8-58CA-2FE5832B72B0}"/>
              </a:ext>
            </a:extLst>
          </p:cNvPr>
          <p:cNvSpPr>
            <a:spLocks noGrp="1"/>
          </p:cNvSpPr>
          <p:nvPr>
            <p:ph type="title"/>
          </p:nvPr>
        </p:nvSpPr>
        <p:spPr>
          <a:xfrm>
            <a:off x="344489" y="332656"/>
            <a:ext cx="9217024" cy="699550"/>
          </a:xfrm>
          <a:noFill/>
          <a:ln/>
          <a:extLst>
            <a:ext uri="{909E8E84-426E-40DD-AFC4-6F175D3DCCD1}">
              <a14:hiddenFill xmlns:a14="http://schemas.microsoft.com/office/drawing/2010/main">
                <a:solidFill>
                  <a:srgbClr val="FFFFFF">
                    <a:alpha val="0"/>
                  </a:srgbClr>
                </a:solidFill>
              </a14:hiddenFill>
            </a:ext>
          </a:extLst>
        </p:spPr>
        <p:txBody>
          <a:bodyPr lIns="0" tIns="0" rIns="0" bIns="0" anchor="t">
            <a:noAutofit/>
          </a:bodyPr>
          <a:lstStyle/>
          <a:p>
            <a:r>
              <a:rPr>
                <a:solidFill>
                  <a:srgbClr val="C72A34"/>
                </a:solidFill>
                <a:latin typeface="Arial Black" panose="020B0A04020102020204" pitchFamily="34" charset="0"/>
              </a:rPr>
              <a:t>Analyse, Benchmarking und Strategieentwicklung</a:t>
            </a:r>
          </a:p>
        </p:txBody>
      </p:sp>
      <p:sp>
        <p:nvSpPr>
          <p:cNvPr id="5" name="Content Placeholder 4">
            <a:extLst>
              <a:ext uri="{FF2B5EF4-FFF2-40B4-BE49-F238E27FC236}">
                <a16:creationId xmlns:a16="http://schemas.microsoft.com/office/drawing/2014/main" id="{9117513F-AC5A-7DBE-A8A9-73F9C562346C}"/>
              </a:ext>
            </a:extLst>
          </p:cNvPr>
          <p:cNvSpPr>
            <a:spLocks noGrp="1"/>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344490" y="1257573"/>
            <a:ext cx="6680424" cy="4644571"/>
          </a:xfrm>
          <a:prstGeom prst="rect">
            <a:avLst/>
          </a:prstGeom>
        </p:spPr>
        <p:txBody>
          <a:bodyPr>
            <a:normAutofit/>
          </a:bodyPr>
          <a:lstStyle>
            <a:lvl1pPr marL="232172" indent="-232172" algn="l" defTabSz="742950" rtl="0" eaLnBrk="1" latinLnBrk="0" hangingPunct="1">
              <a:lnSpc>
                <a:spcPct val="100000"/>
              </a:lnSpc>
              <a:spcBef>
                <a:spcPts val="813"/>
              </a:spcBef>
              <a:buFont typeface="Arial" panose="020B0604020202020204" pitchFamily="34" charset="0"/>
              <a:buChar char="•"/>
              <a:defRPr sz="1138" b="0" i="0" kern="1200">
                <a:solidFill>
                  <a:schemeClr val="tx1"/>
                </a:solidFill>
                <a:latin typeface="+mn-lt"/>
                <a:ea typeface="+mn-ea"/>
                <a:cs typeface="+mn-cs"/>
              </a:defRPr>
            </a:lvl1pPr>
            <a:lvl2pPr marL="417909" indent="-232172" algn="l" defTabSz="742950" rtl="0" eaLnBrk="1" latinLnBrk="0" hangingPunct="1">
              <a:lnSpc>
                <a:spcPct val="100000"/>
              </a:lnSpc>
              <a:spcBef>
                <a:spcPts val="406"/>
              </a:spcBef>
              <a:buFont typeface="Arial" panose="020B0604020202020204" pitchFamily="34" charset="0"/>
              <a:buChar char="•"/>
              <a:defRPr sz="1138" b="0" i="0" kern="1200">
                <a:solidFill>
                  <a:schemeClr val="tx1"/>
                </a:solidFill>
                <a:latin typeface="+mn-lt"/>
                <a:ea typeface="+mn-ea"/>
                <a:cs typeface="+mn-cs"/>
              </a:defRPr>
            </a:lvl2pPr>
            <a:lvl3pPr marL="603647" indent="-232172" algn="l" defTabSz="742950" rtl="0" eaLnBrk="1" latinLnBrk="0" hangingPunct="1">
              <a:lnSpc>
                <a:spcPct val="100000"/>
              </a:lnSpc>
              <a:spcBef>
                <a:spcPts val="406"/>
              </a:spcBef>
              <a:buFont typeface="Arial" panose="020B0604020202020204" pitchFamily="34" charset="0"/>
              <a:buChar char="•"/>
              <a:defRPr sz="1138" b="0" i="0" kern="1200">
                <a:solidFill>
                  <a:schemeClr val="tx1"/>
                </a:solidFill>
                <a:latin typeface="+mn-lt"/>
                <a:ea typeface="+mn-ea"/>
                <a:cs typeface="+mn-cs"/>
              </a:defRPr>
            </a:lvl3pPr>
            <a:lvl4pPr marL="789384" indent="-232172" algn="l" defTabSz="742950" rtl="0" eaLnBrk="1" latinLnBrk="0" hangingPunct="1">
              <a:lnSpc>
                <a:spcPct val="100000"/>
              </a:lnSpc>
              <a:spcBef>
                <a:spcPts val="406"/>
              </a:spcBef>
              <a:buFont typeface="Arial" panose="020B0604020202020204" pitchFamily="34" charset="0"/>
              <a:buChar char="•"/>
              <a:defRPr sz="1138" kern="1200">
                <a:solidFill>
                  <a:schemeClr val="tx1"/>
                </a:solidFill>
                <a:latin typeface="+mn-lt"/>
                <a:ea typeface="+mn-ea"/>
                <a:cs typeface="+mn-cs"/>
              </a:defRPr>
            </a:lvl4pPr>
            <a:lvl5pPr marL="975122" indent="-232172" algn="l" defTabSz="742950" rtl="0" eaLnBrk="1" latinLnBrk="0" hangingPunct="1">
              <a:lnSpc>
                <a:spcPct val="100000"/>
              </a:lnSpc>
              <a:spcBef>
                <a:spcPts val="406"/>
              </a:spcBef>
              <a:buFont typeface="Arial" panose="020B0604020202020204" pitchFamily="34" charset="0"/>
              <a:buChar char="•"/>
              <a:defRPr sz="1138"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0" marR="0" lvl="0" indent="0" algn="l" defTabSz="742950" rtl="0" eaLnBrk="1" fontAlgn="auto" latinLnBrk="0" hangingPunct="1">
              <a:lnSpc>
                <a:spcPct val="114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rgbClr val="6D6F71"/>
                </a:solidFill>
                <a:effectLst/>
                <a:uLnTx/>
                <a:uFillTx/>
                <a:latin typeface="Arial"/>
                <a:ea typeface="+mn-ea"/>
                <a:cs typeface="+mn-cs"/>
              </a:rPr>
              <a:t>Detaillierte</a:t>
            </a:r>
            <a:r>
              <a:rPr kumimoji="0" lang="en-US" sz="1600" b="1" i="0" u="none" strike="noStrike" kern="1200" cap="none" spc="0" normalizeH="0" baseline="0" noProof="0" dirty="0">
                <a:ln>
                  <a:noFill/>
                </a:ln>
                <a:solidFill>
                  <a:srgbClr val="6D6F71"/>
                </a:solidFill>
                <a:effectLst/>
                <a:uLnTx/>
                <a:uFillTx/>
                <a:latin typeface="Arial"/>
                <a:ea typeface="+mn-ea"/>
                <a:cs typeface="+mn-cs"/>
              </a:rPr>
              <a:t> </a:t>
            </a:r>
            <a:r>
              <a:rPr kumimoji="0" lang="en-US" sz="1600" b="1" i="0" u="none" strike="noStrike" kern="1200" cap="none" spc="0" normalizeH="0" baseline="0" noProof="0" dirty="0" err="1">
                <a:ln>
                  <a:noFill/>
                </a:ln>
                <a:solidFill>
                  <a:srgbClr val="6D6F71"/>
                </a:solidFill>
                <a:effectLst/>
                <a:uLnTx/>
                <a:uFillTx/>
                <a:latin typeface="Arial"/>
                <a:ea typeface="+mn-ea"/>
                <a:cs typeface="+mn-cs"/>
              </a:rPr>
              <a:t>Kostenanalyse</a:t>
            </a:r>
            <a:endParaRPr kumimoji="0" lang="en-US" sz="1600" b="1"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14000"/>
              </a:lnSpc>
              <a:spcBef>
                <a:spcPts val="300"/>
              </a:spcBef>
              <a:spcAft>
                <a:spcPts val="0"/>
              </a:spcAft>
              <a:buClrTx/>
              <a:buSzTx/>
              <a:buFont typeface="Arial" panose="020B0604020202020204" pitchFamily="34" charset="0"/>
              <a:buNone/>
              <a:tabLst/>
              <a:defRPr/>
            </a:pPr>
            <a:r>
              <a:rPr kumimoji="0" sz="1600" b="0" i="0" u="none" strike="noStrike" kern="1200" cap="none" spc="0" normalizeH="0" baseline="0" noProof="0" dirty="0">
                <a:ln>
                  <a:noFill/>
                </a:ln>
                <a:solidFill>
                  <a:srgbClr val="6D6F71"/>
                </a:solidFill>
                <a:effectLst/>
                <a:uLnTx/>
                <a:uFillTx/>
                <a:latin typeface="Arial"/>
                <a:ea typeface="+mn-ea"/>
                <a:cs typeface="+mn-cs"/>
              </a:rPr>
              <a:t>Die </a:t>
            </a:r>
            <a:r>
              <a:rPr kumimoji="0" sz="1600" b="0" i="0" u="none" strike="noStrike" kern="1200" cap="none" spc="0" normalizeH="0" baseline="0" noProof="0" dirty="0" err="1">
                <a:ln>
                  <a:noFill/>
                </a:ln>
                <a:solidFill>
                  <a:srgbClr val="6D6F71"/>
                </a:solidFill>
                <a:effectLst/>
                <a:uLnTx/>
                <a:uFillTx/>
                <a:latin typeface="Arial"/>
                <a:ea typeface="+mn-ea"/>
                <a:cs typeface="+mn-cs"/>
              </a:rPr>
              <a:t>genau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Analyse</a:t>
            </a:r>
            <a:r>
              <a:rPr kumimoji="0" sz="1600" b="0" i="0" u="none" strike="noStrike" kern="1200" cap="none" spc="0" normalizeH="0" baseline="0" noProof="0" dirty="0">
                <a:ln>
                  <a:noFill/>
                </a:ln>
                <a:solidFill>
                  <a:srgbClr val="6D6F71"/>
                </a:solidFill>
                <a:effectLst/>
                <a:uLnTx/>
                <a:uFillTx/>
                <a:latin typeface="Arial"/>
                <a:ea typeface="+mn-ea"/>
                <a:cs typeface="+mn-cs"/>
              </a:rPr>
              <a:t> der </a:t>
            </a:r>
            <a:r>
              <a:rPr kumimoji="0" sz="1600" b="0" i="0" u="none" strike="noStrike" kern="1200" cap="none" spc="0" normalizeH="0" baseline="0" noProof="0" dirty="0" err="1">
                <a:ln>
                  <a:noFill/>
                </a:ln>
                <a:solidFill>
                  <a:srgbClr val="6D6F71"/>
                </a:solidFill>
                <a:effectLst/>
                <a:uLnTx/>
                <a:uFillTx/>
                <a:latin typeface="Arial"/>
                <a:ea typeface="+mn-ea"/>
                <a:cs typeface="+mn-cs"/>
              </a:rPr>
              <a:t>Kostenstruktur</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umfasst</a:t>
            </a:r>
            <a:r>
              <a:rPr kumimoji="0" sz="1600" b="0" i="0" u="none" strike="noStrike" kern="1200" cap="none" spc="0" normalizeH="0" baseline="0" noProof="0" dirty="0">
                <a:ln>
                  <a:noFill/>
                </a:ln>
                <a:solidFill>
                  <a:srgbClr val="6D6F71"/>
                </a:solidFill>
                <a:effectLst/>
                <a:uLnTx/>
                <a:uFillTx/>
                <a:latin typeface="Arial"/>
                <a:ea typeface="+mn-ea"/>
                <a:cs typeface="+mn-cs"/>
              </a:rPr>
              <a:t> Personal-, Sach-, </a:t>
            </a:r>
            <a:r>
              <a:rPr kumimoji="0" sz="1600" b="0" i="0" u="none" strike="noStrike" kern="1200" cap="none" spc="0" normalizeH="0" baseline="0" noProof="0" dirty="0" err="1">
                <a:ln>
                  <a:noFill/>
                </a:ln>
                <a:solidFill>
                  <a:srgbClr val="6D6F71"/>
                </a:solidFill>
                <a:effectLst/>
                <a:uLnTx/>
                <a:uFillTx/>
                <a:latin typeface="Arial"/>
                <a:ea typeface="+mn-ea"/>
                <a:cs typeface="+mn-cs"/>
              </a:rPr>
              <a:t>Investitions</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kalkulatorische</a:t>
            </a:r>
            <a:r>
              <a:rPr kumimoji="0" sz="1600" b="0" i="0" u="none" strike="noStrike" kern="1200" cap="none" spc="0" normalizeH="0" baseline="0" noProof="0" dirty="0">
                <a:ln>
                  <a:noFill/>
                </a:ln>
                <a:solidFill>
                  <a:srgbClr val="6D6F71"/>
                </a:solidFill>
                <a:effectLst/>
                <a:uLnTx/>
                <a:uFillTx/>
                <a:latin typeface="Arial"/>
                <a:ea typeface="+mn-ea"/>
                <a:cs typeface="+mn-cs"/>
              </a:rPr>
              <a:t> Kosten für</a:t>
            </a:r>
            <a:r>
              <a:rPr kumimoji="0" lang="de-DE" sz="1600" b="0" i="0" u="none" strike="noStrike" kern="1200" cap="none" spc="0" normalizeH="0" baseline="0" noProof="0" dirty="0">
                <a:ln>
                  <a:noFill/>
                </a:ln>
                <a:solidFill>
                  <a:srgbClr val="6D6F71"/>
                </a:solidFill>
                <a:effectLst/>
                <a:uLnTx/>
                <a:uFillTx/>
                <a:latin typeface="Arial"/>
                <a:ea typeface="+mn-ea"/>
                <a:cs typeface="+mn-cs"/>
              </a:rPr>
              <a:t> di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transparent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Kalkulation</a:t>
            </a:r>
            <a:r>
              <a:rPr kumimoji="0" sz="1600" b="0" i="0" u="none" strike="noStrike" kern="1200" cap="none" spc="0" normalizeH="0" baseline="0" noProof="0" dirty="0">
                <a:ln>
                  <a:noFill/>
                </a:ln>
                <a:solidFill>
                  <a:srgbClr val="6D6F71"/>
                </a:solidFill>
                <a:effectLst/>
                <a:uLnTx/>
                <a:uFillTx/>
                <a:latin typeface="Arial"/>
                <a:ea typeface="+mn-ea"/>
                <a:cs typeface="+mn-cs"/>
              </a:rPr>
              <a:t>.</a:t>
            </a:r>
            <a:endParaRPr kumimoji="0" lang="de-DE" sz="1600" b="0"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14000"/>
              </a:lnSpc>
              <a:spcBef>
                <a:spcPts val="3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742950" rtl="0" eaLnBrk="1" fontAlgn="auto" latinLnBrk="0" hangingPunct="1">
              <a:lnSpc>
                <a:spcPct val="114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6D6F71"/>
                </a:solidFill>
                <a:effectLst/>
                <a:uLnTx/>
                <a:uFillTx/>
                <a:latin typeface="Arial"/>
                <a:ea typeface="+mn-ea"/>
                <a:cs typeface="+mn-cs"/>
              </a:rPr>
              <a:t>Benchmarking der </a:t>
            </a:r>
            <a:r>
              <a:rPr kumimoji="0" lang="en-US" sz="1600" b="1" i="0" u="none" strike="noStrike" kern="1200" cap="none" spc="0" normalizeH="0" baseline="0" noProof="0" dirty="0" err="1">
                <a:ln>
                  <a:noFill/>
                </a:ln>
                <a:solidFill>
                  <a:srgbClr val="6D6F71"/>
                </a:solidFill>
                <a:effectLst/>
                <a:uLnTx/>
                <a:uFillTx/>
                <a:latin typeface="Arial"/>
                <a:ea typeface="+mn-ea"/>
                <a:cs typeface="+mn-cs"/>
              </a:rPr>
              <a:t>Pflegesätze</a:t>
            </a:r>
            <a:endParaRPr kumimoji="0" lang="en-US" sz="1600" b="1"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14000"/>
              </a:lnSpc>
              <a:spcBef>
                <a:spcPts val="300"/>
              </a:spcBef>
              <a:spcAft>
                <a:spcPts val="0"/>
              </a:spcAft>
              <a:buClrTx/>
              <a:buSzTx/>
              <a:buFont typeface="Arial" panose="020B0604020202020204" pitchFamily="34" charset="0"/>
              <a:buNone/>
              <a:tabLst/>
              <a:defRPr/>
            </a:pPr>
            <a:r>
              <a:rPr kumimoji="0" sz="1600" b="0" i="0" u="none" strike="noStrike" kern="1200" cap="none" spc="0" normalizeH="0" baseline="0" noProof="0" dirty="0" err="1">
                <a:ln>
                  <a:noFill/>
                </a:ln>
                <a:solidFill>
                  <a:srgbClr val="6D6F71"/>
                </a:solidFill>
                <a:effectLst/>
                <a:uLnTx/>
                <a:uFillTx/>
                <a:latin typeface="Arial"/>
                <a:ea typeface="+mn-ea"/>
                <a:cs typeface="+mn-cs"/>
              </a:rPr>
              <a:t>Pflegesätz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werd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mit</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vergleichbar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Einrichtungen</a:t>
            </a:r>
            <a:r>
              <a:rPr kumimoji="0" sz="1600" b="0" i="0" u="none" strike="noStrike" kern="1200" cap="none" spc="0" normalizeH="0" baseline="0" noProof="0" dirty="0">
                <a:ln>
                  <a:noFill/>
                </a:ln>
                <a:solidFill>
                  <a:srgbClr val="6D6F71"/>
                </a:solidFill>
                <a:effectLst/>
                <a:uLnTx/>
                <a:uFillTx/>
                <a:latin typeface="Arial"/>
                <a:ea typeface="+mn-ea"/>
                <a:cs typeface="+mn-cs"/>
              </a:rPr>
              <a:t> in der Region </a:t>
            </a:r>
            <a:r>
              <a:rPr kumimoji="0" sz="1600" b="0" i="0" u="none" strike="noStrike" kern="1200" cap="none" spc="0" normalizeH="0" baseline="0" noProof="0" dirty="0" err="1">
                <a:ln>
                  <a:noFill/>
                </a:ln>
                <a:solidFill>
                  <a:srgbClr val="6D6F71"/>
                </a:solidFill>
                <a:effectLst/>
                <a:uLnTx/>
                <a:uFillTx/>
                <a:latin typeface="Arial"/>
                <a:ea typeface="+mn-ea"/>
                <a:cs typeface="+mn-cs"/>
              </a:rPr>
              <a:t>verglichen</a:t>
            </a:r>
            <a:r>
              <a:rPr kumimoji="0" sz="1600" b="0" i="0" u="none" strike="noStrike" kern="1200" cap="none" spc="0" normalizeH="0" baseline="0" noProof="0" dirty="0">
                <a:ln>
                  <a:noFill/>
                </a:ln>
                <a:solidFill>
                  <a:srgbClr val="6D6F71"/>
                </a:solidFill>
                <a:effectLst/>
                <a:uLnTx/>
                <a:uFillTx/>
                <a:latin typeface="Arial"/>
                <a:ea typeface="+mn-ea"/>
                <a:cs typeface="+mn-cs"/>
              </a:rPr>
              <a:t>, um die </a:t>
            </a:r>
            <a:r>
              <a:rPr kumimoji="0" sz="1600" b="0" i="0" u="none" strike="noStrike" kern="1200" cap="none" spc="0" normalizeH="0" baseline="0" noProof="0" dirty="0" err="1">
                <a:ln>
                  <a:noFill/>
                </a:ln>
                <a:solidFill>
                  <a:srgbClr val="6D6F71"/>
                </a:solidFill>
                <a:effectLst/>
                <a:uLnTx/>
                <a:uFillTx/>
                <a:latin typeface="Arial"/>
                <a:ea typeface="+mn-ea"/>
                <a:cs typeface="+mn-cs"/>
              </a:rPr>
              <a:t>eigene</a:t>
            </a:r>
            <a:r>
              <a:rPr kumimoji="0" sz="1600" b="0" i="0" u="none" strike="noStrike" kern="1200" cap="none" spc="0" normalizeH="0" baseline="0" noProof="0" dirty="0">
                <a:ln>
                  <a:noFill/>
                </a:ln>
                <a:solidFill>
                  <a:srgbClr val="6D6F71"/>
                </a:solidFill>
                <a:effectLst/>
                <a:uLnTx/>
                <a:uFillTx/>
                <a:latin typeface="Arial"/>
                <a:ea typeface="+mn-ea"/>
                <a:cs typeface="+mn-cs"/>
              </a:rPr>
              <a:t> Position </a:t>
            </a:r>
            <a:r>
              <a:rPr kumimoji="0" sz="1600" b="0" i="0" u="none" strike="noStrike" kern="1200" cap="none" spc="0" normalizeH="0" baseline="0" noProof="0" dirty="0" err="1">
                <a:ln>
                  <a:noFill/>
                </a:ln>
                <a:solidFill>
                  <a:srgbClr val="6D6F71"/>
                </a:solidFill>
                <a:effectLst/>
                <a:uLnTx/>
                <a:uFillTx/>
                <a:latin typeface="Arial"/>
                <a:ea typeface="+mn-ea"/>
                <a:cs typeface="+mn-cs"/>
              </a:rPr>
              <a:t>zu</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stärken</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Ziel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zu</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definieren</a:t>
            </a:r>
            <a:r>
              <a:rPr kumimoji="0" sz="1600" b="0" i="0" u="none" strike="noStrike" kern="1200" cap="none" spc="0" normalizeH="0" baseline="0" noProof="0" dirty="0">
                <a:ln>
                  <a:noFill/>
                </a:ln>
                <a:solidFill>
                  <a:srgbClr val="6D6F71"/>
                </a:solidFill>
                <a:effectLst/>
                <a:uLnTx/>
                <a:uFillTx/>
                <a:latin typeface="Arial"/>
                <a:ea typeface="+mn-ea"/>
                <a:cs typeface="+mn-cs"/>
              </a:rPr>
              <a:t>.</a:t>
            </a:r>
            <a:endParaRPr kumimoji="0" lang="de-DE" sz="1600" b="0"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14000"/>
              </a:lnSpc>
              <a:spcBef>
                <a:spcPts val="3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742950" rtl="0" eaLnBrk="1" fontAlgn="auto" latinLnBrk="0" hangingPunct="1">
              <a:lnSpc>
                <a:spcPct val="114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rgbClr val="6D6F71"/>
                </a:solidFill>
                <a:effectLst/>
                <a:uLnTx/>
                <a:uFillTx/>
                <a:latin typeface="Arial"/>
                <a:ea typeface="+mn-ea"/>
                <a:cs typeface="+mn-cs"/>
              </a:rPr>
              <a:t>Entwicklung</a:t>
            </a:r>
            <a:r>
              <a:rPr kumimoji="0" lang="en-US" sz="1600" b="1" i="0" u="none" strike="noStrike" kern="1200" cap="none" spc="0" normalizeH="0" baseline="0" noProof="0" dirty="0">
                <a:ln>
                  <a:noFill/>
                </a:ln>
                <a:solidFill>
                  <a:srgbClr val="6D6F71"/>
                </a:solidFill>
                <a:effectLst/>
                <a:uLnTx/>
                <a:uFillTx/>
                <a:latin typeface="Arial"/>
                <a:ea typeface="+mn-ea"/>
                <a:cs typeface="+mn-cs"/>
              </a:rPr>
              <a:t> der </a:t>
            </a:r>
            <a:r>
              <a:rPr kumimoji="0" lang="en-US" sz="1600" b="1" i="0" u="none" strike="noStrike" kern="1200" cap="none" spc="0" normalizeH="0" baseline="0" noProof="0" dirty="0" err="1">
                <a:ln>
                  <a:noFill/>
                </a:ln>
                <a:solidFill>
                  <a:srgbClr val="6D6F71"/>
                </a:solidFill>
                <a:effectLst/>
                <a:uLnTx/>
                <a:uFillTx/>
                <a:latin typeface="Arial"/>
                <a:ea typeface="+mn-ea"/>
                <a:cs typeface="+mn-cs"/>
              </a:rPr>
              <a:t>Strategie</a:t>
            </a:r>
            <a:endParaRPr kumimoji="0" lang="en-US" sz="1600" b="1"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14000"/>
              </a:lnSpc>
              <a:spcBef>
                <a:spcPts val="300"/>
              </a:spcBef>
              <a:spcAft>
                <a:spcPts val="0"/>
              </a:spcAft>
              <a:buClrTx/>
              <a:buSzTx/>
              <a:buFont typeface="Arial" panose="020B0604020202020204" pitchFamily="34" charset="0"/>
              <a:buNone/>
              <a:tabLst/>
              <a:defRPr/>
            </a:pPr>
            <a:r>
              <a:rPr kumimoji="0" sz="1600" b="0" i="0" u="none" strike="noStrike" kern="1200" cap="none" spc="0" normalizeH="0" baseline="0" noProof="0" dirty="0">
                <a:ln>
                  <a:noFill/>
                </a:ln>
                <a:solidFill>
                  <a:srgbClr val="6D6F71"/>
                </a:solidFill>
                <a:effectLst/>
                <a:uLnTx/>
                <a:uFillTx/>
                <a:latin typeface="Arial"/>
                <a:ea typeface="+mn-ea"/>
                <a:cs typeface="+mn-cs"/>
              </a:rPr>
              <a:t>Eine </a:t>
            </a:r>
            <a:r>
              <a:rPr kumimoji="0" sz="1600" b="0" i="0" u="none" strike="noStrike" kern="1200" cap="none" spc="0" normalizeH="0" baseline="0" noProof="0" dirty="0" err="1">
                <a:ln>
                  <a:noFill/>
                </a:ln>
                <a:solidFill>
                  <a:srgbClr val="6D6F71"/>
                </a:solidFill>
                <a:effectLst/>
                <a:uLnTx/>
                <a:uFillTx/>
                <a:latin typeface="Arial"/>
                <a:ea typeface="+mn-ea"/>
                <a:cs typeface="+mn-cs"/>
              </a:rPr>
              <a:t>Argumentationsstrategi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verbindet</a:t>
            </a:r>
            <a:r>
              <a:rPr kumimoji="0" sz="1600" b="0" i="0" u="none" strike="noStrike" kern="1200" cap="none" spc="0" normalizeH="0" baseline="0" noProof="0" dirty="0">
                <a:ln>
                  <a:noFill/>
                </a:ln>
                <a:solidFill>
                  <a:srgbClr val="6D6F71"/>
                </a:solidFill>
                <a:effectLst/>
                <a:uLnTx/>
                <a:uFillTx/>
                <a:latin typeface="Arial"/>
                <a:ea typeface="+mn-ea"/>
                <a:cs typeface="+mn-cs"/>
              </a:rPr>
              <a:t> quantitative Daten </a:t>
            </a:r>
            <a:r>
              <a:rPr kumimoji="0" sz="1600" b="0" i="0" u="none" strike="noStrike" kern="1200" cap="none" spc="0" normalizeH="0" baseline="0" noProof="0" dirty="0" err="1">
                <a:ln>
                  <a:noFill/>
                </a:ln>
                <a:solidFill>
                  <a:srgbClr val="6D6F71"/>
                </a:solidFill>
                <a:effectLst/>
                <a:uLnTx/>
                <a:uFillTx/>
                <a:latin typeface="Arial"/>
                <a:ea typeface="+mn-ea"/>
                <a:cs typeface="+mn-cs"/>
              </a:rPr>
              <a:t>mit</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qualitativ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Aspekt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wi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Pflegequalität</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Personalentwicklung</a:t>
            </a:r>
            <a:r>
              <a:rPr kumimoji="0" sz="1600" b="0" i="0" u="none" strike="noStrike" kern="1200" cap="none" spc="0" normalizeH="0" baseline="0" noProof="0" dirty="0">
                <a:ln>
                  <a:noFill/>
                </a:ln>
                <a:solidFill>
                  <a:srgbClr val="6D6F71"/>
                </a:solidFill>
                <a:effectLst/>
                <a:uLnTx/>
                <a:uFillTx/>
                <a:latin typeface="Arial"/>
                <a:ea typeface="+mn-ea"/>
                <a:cs typeface="+mn-cs"/>
              </a:rPr>
              <a:t>.</a:t>
            </a:r>
            <a:endParaRPr kumimoji="0" lang="de-DE" sz="1600" b="0"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14000"/>
              </a:lnSpc>
              <a:spcBef>
                <a:spcPts val="3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742950" rtl="0" eaLnBrk="1" fontAlgn="auto" latinLnBrk="0" hangingPunct="1">
              <a:lnSpc>
                <a:spcPct val="114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6D6F71"/>
                </a:solidFill>
                <a:effectLst/>
                <a:uLnTx/>
                <a:uFillTx/>
                <a:latin typeface="Arial"/>
                <a:ea typeface="+mn-ea"/>
                <a:cs typeface="+mn-cs"/>
              </a:rPr>
              <a:t>Klare </a:t>
            </a:r>
            <a:r>
              <a:rPr kumimoji="0" lang="en-US" sz="1600" b="1" i="0" u="none" strike="noStrike" kern="1200" cap="none" spc="0" normalizeH="0" baseline="0" noProof="0" dirty="0" err="1">
                <a:ln>
                  <a:noFill/>
                </a:ln>
                <a:solidFill>
                  <a:srgbClr val="6D6F71"/>
                </a:solidFill>
                <a:effectLst/>
                <a:uLnTx/>
                <a:uFillTx/>
                <a:latin typeface="Arial"/>
                <a:ea typeface="+mn-ea"/>
                <a:cs typeface="+mn-cs"/>
              </a:rPr>
              <a:t>Zieldefinition</a:t>
            </a:r>
            <a:endParaRPr kumimoji="0" lang="en-US" sz="1600" b="1"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14000"/>
              </a:lnSpc>
              <a:spcBef>
                <a:spcPts val="300"/>
              </a:spcBef>
              <a:spcAft>
                <a:spcPts val="0"/>
              </a:spcAft>
              <a:buClrTx/>
              <a:buSzTx/>
              <a:buFont typeface="Arial" panose="020B0604020202020204" pitchFamily="34" charset="0"/>
              <a:buNone/>
              <a:tabLst/>
              <a:defRPr/>
            </a:pPr>
            <a:r>
              <a:rPr kumimoji="0" sz="1600" b="0" i="0" u="none" strike="noStrike" kern="1200" cap="none" spc="0" normalizeH="0" baseline="0" noProof="0" dirty="0" err="1">
                <a:ln>
                  <a:noFill/>
                </a:ln>
                <a:solidFill>
                  <a:srgbClr val="6D6F71"/>
                </a:solidFill>
                <a:effectLst/>
                <a:uLnTx/>
                <a:uFillTx/>
                <a:latin typeface="Arial"/>
                <a:ea typeface="+mn-ea"/>
                <a:cs typeface="+mn-cs"/>
              </a:rPr>
              <a:t>Konkret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Ziele</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Kompromisslini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werd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definiert</a:t>
            </a:r>
            <a:r>
              <a:rPr kumimoji="0" sz="1600" b="0" i="0" u="none" strike="noStrike" kern="1200" cap="none" spc="0" normalizeH="0" baseline="0" noProof="0" dirty="0">
                <a:ln>
                  <a:noFill/>
                </a:ln>
                <a:solidFill>
                  <a:srgbClr val="6D6F71"/>
                </a:solidFill>
                <a:effectLst/>
                <a:uLnTx/>
                <a:uFillTx/>
                <a:latin typeface="Arial"/>
                <a:ea typeface="+mn-ea"/>
                <a:cs typeface="+mn-cs"/>
              </a:rPr>
              <a:t>, um </a:t>
            </a:r>
            <a:r>
              <a:rPr kumimoji="0" sz="1600" b="0" i="0" u="none" strike="noStrike" kern="1200" cap="none" spc="0" normalizeH="0" baseline="0" noProof="0" dirty="0" err="1">
                <a:ln>
                  <a:noFill/>
                </a:ln>
                <a:solidFill>
                  <a:srgbClr val="6D6F71"/>
                </a:solidFill>
                <a:effectLst/>
                <a:uLnTx/>
                <a:uFillTx/>
                <a:latin typeface="Arial"/>
                <a:ea typeface="+mn-ea"/>
                <a:cs typeface="+mn-cs"/>
              </a:rPr>
              <a:t>selbstbewusst</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überzeugend</a:t>
            </a:r>
            <a:r>
              <a:rPr kumimoji="0" sz="1600" b="0" i="0" u="none" strike="noStrike" kern="1200" cap="none" spc="0" normalizeH="0" baseline="0" noProof="0" dirty="0">
                <a:ln>
                  <a:noFill/>
                </a:ln>
                <a:solidFill>
                  <a:srgbClr val="6D6F71"/>
                </a:solidFill>
                <a:effectLst/>
                <a:uLnTx/>
                <a:uFillTx/>
                <a:latin typeface="Arial"/>
                <a:ea typeface="+mn-ea"/>
                <a:cs typeface="+mn-cs"/>
              </a:rPr>
              <a:t> in </a:t>
            </a:r>
            <a:r>
              <a:rPr kumimoji="0" sz="1600" b="0" i="0" u="none" strike="noStrike" kern="1200" cap="none" spc="0" normalizeH="0" baseline="0" noProof="0" dirty="0" err="1">
                <a:ln>
                  <a:noFill/>
                </a:ln>
                <a:solidFill>
                  <a:srgbClr val="6D6F71"/>
                </a:solidFill>
                <a:effectLst/>
                <a:uLnTx/>
                <a:uFillTx/>
                <a:latin typeface="Arial"/>
                <a:ea typeface="+mn-ea"/>
                <a:cs typeface="+mn-cs"/>
              </a:rPr>
              <a:t>Verhandlung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zu</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treten</a:t>
            </a:r>
            <a:r>
              <a:rPr kumimoji="0" sz="1600" b="0" i="0" u="none" strike="noStrike" kern="1200" cap="none" spc="0" normalizeH="0" baseline="0" noProof="0" dirty="0">
                <a:ln>
                  <a:noFill/>
                </a:ln>
                <a:solidFill>
                  <a:srgbClr val="6D6F71"/>
                </a:solidFill>
                <a:effectLst/>
                <a:uLnTx/>
                <a:uFillTx/>
                <a:latin typeface="Arial"/>
                <a:ea typeface="+mn-ea"/>
                <a:cs typeface="+mn-cs"/>
              </a:rPr>
              <a:t>.</a:t>
            </a:r>
            <a:endParaRPr kumimoji="0" lang="en-US" sz="1600" b="0" i="0" u="none" strike="noStrike" kern="1200" cap="none" spc="0" normalizeH="0" baseline="0" noProof="0" dirty="0">
              <a:ln>
                <a:noFill/>
              </a:ln>
              <a:solidFill>
                <a:srgbClr val="6D6F71"/>
              </a:solidFill>
              <a:effectLst/>
              <a:uLnTx/>
              <a:uFillTx/>
              <a:latin typeface="Arial"/>
              <a:ea typeface="+mn-ea"/>
              <a:cs typeface="+mn-cs"/>
            </a:endParaRPr>
          </a:p>
        </p:txBody>
      </p:sp>
      <p:pic>
        <p:nvPicPr>
          <p:cNvPr id="7" name="Content Placeholder 6" descr="Stethoskop- und Graphenarbeiten">
            <a:extLst>
              <a:ext uri="{FF2B5EF4-FFF2-40B4-BE49-F238E27FC236}">
                <a16:creationId xmlns:a16="http://schemas.microsoft.com/office/drawing/2014/main" id="{A1ADE93F-A21B-4DAA-A97C-F78739703DDF}"/>
              </a:ext>
            </a:extLst>
          </p:cNvPr>
          <p:cNvPicPr>
            <a:picLocks noGrp="1" noChangeAspect="1"/>
          </p:cNvPicPr>
          <p:nvPr/>
        </p:nvPicPr>
        <p:blipFill>
          <a:blip r:embed="rId3"/>
          <a:srcRect l="31127" r="43040" b="-1"/>
          <a:stretch>
            <a:fillRect/>
          </a:stretch>
        </p:blipFill>
        <p:spPr>
          <a:xfrm>
            <a:off x="7581491" y="1032206"/>
            <a:ext cx="1729200" cy="5020250"/>
          </a:xfrm>
          <a:prstGeom prst="rect">
            <a:avLst/>
          </a:prstGeom>
          <a:noFill/>
        </p:spPr>
      </p:pic>
      <p:sp>
        <p:nvSpPr>
          <p:cNvPr id="4" name="Foliennummernplatzhalter 3">
            <a:extLst>
              <a:ext uri="{FF2B5EF4-FFF2-40B4-BE49-F238E27FC236}">
                <a16:creationId xmlns:a16="http://schemas.microsoft.com/office/drawing/2014/main" id="{5F45F5B1-2221-CCD3-472C-AC86E00AF0C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322A94-3156-491B-AD20-567107C600A1}" type="slidenum">
              <a:rPr kumimoji="0" lang="en-US"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srgbClr val="404040">
                  <a:tint val="75000"/>
                </a:srgbClr>
              </a:solidFill>
              <a:effectLst/>
              <a:uLnTx/>
              <a:uFillTx/>
              <a:latin typeface="Arial"/>
              <a:ea typeface="+mn-ea"/>
              <a:cs typeface="+mn-cs"/>
            </a:endParaRPr>
          </a:p>
        </p:txBody>
      </p:sp>
    </p:spTree>
    <p:extLst>
      <p:ext uri="{BB962C8B-B14F-4D97-AF65-F5344CB8AC3E}">
        <p14:creationId xmlns:p14="http://schemas.microsoft.com/office/powerpoint/2010/main" val="279457358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2F6D0-8101-319F-62D8-49B81330492A}"/>
              </a:ext>
            </a:extLst>
          </p:cNvPr>
          <p:cNvSpPr>
            <a:spLocks noGrp="1"/>
          </p:cNvSpPr>
          <p:nvPr>
            <p:ph type="title"/>
          </p:nvPr>
        </p:nvSpPr>
        <p:spPr/>
        <p:txBody>
          <a:bodyPr anchor="t">
            <a:normAutofit/>
          </a:bodyPr>
          <a:lstStyle/>
          <a:p>
            <a:pPr>
              <a:lnSpc>
                <a:spcPct val="90000"/>
              </a:lnSpc>
            </a:pPr>
            <a:r>
              <a:rPr dirty="0" err="1"/>
              <a:t>Gesprächstechniken</a:t>
            </a:r>
            <a:r>
              <a:rPr dirty="0"/>
              <a:t>, </a:t>
            </a:r>
            <a:r>
              <a:rPr dirty="0" err="1"/>
              <a:t>Einwände</a:t>
            </a:r>
            <a:r>
              <a:rPr dirty="0"/>
              <a:t> und </a:t>
            </a:r>
            <a:r>
              <a:rPr dirty="0" err="1"/>
              <a:t>Psychologie</a:t>
            </a:r>
            <a:endParaRPr dirty="0"/>
          </a:p>
        </p:txBody>
      </p:sp>
      <p:pic>
        <p:nvPicPr>
          <p:cNvPr id="7" name="Content Placeholder 6" descr="Zwei Geschäftspartner sitzen im Restaurant und besprechen geschäftliche Angelegenheiten">
            <a:extLst>
              <a:ext uri="{FF2B5EF4-FFF2-40B4-BE49-F238E27FC236}">
                <a16:creationId xmlns:a16="http://schemas.microsoft.com/office/drawing/2014/main" id="{EE2D0F1F-A0FB-421C-95BE-8ECD3CCED5EC}"/>
              </a:ext>
            </a:extLst>
          </p:cNvPr>
          <p:cNvPicPr>
            <a:picLocks noGrp="1" noChangeAspect="1"/>
          </p:cNvPicPr>
          <p:nvPr/>
        </p:nvPicPr>
        <p:blipFill>
          <a:blip r:embed="rId3"/>
          <a:srcRect r="26845" b="-1"/>
          <a:stretch>
            <a:fillRect/>
          </a:stretch>
        </p:blipFill>
        <p:spPr>
          <a:xfrm>
            <a:off x="344489" y="1485877"/>
            <a:ext cx="4579344" cy="4178423"/>
          </a:xfrm>
          <a:prstGeom prst="rect">
            <a:avLst/>
          </a:prstGeom>
          <a:noFill/>
        </p:spPr>
      </p:pic>
      <p:sp>
        <p:nvSpPr>
          <p:cNvPr id="5" name="Content Placeholder 4">
            <a:extLst>
              <a:ext uri="{FF2B5EF4-FFF2-40B4-BE49-F238E27FC236}">
                <a16:creationId xmlns:a16="http://schemas.microsoft.com/office/drawing/2014/main" id="{98353C56-90CE-6557-14D1-CDA47DE94DD9}"/>
              </a:ext>
            </a:extLst>
          </p:cNvPr>
          <p:cNvSpPr>
            <a:spLocks noGrp="1"/>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170254" y="1485877"/>
            <a:ext cx="4140435" cy="4777137"/>
          </a:xfrm>
          <a:prstGeom prst="rect">
            <a:avLst/>
          </a:prstGeom>
        </p:spPr>
        <p:txBody>
          <a:bodyPr>
            <a:normAutofit lnSpcReduction="10000"/>
          </a:bodyPr>
          <a:lstStyle>
            <a:lvl1pPr marL="232172" indent="-232172" algn="l" defTabSz="742950" rtl="0" eaLnBrk="1" latinLnBrk="0" hangingPunct="1">
              <a:lnSpc>
                <a:spcPct val="100000"/>
              </a:lnSpc>
              <a:spcBef>
                <a:spcPts val="813"/>
              </a:spcBef>
              <a:buFont typeface="Arial" panose="020B0604020202020204" pitchFamily="34" charset="0"/>
              <a:buChar char="•"/>
              <a:defRPr sz="1138" b="0" i="0" kern="1200">
                <a:solidFill>
                  <a:schemeClr val="tx1"/>
                </a:solidFill>
                <a:latin typeface="+mn-lt"/>
                <a:ea typeface="+mn-ea"/>
                <a:cs typeface="+mn-cs"/>
              </a:defRPr>
            </a:lvl1pPr>
            <a:lvl2pPr marL="417909" indent="-232172" algn="l" defTabSz="742950" rtl="0" eaLnBrk="1" latinLnBrk="0" hangingPunct="1">
              <a:lnSpc>
                <a:spcPct val="100000"/>
              </a:lnSpc>
              <a:spcBef>
                <a:spcPts val="406"/>
              </a:spcBef>
              <a:buFont typeface="Arial" panose="020B0604020202020204" pitchFamily="34" charset="0"/>
              <a:buChar char="•"/>
              <a:defRPr sz="1138" b="0" i="0" kern="1200">
                <a:solidFill>
                  <a:schemeClr val="tx1"/>
                </a:solidFill>
                <a:latin typeface="+mn-lt"/>
                <a:ea typeface="+mn-ea"/>
                <a:cs typeface="+mn-cs"/>
              </a:defRPr>
            </a:lvl2pPr>
            <a:lvl3pPr marL="603647" indent="-232172" algn="l" defTabSz="742950" rtl="0" eaLnBrk="1" latinLnBrk="0" hangingPunct="1">
              <a:lnSpc>
                <a:spcPct val="100000"/>
              </a:lnSpc>
              <a:spcBef>
                <a:spcPts val="406"/>
              </a:spcBef>
              <a:buFont typeface="Arial" panose="020B0604020202020204" pitchFamily="34" charset="0"/>
              <a:buChar char="•"/>
              <a:defRPr sz="1138" b="0" i="0" kern="1200">
                <a:solidFill>
                  <a:schemeClr val="tx1"/>
                </a:solidFill>
                <a:latin typeface="+mn-lt"/>
                <a:ea typeface="+mn-ea"/>
                <a:cs typeface="+mn-cs"/>
              </a:defRPr>
            </a:lvl3pPr>
            <a:lvl4pPr marL="789384" indent="-232172" algn="l" defTabSz="742950" rtl="0" eaLnBrk="1" latinLnBrk="0" hangingPunct="1">
              <a:lnSpc>
                <a:spcPct val="100000"/>
              </a:lnSpc>
              <a:spcBef>
                <a:spcPts val="406"/>
              </a:spcBef>
              <a:buFont typeface="Arial" panose="020B0604020202020204" pitchFamily="34" charset="0"/>
              <a:buChar char="•"/>
              <a:defRPr sz="1138" kern="1200">
                <a:solidFill>
                  <a:schemeClr val="tx1"/>
                </a:solidFill>
                <a:latin typeface="+mn-lt"/>
                <a:ea typeface="+mn-ea"/>
                <a:cs typeface="+mn-cs"/>
              </a:defRPr>
            </a:lvl4pPr>
            <a:lvl5pPr marL="975122" indent="-232172" algn="l" defTabSz="742950" rtl="0" eaLnBrk="1" latinLnBrk="0" hangingPunct="1">
              <a:lnSpc>
                <a:spcPct val="100000"/>
              </a:lnSpc>
              <a:spcBef>
                <a:spcPts val="406"/>
              </a:spcBef>
              <a:buFont typeface="Arial" panose="020B0604020202020204" pitchFamily="34" charset="0"/>
              <a:buChar char="•"/>
              <a:defRPr sz="1138"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0" marR="0" lvl="0" indent="0" algn="l" defTabSz="742950" rtl="0" eaLnBrk="1" fontAlgn="auto" latinLnBrk="0" hangingPunct="1">
              <a:lnSpc>
                <a:spcPct val="114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rgbClr val="6D6F71"/>
                </a:solidFill>
                <a:effectLst/>
                <a:uLnTx/>
                <a:uFillTx/>
                <a:latin typeface="Arial"/>
                <a:ea typeface="+mn-ea"/>
                <a:cs typeface="+mn-cs"/>
              </a:rPr>
              <a:t>Effektive</a:t>
            </a:r>
            <a:r>
              <a:rPr kumimoji="0" lang="en-US" sz="1600" b="1" i="0" u="none" strike="noStrike" kern="1200" cap="none" spc="0" normalizeH="0" baseline="0" noProof="0" dirty="0">
                <a:ln>
                  <a:noFill/>
                </a:ln>
                <a:solidFill>
                  <a:srgbClr val="6D6F71"/>
                </a:solidFill>
                <a:effectLst/>
                <a:uLnTx/>
                <a:uFillTx/>
                <a:latin typeface="Arial"/>
                <a:ea typeface="+mn-ea"/>
                <a:cs typeface="+mn-cs"/>
              </a:rPr>
              <a:t> </a:t>
            </a:r>
            <a:r>
              <a:rPr kumimoji="0" lang="en-US" sz="1600" b="1" i="0" u="none" strike="noStrike" kern="1200" cap="none" spc="0" normalizeH="0" baseline="0" noProof="0" dirty="0" err="1">
                <a:ln>
                  <a:noFill/>
                </a:ln>
                <a:solidFill>
                  <a:srgbClr val="6D6F71"/>
                </a:solidFill>
                <a:effectLst/>
                <a:uLnTx/>
                <a:uFillTx/>
                <a:latin typeface="Arial"/>
                <a:ea typeface="+mn-ea"/>
                <a:cs typeface="+mn-cs"/>
              </a:rPr>
              <a:t>Gesprächstechniken</a:t>
            </a:r>
            <a:endParaRPr kumimoji="0" lang="en-US" sz="1600" b="1"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14000"/>
              </a:lnSpc>
              <a:spcBef>
                <a:spcPts val="300"/>
              </a:spcBef>
              <a:spcAft>
                <a:spcPts val="0"/>
              </a:spcAft>
              <a:buClrTx/>
              <a:buSzTx/>
              <a:buFont typeface="Arial" panose="020B0604020202020204" pitchFamily="34" charset="0"/>
              <a:buNone/>
              <a:tabLst/>
              <a:defRPr/>
            </a:pPr>
            <a:r>
              <a:rPr kumimoji="0" sz="1600" b="0" i="0" u="none" strike="noStrike" kern="1200" cap="none" spc="0" normalizeH="0" baseline="0" noProof="0" dirty="0" err="1">
                <a:ln>
                  <a:noFill/>
                </a:ln>
                <a:solidFill>
                  <a:srgbClr val="6D6F71"/>
                </a:solidFill>
                <a:effectLst/>
                <a:uLnTx/>
                <a:uFillTx/>
                <a:latin typeface="Arial"/>
                <a:ea typeface="+mn-ea"/>
                <a:cs typeface="+mn-cs"/>
              </a:rPr>
              <a:t>Aktives</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Zuhör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offen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Fragen</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strukturierte</a:t>
            </a:r>
            <a:r>
              <a:rPr kumimoji="0" sz="1600" b="0" i="0" u="none" strike="noStrike" kern="1200" cap="none" spc="0" normalizeH="0" baseline="0" noProof="0" dirty="0">
                <a:ln>
                  <a:noFill/>
                </a:ln>
                <a:solidFill>
                  <a:srgbClr val="6D6F71"/>
                </a:solidFill>
                <a:effectLst/>
                <a:uLnTx/>
                <a:uFillTx/>
                <a:latin typeface="Arial"/>
                <a:ea typeface="+mn-ea"/>
                <a:cs typeface="+mn-cs"/>
              </a:rPr>
              <a:t> Argumentation </a:t>
            </a:r>
            <a:r>
              <a:rPr kumimoji="0" sz="1600" b="0" i="0" u="none" strike="noStrike" kern="1200" cap="none" spc="0" normalizeH="0" baseline="0" noProof="0" dirty="0" err="1">
                <a:ln>
                  <a:noFill/>
                </a:ln>
                <a:solidFill>
                  <a:srgbClr val="6D6F71"/>
                </a:solidFill>
                <a:effectLst/>
                <a:uLnTx/>
                <a:uFillTx/>
                <a:latin typeface="Arial"/>
                <a:ea typeface="+mn-ea"/>
                <a:cs typeface="+mn-cs"/>
              </a:rPr>
              <a:t>sind</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entscheidend</a:t>
            </a:r>
            <a:r>
              <a:rPr kumimoji="0" sz="1600" b="0" i="0" u="none" strike="noStrike" kern="1200" cap="none" spc="0" normalizeH="0" baseline="0" noProof="0" dirty="0">
                <a:ln>
                  <a:noFill/>
                </a:ln>
                <a:solidFill>
                  <a:srgbClr val="6D6F71"/>
                </a:solidFill>
                <a:effectLst/>
                <a:uLnTx/>
                <a:uFillTx/>
                <a:latin typeface="Arial"/>
                <a:ea typeface="+mn-ea"/>
                <a:cs typeface="+mn-cs"/>
              </a:rPr>
              <a:t> für </a:t>
            </a:r>
            <a:r>
              <a:rPr kumimoji="0" sz="1600" b="0" i="0" u="none" strike="noStrike" kern="1200" cap="none" spc="0" normalizeH="0" baseline="0" noProof="0" dirty="0" err="1">
                <a:ln>
                  <a:noFill/>
                </a:ln>
                <a:solidFill>
                  <a:srgbClr val="6D6F71"/>
                </a:solidFill>
                <a:effectLst/>
                <a:uLnTx/>
                <a:uFillTx/>
                <a:latin typeface="Arial"/>
                <a:ea typeface="+mn-ea"/>
                <a:cs typeface="+mn-cs"/>
              </a:rPr>
              <a:t>erfolgreich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Verhandlungen</a:t>
            </a:r>
            <a:r>
              <a:rPr kumimoji="0" sz="1600" b="0" i="0" u="none" strike="noStrike" kern="1200" cap="none" spc="0" normalizeH="0" baseline="0" noProof="0" dirty="0">
                <a:ln>
                  <a:noFill/>
                </a:ln>
                <a:solidFill>
                  <a:srgbClr val="6D6F71"/>
                </a:solidFill>
                <a:effectLst/>
                <a:uLnTx/>
                <a:uFillTx/>
                <a:latin typeface="Arial"/>
                <a:ea typeface="+mn-ea"/>
                <a:cs typeface="+mn-cs"/>
              </a:rPr>
              <a:t>.</a:t>
            </a:r>
            <a:endParaRPr kumimoji="0" lang="de-DE" sz="1600" b="0"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14000"/>
              </a:lnSpc>
              <a:spcBef>
                <a:spcPts val="3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742950" rtl="0" eaLnBrk="1" fontAlgn="auto" latinLnBrk="0" hangingPunct="1">
              <a:lnSpc>
                <a:spcPct val="114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rgbClr val="6D6F71"/>
                </a:solidFill>
                <a:effectLst/>
                <a:uLnTx/>
                <a:uFillTx/>
                <a:latin typeface="Arial"/>
                <a:ea typeface="+mn-ea"/>
                <a:cs typeface="+mn-cs"/>
              </a:rPr>
              <a:t>Umgang</a:t>
            </a:r>
            <a:r>
              <a:rPr kumimoji="0" lang="en-US" sz="1600" b="1" i="0" u="none" strike="noStrike" kern="1200" cap="none" spc="0" normalizeH="0" baseline="0" noProof="0" dirty="0">
                <a:ln>
                  <a:noFill/>
                </a:ln>
                <a:solidFill>
                  <a:srgbClr val="6D6F71"/>
                </a:solidFill>
                <a:effectLst/>
                <a:uLnTx/>
                <a:uFillTx/>
                <a:latin typeface="Arial"/>
                <a:ea typeface="+mn-ea"/>
                <a:cs typeface="+mn-cs"/>
              </a:rPr>
              <a:t> </a:t>
            </a:r>
            <a:r>
              <a:rPr kumimoji="0" lang="en-US" sz="1600" b="1" i="0" u="none" strike="noStrike" kern="1200" cap="none" spc="0" normalizeH="0" baseline="0" noProof="0" dirty="0" err="1">
                <a:ln>
                  <a:noFill/>
                </a:ln>
                <a:solidFill>
                  <a:srgbClr val="6D6F71"/>
                </a:solidFill>
                <a:effectLst/>
                <a:uLnTx/>
                <a:uFillTx/>
                <a:latin typeface="Arial"/>
                <a:ea typeface="+mn-ea"/>
                <a:cs typeface="+mn-cs"/>
              </a:rPr>
              <a:t>mit</a:t>
            </a:r>
            <a:r>
              <a:rPr kumimoji="0" lang="en-US" sz="1600" b="1" i="0" u="none" strike="noStrike" kern="1200" cap="none" spc="0" normalizeH="0" baseline="0" noProof="0" dirty="0">
                <a:ln>
                  <a:noFill/>
                </a:ln>
                <a:solidFill>
                  <a:srgbClr val="6D6F71"/>
                </a:solidFill>
                <a:effectLst/>
                <a:uLnTx/>
                <a:uFillTx/>
                <a:latin typeface="Arial"/>
                <a:ea typeface="+mn-ea"/>
                <a:cs typeface="+mn-cs"/>
              </a:rPr>
              <a:t> </a:t>
            </a:r>
            <a:r>
              <a:rPr kumimoji="0" lang="en-US" sz="1600" b="1" i="0" u="none" strike="noStrike" kern="1200" cap="none" spc="0" normalizeH="0" baseline="0" noProof="0" dirty="0" err="1">
                <a:ln>
                  <a:noFill/>
                </a:ln>
                <a:solidFill>
                  <a:srgbClr val="6D6F71"/>
                </a:solidFill>
                <a:effectLst/>
                <a:uLnTx/>
                <a:uFillTx/>
                <a:latin typeface="Arial"/>
                <a:ea typeface="+mn-ea"/>
                <a:cs typeface="+mn-cs"/>
              </a:rPr>
              <a:t>Einwänden</a:t>
            </a:r>
            <a:endParaRPr kumimoji="0" lang="en-US" sz="1600" b="1"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14000"/>
              </a:lnSpc>
              <a:spcBef>
                <a:spcPts val="300"/>
              </a:spcBef>
              <a:spcAft>
                <a:spcPts val="0"/>
              </a:spcAft>
              <a:buClrTx/>
              <a:buSzTx/>
              <a:buFont typeface="Arial" panose="020B0604020202020204" pitchFamily="34" charset="0"/>
              <a:buNone/>
              <a:tabLst/>
              <a:defRPr/>
            </a:pPr>
            <a:r>
              <a:rPr kumimoji="0" sz="1600" b="0" i="0" u="none" strike="noStrike" kern="1200" cap="none" spc="0" normalizeH="0" baseline="0" noProof="0" dirty="0" err="1">
                <a:ln>
                  <a:noFill/>
                </a:ln>
                <a:solidFill>
                  <a:srgbClr val="6D6F71"/>
                </a:solidFill>
                <a:effectLst/>
                <a:uLnTx/>
                <a:uFillTx/>
                <a:latin typeface="Arial"/>
                <a:ea typeface="+mn-ea"/>
                <a:cs typeface="+mn-cs"/>
              </a:rPr>
              <a:t>Einwänd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sollt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als</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Chanc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betrachtet</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werden</a:t>
            </a:r>
            <a:r>
              <a:rPr kumimoji="0" sz="1600" b="0" i="0" u="none" strike="noStrike" kern="1200" cap="none" spc="0" normalizeH="0" baseline="0" noProof="0" dirty="0">
                <a:ln>
                  <a:noFill/>
                </a:ln>
                <a:solidFill>
                  <a:srgbClr val="6D6F71"/>
                </a:solidFill>
                <a:effectLst/>
                <a:uLnTx/>
                <a:uFillTx/>
                <a:latin typeface="Arial"/>
                <a:ea typeface="+mn-ea"/>
                <a:cs typeface="+mn-cs"/>
              </a:rPr>
              <a:t>, um die </a:t>
            </a:r>
            <a:r>
              <a:rPr kumimoji="0" sz="1600" b="0" i="0" u="none" strike="noStrike" kern="1200" cap="none" spc="0" normalizeH="0" baseline="0" noProof="0" dirty="0" err="1">
                <a:ln>
                  <a:noFill/>
                </a:ln>
                <a:solidFill>
                  <a:srgbClr val="6D6F71"/>
                </a:solidFill>
                <a:effectLst/>
                <a:uLnTx/>
                <a:uFillTx/>
                <a:latin typeface="Arial"/>
                <a:ea typeface="+mn-ea"/>
                <a:cs typeface="+mn-cs"/>
              </a:rPr>
              <a:t>eigene</a:t>
            </a:r>
            <a:r>
              <a:rPr kumimoji="0" sz="1600" b="0" i="0" u="none" strike="noStrike" kern="1200" cap="none" spc="0" normalizeH="0" baseline="0" noProof="0" dirty="0">
                <a:ln>
                  <a:noFill/>
                </a:ln>
                <a:solidFill>
                  <a:srgbClr val="6D6F71"/>
                </a:solidFill>
                <a:effectLst/>
                <a:uLnTx/>
                <a:uFillTx/>
                <a:latin typeface="Arial"/>
                <a:ea typeface="+mn-ea"/>
                <a:cs typeface="+mn-cs"/>
              </a:rPr>
              <a:t> Position </a:t>
            </a:r>
            <a:r>
              <a:rPr kumimoji="0" sz="1600" b="0" i="0" u="none" strike="noStrike" kern="1200" cap="none" spc="0" normalizeH="0" baseline="0" noProof="0" dirty="0" err="1">
                <a:ln>
                  <a:noFill/>
                </a:ln>
                <a:solidFill>
                  <a:srgbClr val="6D6F71"/>
                </a:solidFill>
                <a:effectLst/>
                <a:uLnTx/>
                <a:uFillTx/>
                <a:latin typeface="Arial"/>
                <a:ea typeface="+mn-ea"/>
                <a:cs typeface="+mn-cs"/>
              </a:rPr>
              <a:t>klar</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konstruktiv</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zu</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verdeutlichen</a:t>
            </a:r>
            <a:r>
              <a:rPr kumimoji="0" sz="1600" b="0" i="0" u="none" strike="noStrike" kern="1200" cap="none" spc="0" normalizeH="0" baseline="0" noProof="0" dirty="0">
                <a:ln>
                  <a:noFill/>
                </a:ln>
                <a:solidFill>
                  <a:srgbClr val="6D6F71"/>
                </a:solidFill>
                <a:effectLst/>
                <a:uLnTx/>
                <a:uFillTx/>
                <a:latin typeface="Arial"/>
                <a:ea typeface="+mn-ea"/>
                <a:cs typeface="+mn-cs"/>
              </a:rPr>
              <a:t>.</a:t>
            </a:r>
            <a:endParaRPr kumimoji="0" lang="de-DE" sz="1600" b="0"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14000"/>
              </a:lnSpc>
              <a:spcBef>
                <a:spcPts val="3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742950" rtl="0" eaLnBrk="1" fontAlgn="auto" latinLnBrk="0" hangingPunct="1">
              <a:lnSpc>
                <a:spcPct val="114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rgbClr val="6D6F71"/>
                </a:solidFill>
                <a:effectLst/>
                <a:uLnTx/>
                <a:uFillTx/>
                <a:latin typeface="Arial"/>
                <a:ea typeface="+mn-ea"/>
                <a:cs typeface="+mn-cs"/>
              </a:rPr>
              <a:t>Psychologische</a:t>
            </a:r>
            <a:r>
              <a:rPr kumimoji="0" lang="en-US" sz="1600" b="1" i="0" u="none" strike="noStrike" kern="1200" cap="none" spc="0" normalizeH="0" baseline="0" noProof="0" dirty="0">
                <a:ln>
                  <a:noFill/>
                </a:ln>
                <a:solidFill>
                  <a:srgbClr val="6D6F71"/>
                </a:solidFill>
                <a:effectLst/>
                <a:uLnTx/>
                <a:uFillTx/>
                <a:latin typeface="Arial"/>
                <a:ea typeface="+mn-ea"/>
                <a:cs typeface="+mn-cs"/>
              </a:rPr>
              <a:t> </a:t>
            </a:r>
            <a:r>
              <a:rPr kumimoji="0" lang="en-US" sz="1600" b="1" i="0" u="none" strike="noStrike" kern="1200" cap="none" spc="0" normalizeH="0" baseline="0" noProof="0" dirty="0" err="1">
                <a:ln>
                  <a:noFill/>
                </a:ln>
                <a:solidFill>
                  <a:srgbClr val="6D6F71"/>
                </a:solidFill>
                <a:effectLst/>
                <a:uLnTx/>
                <a:uFillTx/>
                <a:latin typeface="Arial"/>
                <a:ea typeface="+mn-ea"/>
                <a:cs typeface="+mn-cs"/>
              </a:rPr>
              <a:t>Verhandlungstaktiken</a:t>
            </a:r>
            <a:endParaRPr kumimoji="0" lang="en-US" sz="1600" b="1"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14000"/>
              </a:lnSpc>
              <a:spcBef>
                <a:spcPts val="300"/>
              </a:spcBef>
              <a:spcAft>
                <a:spcPts val="0"/>
              </a:spcAft>
              <a:buClrTx/>
              <a:buSzTx/>
              <a:buFont typeface="Arial" panose="020B0604020202020204" pitchFamily="34" charset="0"/>
              <a:buNone/>
              <a:tabLst/>
              <a:defRPr/>
            </a:pPr>
            <a:r>
              <a:rPr kumimoji="0" sz="1600" b="0" i="0" u="none" strike="noStrike" kern="1200" cap="none" spc="0" normalizeH="0" baseline="0" noProof="0" dirty="0" err="1">
                <a:ln>
                  <a:noFill/>
                </a:ln>
                <a:solidFill>
                  <a:srgbClr val="6D6F71"/>
                </a:solidFill>
                <a:effectLst/>
                <a:uLnTx/>
                <a:uFillTx/>
                <a:latin typeface="Arial"/>
                <a:ea typeface="+mn-ea"/>
                <a:cs typeface="+mn-cs"/>
              </a:rPr>
              <a:t>Empathi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Verständnis</a:t>
            </a:r>
            <a:r>
              <a:rPr kumimoji="0" sz="1600" b="0" i="0" u="none" strike="noStrike" kern="1200" cap="none" spc="0" normalizeH="0" baseline="0" noProof="0" dirty="0">
                <a:ln>
                  <a:noFill/>
                </a:ln>
                <a:solidFill>
                  <a:srgbClr val="6D6F71"/>
                </a:solidFill>
                <a:effectLst/>
                <a:uLnTx/>
                <a:uFillTx/>
                <a:latin typeface="Arial"/>
                <a:ea typeface="+mn-ea"/>
                <a:cs typeface="+mn-cs"/>
              </a:rPr>
              <a:t> für </a:t>
            </a:r>
            <a:r>
              <a:rPr kumimoji="0" sz="1600" b="0" i="0" u="none" strike="noStrike" kern="1200" cap="none" spc="0" normalizeH="0" baseline="0" noProof="0" dirty="0" err="1">
                <a:ln>
                  <a:noFill/>
                </a:ln>
                <a:solidFill>
                  <a:srgbClr val="6D6F71"/>
                </a:solidFill>
                <a:effectLst/>
                <a:uLnTx/>
                <a:uFillTx/>
                <a:latin typeface="Arial"/>
                <a:ea typeface="+mn-ea"/>
                <a:cs typeface="+mn-cs"/>
              </a:rPr>
              <a:t>Interessen</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Taktiken</a:t>
            </a:r>
            <a:r>
              <a:rPr kumimoji="0" lang="de-DE" sz="1600" b="0" i="0" u="none" strike="noStrike" kern="1200" cap="none" spc="0" normalizeH="0" baseline="0" noProof="0" dirty="0">
                <a:ln>
                  <a:noFill/>
                </a:ln>
                <a:solidFill>
                  <a:srgbClr val="6D6F71"/>
                </a:solidFill>
                <a:effectLst/>
                <a:uLnTx/>
                <a:uFillTx/>
                <a:latin typeface="Arial"/>
                <a:ea typeface="+mn-ea"/>
                <a:cs typeface="+mn-cs"/>
              </a:rPr>
              <a:t>,</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wie</a:t>
            </a:r>
            <a:r>
              <a:rPr kumimoji="0" sz="1600" b="0" i="0" u="none" strike="noStrike" kern="1200" cap="none" spc="0" normalizeH="0" baseline="0" noProof="0" dirty="0">
                <a:ln>
                  <a:noFill/>
                </a:ln>
                <a:solidFill>
                  <a:srgbClr val="6D6F71"/>
                </a:solidFill>
                <a:effectLst/>
                <a:uLnTx/>
                <a:uFillTx/>
                <a:latin typeface="Arial"/>
                <a:ea typeface="+mn-ea"/>
                <a:cs typeface="+mn-cs"/>
              </a:rPr>
              <a:t> Anker </a:t>
            </a:r>
            <a:r>
              <a:rPr kumimoji="0" sz="1600" b="0" i="0" u="none" strike="noStrike" kern="1200" cap="none" spc="0" normalizeH="0" baseline="0" noProof="0" dirty="0" err="1">
                <a:ln>
                  <a:noFill/>
                </a:ln>
                <a:solidFill>
                  <a:srgbClr val="6D6F71"/>
                </a:solidFill>
                <a:effectLst/>
                <a:uLnTx/>
                <a:uFillTx/>
                <a:latin typeface="Arial"/>
                <a:ea typeface="+mn-ea"/>
                <a:cs typeface="+mn-cs"/>
              </a:rPr>
              <a:t>setz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oder</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Paus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nutzen</a:t>
            </a:r>
            <a:r>
              <a:rPr kumimoji="0" lang="de-DE" sz="1600" b="0" i="0" u="none" strike="noStrike" kern="1200" cap="none" spc="0" normalizeH="0" baseline="0" noProof="0" dirty="0">
                <a:ln>
                  <a:noFill/>
                </a:ln>
                <a:solidFill>
                  <a:srgbClr val="6D6F71"/>
                </a:solidFill>
                <a:effectLst/>
                <a:uLnTx/>
                <a:uFillTx/>
                <a:latin typeface="Arial"/>
                <a:ea typeface="+mn-ea"/>
                <a:cs typeface="+mn-cs"/>
              </a:rPr>
              <a:t>,</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förder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besser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Verhandlungsergebnisse</a:t>
            </a:r>
            <a:r>
              <a:rPr kumimoji="0" sz="1600" b="0" i="0" u="none" strike="noStrike" kern="1200" cap="none" spc="0" normalizeH="0" baseline="0" noProof="0" dirty="0">
                <a:ln>
                  <a:noFill/>
                </a:ln>
                <a:solidFill>
                  <a:srgbClr val="6D6F71"/>
                </a:solidFill>
                <a:effectLst/>
                <a:uLnTx/>
                <a:uFillTx/>
                <a:latin typeface="Arial"/>
                <a:ea typeface="+mn-ea"/>
                <a:cs typeface="+mn-cs"/>
              </a:rPr>
              <a:t>.</a:t>
            </a:r>
            <a:endParaRPr kumimoji="0" lang="en-US" sz="1600" b="0" i="0" u="none" strike="noStrike" kern="1200" cap="none" spc="0" normalizeH="0" baseline="0" noProof="0" dirty="0">
              <a:ln>
                <a:noFill/>
              </a:ln>
              <a:solidFill>
                <a:srgbClr val="6D6F71"/>
              </a:solidFill>
              <a:effectLst/>
              <a:uLnTx/>
              <a:uFillTx/>
              <a:latin typeface="Arial"/>
              <a:ea typeface="+mn-ea"/>
              <a:cs typeface="+mn-cs"/>
            </a:endParaRPr>
          </a:p>
        </p:txBody>
      </p:sp>
      <p:sp>
        <p:nvSpPr>
          <p:cNvPr id="4" name="Foliennummernplatzhalter 3">
            <a:extLst>
              <a:ext uri="{FF2B5EF4-FFF2-40B4-BE49-F238E27FC236}">
                <a16:creationId xmlns:a16="http://schemas.microsoft.com/office/drawing/2014/main" id="{BBD42F1D-7089-AA25-27D3-312E1E9FA1B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322A94-3156-491B-AD20-567107C600A1}" type="slidenum">
              <a:rPr kumimoji="0" lang="en-US"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srgbClr val="404040">
                  <a:tint val="75000"/>
                </a:srgbClr>
              </a:solidFill>
              <a:effectLst/>
              <a:uLnTx/>
              <a:uFillTx/>
              <a:latin typeface="Arial"/>
              <a:ea typeface="+mn-ea"/>
              <a:cs typeface="+mn-cs"/>
            </a:endParaRPr>
          </a:p>
        </p:txBody>
      </p:sp>
    </p:spTree>
    <p:extLst>
      <p:ext uri="{BB962C8B-B14F-4D97-AF65-F5344CB8AC3E}">
        <p14:creationId xmlns:p14="http://schemas.microsoft.com/office/powerpoint/2010/main" val="410662098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5A74C-DC3A-201D-4E2C-49E97738F801}"/>
              </a:ext>
            </a:extLst>
          </p:cNvPr>
          <p:cNvSpPr>
            <a:spLocks noGrp="1"/>
          </p:cNvSpPr>
          <p:nvPr>
            <p:ph type="title"/>
          </p:nvPr>
        </p:nvSpPr>
        <p:spPr>
          <a:xfrm>
            <a:off x="344489" y="332656"/>
            <a:ext cx="9217024" cy="699550"/>
          </a:xfrm>
          <a:noFill/>
          <a:ln/>
          <a:extLst>
            <a:ext uri="{909E8E84-426E-40DD-AFC4-6F175D3DCCD1}">
              <a14:hiddenFill xmlns:a14="http://schemas.microsoft.com/office/drawing/2010/main">
                <a:solidFill>
                  <a:srgbClr val="FFFFFF">
                    <a:alpha val="0"/>
                  </a:srgbClr>
                </a:solidFill>
              </a14:hiddenFill>
            </a:ext>
          </a:extLst>
        </p:spPr>
        <p:txBody>
          <a:bodyPr lIns="0" tIns="0" rIns="0" bIns="0" anchor="t">
            <a:noAutofit/>
          </a:bodyPr>
          <a:lstStyle/>
          <a:p>
            <a:r>
              <a:rPr>
                <a:solidFill>
                  <a:srgbClr val="C72A34"/>
                </a:solidFill>
                <a:latin typeface="Arial Black" panose="020B0A04020102020204" pitchFamily="34" charset="0"/>
              </a:rPr>
              <a:t>Zusammenfassung und nächste Schritte</a:t>
            </a:r>
          </a:p>
        </p:txBody>
      </p:sp>
      <p:sp>
        <p:nvSpPr>
          <p:cNvPr id="5" name="Content Placeholder 4">
            <a:extLst>
              <a:ext uri="{FF2B5EF4-FFF2-40B4-BE49-F238E27FC236}">
                <a16:creationId xmlns:a16="http://schemas.microsoft.com/office/drawing/2014/main" id="{0D625A45-1912-009B-06E5-AA740221F568}"/>
              </a:ext>
            </a:extLst>
          </p:cNvPr>
          <p:cNvSpPr>
            <a:spLocks noGrp="1"/>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344488" y="1249917"/>
            <a:ext cx="6951282" cy="4514202"/>
          </a:xfrm>
          <a:prstGeom prst="rect">
            <a:avLst/>
          </a:prstGeom>
        </p:spPr>
        <p:txBody>
          <a:bodyPr>
            <a:normAutofit/>
          </a:bodyPr>
          <a:lstStyle>
            <a:lvl1pPr marL="232172" indent="-232172" algn="l" defTabSz="742950" rtl="0" eaLnBrk="1" latinLnBrk="0" hangingPunct="1">
              <a:lnSpc>
                <a:spcPct val="100000"/>
              </a:lnSpc>
              <a:spcBef>
                <a:spcPts val="813"/>
              </a:spcBef>
              <a:buFont typeface="Arial" panose="020B0604020202020204" pitchFamily="34" charset="0"/>
              <a:buChar char="•"/>
              <a:defRPr sz="1138" b="0" i="0" kern="1200">
                <a:solidFill>
                  <a:schemeClr val="tx1"/>
                </a:solidFill>
                <a:latin typeface="+mn-lt"/>
                <a:ea typeface="+mn-ea"/>
                <a:cs typeface="+mn-cs"/>
              </a:defRPr>
            </a:lvl1pPr>
            <a:lvl2pPr marL="417909" indent="-232172" algn="l" defTabSz="742950" rtl="0" eaLnBrk="1" latinLnBrk="0" hangingPunct="1">
              <a:lnSpc>
                <a:spcPct val="100000"/>
              </a:lnSpc>
              <a:spcBef>
                <a:spcPts val="406"/>
              </a:spcBef>
              <a:buFont typeface="Arial" panose="020B0604020202020204" pitchFamily="34" charset="0"/>
              <a:buChar char="•"/>
              <a:defRPr sz="1138" b="0" i="0" kern="1200">
                <a:solidFill>
                  <a:schemeClr val="tx1"/>
                </a:solidFill>
                <a:latin typeface="+mn-lt"/>
                <a:ea typeface="+mn-ea"/>
                <a:cs typeface="+mn-cs"/>
              </a:defRPr>
            </a:lvl2pPr>
            <a:lvl3pPr marL="603647" indent="-232172" algn="l" defTabSz="742950" rtl="0" eaLnBrk="1" latinLnBrk="0" hangingPunct="1">
              <a:lnSpc>
                <a:spcPct val="100000"/>
              </a:lnSpc>
              <a:spcBef>
                <a:spcPts val="406"/>
              </a:spcBef>
              <a:buFont typeface="Arial" panose="020B0604020202020204" pitchFamily="34" charset="0"/>
              <a:buChar char="•"/>
              <a:defRPr sz="1138" b="0" i="0" kern="1200">
                <a:solidFill>
                  <a:schemeClr val="tx1"/>
                </a:solidFill>
                <a:latin typeface="+mn-lt"/>
                <a:ea typeface="+mn-ea"/>
                <a:cs typeface="+mn-cs"/>
              </a:defRPr>
            </a:lvl3pPr>
            <a:lvl4pPr marL="789384" indent="-232172" algn="l" defTabSz="742950" rtl="0" eaLnBrk="1" latinLnBrk="0" hangingPunct="1">
              <a:lnSpc>
                <a:spcPct val="100000"/>
              </a:lnSpc>
              <a:spcBef>
                <a:spcPts val="406"/>
              </a:spcBef>
              <a:buFont typeface="Arial" panose="020B0604020202020204" pitchFamily="34" charset="0"/>
              <a:buChar char="•"/>
              <a:defRPr sz="1138" kern="1200">
                <a:solidFill>
                  <a:schemeClr val="tx1"/>
                </a:solidFill>
                <a:latin typeface="+mn-lt"/>
                <a:ea typeface="+mn-ea"/>
                <a:cs typeface="+mn-cs"/>
              </a:defRPr>
            </a:lvl4pPr>
            <a:lvl5pPr marL="975122" indent="-232172" algn="l" defTabSz="742950" rtl="0" eaLnBrk="1" latinLnBrk="0" hangingPunct="1">
              <a:lnSpc>
                <a:spcPct val="100000"/>
              </a:lnSpc>
              <a:spcBef>
                <a:spcPts val="406"/>
              </a:spcBef>
              <a:buFont typeface="Arial" panose="020B0604020202020204" pitchFamily="34" charset="0"/>
              <a:buChar char="•"/>
              <a:defRPr sz="1138"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0" marR="0" lvl="0" indent="0" algn="l" defTabSz="742950" rtl="0" eaLnBrk="1" fontAlgn="auto" latinLnBrk="0" hangingPunct="1">
              <a:lnSpc>
                <a:spcPct val="100000"/>
              </a:lnSpc>
              <a:spcBef>
                <a:spcPts val="2031"/>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rgbClr val="6D6F71"/>
                </a:solidFill>
                <a:effectLst/>
                <a:uLnTx/>
                <a:uFillTx/>
                <a:latin typeface="Arial"/>
                <a:ea typeface="+mn-ea"/>
                <a:cs typeface="+mn-cs"/>
              </a:rPr>
              <a:t>Erfolgsfaktoren</a:t>
            </a:r>
            <a:r>
              <a:rPr kumimoji="0" lang="en-US" sz="1600" b="1" i="0" u="none" strike="noStrike" kern="1200" cap="none" spc="0" normalizeH="0" baseline="0" noProof="0" dirty="0">
                <a:ln>
                  <a:noFill/>
                </a:ln>
                <a:solidFill>
                  <a:srgbClr val="6D6F71"/>
                </a:solidFill>
                <a:effectLst/>
                <a:uLnTx/>
                <a:uFillTx/>
                <a:latin typeface="Arial"/>
                <a:ea typeface="+mn-ea"/>
                <a:cs typeface="+mn-cs"/>
              </a:rPr>
              <a:t> der </a:t>
            </a:r>
            <a:r>
              <a:rPr kumimoji="0" lang="en-US" sz="1600" b="1" i="0" u="none" strike="noStrike" kern="1200" cap="none" spc="0" normalizeH="0" baseline="0" noProof="0" dirty="0" err="1">
                <a:ln>
                  <a:noFill/>
                </a:ln>
                <a:solidFill>
                  <a:srgbClr val="6D6F71"/>
                </a:solidFill>
                <a:effectLst/>
                <a:uLnTx/>
                <a:uFillTx/>
                <a:latin typeface="Arial"/>
                <a:ea typeface="+mn-ea"/>
                <a:cs typeface="+mn-cs"/>
              </a:rPr>
              <a:t>Verhandlung</a:t>
            </a:r>
            <a:endParaRPr kumimoji="0" lang="en-US" sz="1600" b="1"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00000"/>
              </a:lnSpc>
              <a:spcBef>
                <a:spcPts val="406"/>
              </a:spcBef>
              <a:spcAft>
                <a:spcPts val="0"/>
              </a:spcAft>
              <a:buClrTx/>
              <a:buSzTx/>
              <a:buFont typeface="Arial" panose="020B0604020202020204" pitchFamily="34" charset="0"/>
              <a:buNone/>
              <a:tabLst/>
              <a:defRPr/>
            </a:pPr>
            <a:r>
              <a:rPr kumimoji="0" sz="1600" b="0" i="0" u="none" strike="noStrike" kern="1200" cap="none" spc="0" normalizeH="0" baseline="0" noProof="0" dirty="0" err="1">
                <a:ln>
                  <a:noFill/>
                </a:ln>
                <a:solidFill>
                  <a:srgbClr val="6D6F71"/>
                </a:solidFill>
                <a:effectLst/>
                <a:uLnTx/>
                <a:uFillTx/>
                <a:latin typeface="Arial"/>
                <a:ea typeface="+mn-ea"/>
                <a:cs typeface="+mn-cs"/>
              </a:rPr>
              <a:t>Strategisch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Vorbereitung</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rechtliche</a:t>
            </a:r>
            <a:r>
              <a:rPr kumimoji="0" sz="1600" b="0" i="0" u="none" strike="noStrike" kern="1200" cap="none" spc="0" normalizeH="0" baseline="0" noProof="0" dirty="0">
                <a:ln>
                  <a:noFill/>
                </a:ln>
                <a:solidFill>
                  <a:srgbClr val="6D6F71"/>
                </a:solidFill>
                <a:effectLst/>
                <a:uLnTx/>
                <a:uFillTx/>
                <a:latin typeface="Arial"/>
                <a:ea typeface="+mn-ea"/>
                <a:cs typeface="+mn-cs"/>
              </a:rPr>
              <a:t> Sicherheit und </a:t>
            </a:r>
            <a:r>
              <a:rPr kumimoji="0" sz="1600" b="0" i="0" u="none" strike="noStrike" kern="1200" cap="none" spc="0" normalizeH="0" baseline="0" noProof="0" dirty="0" err="1">
                <a:ln>
                  <a:noFill/>
                </a:ln>
                <a:solidFill>
                  <a:srgbClr val="6D6F71"/>
                </a:solidFill>
                <a:effectLst/>
                <a:uLnTx/>
                <a:uFillTx/>
                <a:latin typeface="Arial"/>
                <a:ea typeface="+mn-ea"/>
                <a:cs typeface="+mn-cs"/>
              </a:rPr>
              <a:t>überzeugende</a:t>
            </a:r>
            <a:r>
              <a:rPr kumimoji="0" sz="1600" b="0" i="0" u="none" strike="noStrike" kern="1200" cap="none" spc="0" normalizeH="0" baseline="0" noProof="0" dirty="0">
                <a:ln>
                  <a:noFill/>
                </a:ln>
                <a:solidFill>
                  <a:srgbClr val="6D6F71"/>
                </a:solidFill>
                <a:effectLst/>
                <a:uLnTx/>
                <a:uFillTx/>
                <a:latin typeface="Arial"/>
                <a:ea typeface="+mn-ea"/>
                <a:cs typeface="+mn-cs"/>
              </a:rPr>
              <a:t> Argumentation </a:t>
            </a:r>
            <a:r>
              <a:rPr kumimoji="0" sz="1600" b="0" i="0" u="none" strike="noStrike" kern="1200" cap="none" spc="0" normalizeH="0" baseline="0" noProof="0" dirty="0" err="1">
                <a:ln>
                  <a:noFill/>
                </a:ln>
                <a:solidFill>
                  <a:srgbClr val="6D6F71"/>
                </a:solidFill>
                <a:effectLst/>
                <a:uLnTx/>
                <a:uFillTx/>
                <a:latin typeface="Arial"/>
                <a:ea typeface="+mn-ea"/>
                <a:cs typeface="+mn-cs"/>
              </a:rPr>
              <a:t>sind</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entscheidend</a:t>
            </a:r>
            <a:r>
              <a:rPr kumimoji="0" sz="1600" b="0" i="0" u="none" strike="noStrike" kern="1200" cap="none" spc="0" normalizeH="0" baseline="0" noProof="0" dirty="0">
                <a:ln>
                  <a:noFill/>
                </a:ln>
                <a:solidFill>
                  <a:srgbClr val="6D6F71"/>
                </a:solidFill>
                <a:effectLst/>
                <a:uLnTx/>
                <a:uFillTx/>
                <a:latin typeface="Arial"/>
                <a:ea typeface="+mn-ea"/>
                <a:cs typeface="+mn-cs"/>
              </a:rPr>
              <a:t> für </a:t>
            </a:r>
            <a:r>
              <a:rPr kumimoji="0" sz="1600" b="0" i="0" u="none" strike="noStrike" kern="1200" cap="none" spc="0" normalizeH="0" baseline="0" noProof="0" dirty="0" err="1">
                <a:ln>
                  <a:noFill/>
                </a:ln>
                <a:solidFill>
                  <a:srgbClr val="6D6F71"/>
                </a:solidFill>
                <a:effectLst/>
                <a:uLnTx/>
                <a:uFillTx/>
                <a:latin typeface="Arial"/>
                <a:ea typeface="+mn-ea"/>
                <a:cs typeface="+mn-cs"/>
              </a:rPr>
              <a:t>erfolgreich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Pflegesatzverhandlungen</a:t>
            </a:r>
            <a:r>
              <a:rPr kumimoji="0" sz="1600" b="0" i="0" u="none" strike="noStrike" kern="1200" cap="none" spc="0" normalizeH="0" baseline="0" noProof="0" dirty="0">
                <a:ln>
                  <a:noFill/>
                </a:ln>
                <a:solidFill>
                  <a:srgbClr val="6D6F71"/>
                </a:solidFill>
                <a:effectLst/>
                <a:uLnTx/>
                <a:uFillTx/>
                <a:latin typeface="Arial"/>
                <a:ea typeface="+mn-ea"/>
                <a:cs typeface="+mn-cs"/>
              </a:rPr>
              <a:t>.</a:t>
            </a:r>
            <a:endParaRPr kumimoji="0" lang="en-US"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742950" rtl="0" eaLnBrk="1" fontAlgn="auto" latinLnBrk="0" hangingPunct="1">
              <a:lnSpc>
                <a:spcPct val="100000"/>
              </a:lnSpc>
              <a:spcBef>
                <a:spcPts val="2031"/>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6D6F71"/>
                </a:solidFill>
                <a:effectLst/>
                <a:uLnTx/>
                <a:uFillTx/>
                <a:latin typeface="Arial"/>
                <a:ea typeface="+mn-ea"/>
                <a:cs typeface="+mn-cs"/>
              </a:rPr>
              <a:t>Klare </a:t>
            </a:r>
            <a:r>
              <a:rPr kumimoji="0" lang="en-US" sz="1600" b="1" i="0" u="none" strike="noStrike" kern="1200" cap="none" spc="0" normalizeH="0" baseline="0" noProof="0" dirty="0" err="1">
                <a:ln>
                  <a:noFill/>
                </a:ln>
                <a:solidFill>
                  <a:srgbClr val="6D6F71"/>
                </a:solidFill>
                <a:effectLst/>
                <a:uLnTx/>
                <a:uFillTx/>
                <a:latin typeface="Arial"/>
                <a:ea typeface="+mn-ea"/>
                <a:cs typeface="+mn-cs"/>
              </a:rPr>
              <a:t>Zieldefinition</a:t>
            </a:r>
            <a:r>
              <a:rPr kumimoji="0" lang="en-US" sz="1600" b="1" i="0" u="none" strike="noStrike" kern="1200" cap="none" spc="0" normalizeH="0" baseline="0" noProof="0" dirty="0">
                <a:ln>
                  <a:noFill/>
                </a:ln>
                <a:solidFill>
                  <a:srgbClr val="6D6F71"/>
                </a:solidFill>
                <a:effectLst/>
                <a:uLnTx/>
                <a:uFillTx/>
                <a:latin typeface="Arial"/>
                <a:ea typeface="+mn-ea"/>
                <a:cs typeface="+mn-cs"/>
              </a:rPr>
              <a:t> und </a:t>
            </a:r>
            <a:r>
              <a:rPr kumimoji="0" lang="en-US" sz="1600" b="1" i="0" u="none" strike="noStrike" kern="1200" cap="none" spc="0" normalizeH="0" baseline="0" noProof="0" dirty="0" err="1">
                <a:ln>
                  <a:noFill/>
                </a:ln>
                <a:solidFill>
                  <a:srgbClr val="6D6F71"/>
                </a:solidFill>
                <a:effectLst/>
                <a:uLnTx/>
                <a:uFillTx/>
                <a:latin typeface="Arial"/>
                <a:ea typeface="+mn-ea"/>
                <a:cs typeface="+mn-cs"/>
              </a:rPr>
              <a:t>Transparenz</a:t>
            </a:r>
            <a:endParaRPr kumimoji="0" lang="en-US" sz="1600" b="1"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00000"/>
              </a:lnSpc>
              <a:spcBef>
                <a:spcPts val="406"/>
              </a:spcBef>
              <a:spcAft>
                <a:spcPts val="0"/>
              </a:spcAft>
              <a:buClrTx/>
              <a:buSzTx/>
              <a:buFont typeface="Arial" panose="020B0604020202020204" pitchFamily="34" charset="0"/>
              <a:buNone/>
              <a:tabLst/>
              <a:defRPr/>
            </a:pPr>
            <a:r>
              <a:rPr kumimoji="0" sz="1600" b="0" i="0" u="none" strike="noStrike" kern="1200" cap="none" spc="0" normalizeH="0" baseline="0" noProof="0" dirty="0" err="1">
                <a:ln>
                  <a:noFill/>
                </a:ln>
                <a:solidFill>
                  <a:srgbClr val="6D6F71"/>
                </a:solidFill>
                <a:effectLst/>
                <a:uLnTx/>
                <a:uFillTx/>
                <a:latin typeface="Arial"/>
                <a:ea typeface="+mn-ea"/>
                <a:cs typeface="+mn-cs"/>
              </a:rPr>
              <a:t>Geschäftsführer</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sollt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klar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Ziel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setzen</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lang="de-DE" sz="1600" b="0" i="0" u="none" strike="noStrike" kern="1200" cap="none" spc="0" normalizeH="0" baseline="0" noProof="0" dirty="0">
                <a:ln>
                  <a:noFill/>
                </a:ln>
                <a:solidFill>
                  <a:srgbClr val="6D6F71"/>
                </a:solidFill>
                <a:effectLst/>
                <a:uLnTx/>
                <a:uFillTx/>
                <a:latin typeface="Arial"/>
                <a:ea typeface="+mn-ea"/>
                <a:cs typeface="+mn-cs"/>
              </a:rPr>
              <a:t>ggfs. </a:t>
            </a:r>
            <a:r>
              <a:rPr kumimoji="0" sz="1600" b="0" i="0" u="none" strike="noStrike" kern="1200" cap="none" spc="0" normalizeH="0" baseline="0" noProof="0" dirty="0" err="1">
                <a:ln>
                  <a:noFill/>
                </a:ln>
                <a:solidFill>
                  <a:srgbClr val="6D6F71"/>
                </a:solidFill>
                <a:effectLst/>
                <a:uLnTx/>
                <a:uFillTx/>
                <a:latin typeface="Arial"/>
                <a:ea typeface="+mn-ea"/>
                <a:cs typeface="+mn-cs"/>
              </a:rPr>
              <a:t>ihr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Kostenstruktur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offen</a:t>
            </a:r>
            <a:r>
              <a:rPr kumimoji="0" sz="1600" b="0" i="0" u="none" strike="noStrike" kern="1200" cap="none" spc="0" normalizeH="0" baseline="0" noProof="0" dirty="0">
                <a:ln>
                  <a:noFill/>
                </a:ln>
                <a:solidFill>
                  <a:srgbClr val="6D6F71"/>
                </a:solidFill>
                <a:effectLst/>
                <a:uLnTx/>
                <a:uFillTx/>
                <a:latin typeface="Arial"/>
                <a:ea typeface="+mn-ea"/>
                <a:cs typeface="+mn-cs"/>
              </a:rPr>
              <a:t> und transparent </a:t>
            </a:r>
            <a:r>
              <a:rPr kumimoji="0" sz="1600" b="0" i="0" u="none" strike="noStrike" kern="1200" cap="none" spc="0" normalizeH="0" baseline="0" noProof="0" dirty="0" err="1">
                <a:ln>
                  <a:noFill/>
                </a:ln>
                <a:solidFill>
                  <a:srgbClr val="6D6F71"/>
                </a:solidFill>
                <a:effectLst/>
                <a:uLnTx/>
                <a:uFillTx/>
                <a:latin typeface="Arial"/>
                <a:ea typeface="+mn-ea"/>
                <a:cs typeface="+mn-cs"/>
              </a:rPr>
              <a:t>darstellen</a:t>
            </a:r>
            <a:r>
              <a:rPr kumimoji="0" sz="1600" b="0" i="0" u="none" strike="noStrike" kern="1200" cap="none" spc="0" normalizeH="0" baseline="0" noProof="0" dirty="0">
                <a:ln>
                  <a:noFill/>
                </a:ln>
                <a:solidFill>
                  <a:srgbClr val="6D6F71"/>
                </a:solidFill>
                <a:effectLst/>
                <a:uLnTx/>
                <a:uFillTx/>
                <a:latin typeface="Arial"/>
                <a:ea typeface="+mn-ea"/>
                <a:cs typeface="+mn-cs"/>
              </a:rPr>
              <a:t>.</a:t>
            </a:r>
            <a:endParaRPr kumimoji="0" lang="en-US"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742950" rtl="0" eaLnBrk="1" fontAlgn="auto" latinLnBrk="0" hangingPunct="1">
              <a:lnSpc>
                <a:spcPct val="100000"/>
              </a:lnSpc>
              <a:spcBef>
                <a:spcPts val="2031"/>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rgbClr val="6D6F71"/>
                </a:solidFill>
                <a:effectLst/>
                <a:uLnTx/>
                <a:uFillTx/>
                <a:latin typeface="Arial"/>
                <a:ea typeface="+mn-ea"/>
                <a:cs typeface="+mn-cs"/>
              </a:rPr>
              <a:t>Nachkylkulation</a:t>
            </a:r>
            <a:r>
              <a:rPr kumimoji="0" lang="en-US" sz="1600" b="1" i="0" u="none" strike="noStrike" kern="1200" cap="none" spc="0" normalizeH="0" baseline="0" noProof="0" dirty="0">
                <a:ln>
                  <a:noFill/>
                </a:ln>
                <a:solidFill>
                  <a:srgbClr val="6D6F71"/>
                </a:solidFill>
                <a:effectLst/>
                <a:uLnTx/>
                <a:uFillTx/>
                <a:latin typeface="Arial"/>
                <a:ea typeface="+mn-ea"/>
                <a:cs typeface="+mn-cs"/>
              </a:rPr>
              <a:t> und </a:t>
            </a:r>
            <a:r>
              <a:rPr kumimoji="0" lang="en-US" sz="1600" b="1" i="0" u="none" strike="noStrike" kern="1200" cap="none" spc="0" normalizeH="0" baseline="0" noProof="0" dirty="0" err="1">
                <a:ln>
                  <a:noFill/>
                </a:ln>
                <a:solidFill>
                  <a:srgbClr val="6D6F71"/>
                </a:solidFill>
                <a:effectLst/>
                <a:uLnTx/>
                <a:uFillTx/>
                <a:latin typeface="Arial"/>
                <a:ea typeface="+mn-ea"/>
                <a:cs typeface="+mn-cs"/>
              </a:rPr>
              <a:t>Analyse</a:t>
            </a:r>
            <a:endParaRPr kumimoji="0" lang="en-US" sz="1600" b="1"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00000"/>
              </a:lnSpc>
              <a:spcBef>
                <a:spcPts val="406"/>
              </a:spcBef>
              <a:spcAft>
                <a:spcPts val="0"/>
              </a:spcAft>
              <a:buClrTx/>
              <a:buSzTx/>
              <a:buFont typeface="Arial" panose="020B0604020202020204" pitchFamily="34" charset="0"/>
              <a:buNone/>
              <a:tabLst/>
              <a:defRPr/>
            </a:pPr>
            <a:r>
              <a:rPr kumimoji="0" sz="1600" b="0" i="0" u="none" strike="noStrike" kern="1200" cap="none" spc="0" normalizeH="0" baseline="0" noProof="0" dirty="0" err="1">
                <a:ln>
                  <a:noFill/>
                </a:ln>
                <a:solidFill>
                  <a:srgbClr val="6D6F71"/>
                </a:solidFill>
                <a:effectLst/>
                <a:uLnTx/>
                <a:uFillTx/>
                <a:latin typeface="Arial"/>
                <a:ea typeface="+mn-ea"/>
                <a:cs typeface="+mn-cs"/>
              </a:rPr>
              <a:t>Ergebniss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analysieren</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Verbesserungsmöglichkeit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identifizier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nach</a:t>
            </a:r>
            <a:r>
              <a:rPr kumimoji="0" sz="1600" b="0" i="0" u="none" strike="noStrike" kern="1200" cap="none" spc="0" normalizeH="0" baseline="0" noProof="0" dirty="0">
                <a:ln>
                  <a:noFill/>
                </a:ln>
                <a:solidFill>
                  <a:srgbClr val="6D6F71"/>
                </a:solidFill>
                <a:effectLst/>
                <a:uLnTx/>
                <a:uFillTx/>
                <a:latin typeface="Arial"/>
                <a:ea typeface="+mn-ea"/>
                <a:cs typeface="+mn-cs"/>
              </a:rPr>
              <a:t> Abschluss der </a:t>
            </a:r>
            <a:r>
              <a:rPr kumimoji="0" sz="1600" b="0" i="0" u="none" strike="noStrike" kern="1200" cap="none" spc="0" normalizeH="0" baseline="0" noProof="0" dirty="0" err="1">
                <a:ln>
                  <a:noFill/>
                </a:ln>
                <a:solidFill>
                  <a:srgbClr val="6D6F71"/>
                </a:solidFill>
                <a:effectLst/>
                <a:uLnTx/>
                <a:uFillTx/>
                <a:latin typeface="Arial"/>
                <a:ea typeface="+mn-ea"/>
                <a:cs typeface="+mn-cs"/>
              </a:rPr>
              <a:t>Verhandlungen</a:t>
            </a:r>
            <a:r>
              <a:rPr kumimoji="0" sz="1600" b="0" i="0" u="none" strike="noStrike" kern="1200" cap="none" spc="0" normalizeH="0" baseline="0" noProof="0" dirty="0">
                <a:ln>
                  <a:noFill/>
                </a:ln>
                <a:solidFill>
                  <a:srgbClr val="6D6F71"/>
                </a:solidFill>
                <a:effectLst/>
                <a:uLnTx/>
                <a:uFillTx/>
                <a:latin typeface="Arial"/>
                <a:ea typeface="+mn-ea"/>
                <a:cs typeface="+mn-cs"/>
              </a:rPr>
              <a:t>.</a:t>
            </a:r>
            <a:endParaRPr kumimoji="0" lang="en-US"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742950" rtl="0" eaLnBrk="1" fontAlgn="auto" latinLnBrk="0" hangingPunct="1">
              <a:lnSpc>
                <a:spcPct val="100000"/>
              </a:lnSpc>
              <a:spcBef>
                <a:spcPts val="2031"/>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rgbClr val="6D6F71"/>
                </a:solidFill>
                <a:effectLst/>
                <a:uLnTx/>
                <a:uFillTx/>
                <a:latin typeface="Arial"/>
                <a:ea typeface="+mn-ea"/>
                <a:cs typeface="+mn-cs"/>
              </a:rPr>
              <a:t>Kontinuierliche</a:t>
            </a:r>
            <a:r>
              <a:rPr kumimoji="0" lang="en-US" sz="1600" b="1" i="0" u="none" strike="noStrike" kern="1200" cap="none" spc="0" normalizeH="0" baseline="0" noProof="0" dirty="0">
                <a:ln>
                  <a:noFill/>
                </a:ln>
                <a:solidFill>
                  <a:srgbClr val="6D6F71"/>
                </a:solidFill>
                <a:effectLst/>
                <a:uLnTx/>
                <a:uFillTx/>
                <a:latin typeface="Arial"/>
                <a:ea typeface="+mn-ea"/>
                <a:cs typeface="+mn-cs"/>
              </a:rPr>
              <a:t> </a:t>
            </a:r>
            <a:r>
              <a:rPr kumimoji="0" lang="en-US" sz="1600" b="1" i="0" u="none" strike="noStrike" kern="1200" cap="none" spc="0" normalizeH="0" baseline="0" noProof="0" dirty="0" err="1">
                <a:ln>
                  <a:noFill/>
                </a:ln>
                <a:solidFill>
                  <a:srgbClr val="6D6F71"/>
                </a:solidFill>
                <a:effectLst/>
                <a:uLnTx/>
                <a:uFillTx/>
                <a:latin typeface="Arial"/>
                <a:ea typeface="+mn-ea"/>
                <a:cs typeface="+mn-cs"/>
              </a:rPr>
              <a:t>Schulungen</a:t>
            </a:r>
            <a:r>
              <a:rPr kumimoji="0" lang="en-US" sz="1600" b="1" i="0" u="none" strike="noStrike" kern="1200" cap="none" spc="0" normalizeH="0" baseline="0" noProof="0" dirty="0">
                <a:ln>
                  <a:noFill/>
                </a:ln>
                <a:solidFill>
                  <a:srgbClr val="6D6F71"/>
                </a:solidFill>
                <a:effectLst/>
                <a:uLnTx/>
                <a:uFillTx/>
                <a:latin typeface="Arial"/>
                <a:ea typeface="+mn-ea"/>
                <a:cs typeface="+mn-cs"/>
              </a:rPr>
              <a:t> und </a:t>
            </a:r>
            <a:r>
              <a:rPr kumimoji="0" lang="en-US" sz="1600" b="1" i="0" u="none" strike="noStrike" kern="1200" cap="none" spc="0" normalizeH="0" baseline="0" noProof="0" dirty="0" err="1">
                <a:ln>
                  <a:noFill/>
                </a:ln>
                <a:solidFill>
                  <a:srgbClr val="6D6F71"/>
                </a:solidFill>
                <a:effectLst/>
                <a:uLnTx/>
                <a:uFillTx/>
                <a:latin typeface="Arial"/>
                <a:ea typeface="+mn-ea"/>
                <a:cs typeface="+mn-cs"/>
              </a:rPr>
              <a:t>Beziehungspflege</a:t>
            </a:r>
            <a:endParaRPr kumimoji="0" lang="en-US" sz="1600" b="1"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00000"/>
              </a:lnSpc>
              <a:spcBef>
                <a:spcPts val="406"/>
              </a:spcBef>
              <a:spcAft>
                <a:spcPts val="0"/>
              </a:spcAft>
              <a:buClrTx/>
              <a:buSzTx/>
              <a:buFont typeface="Arial" panose="020B0604020202020204" pitchFamily="34" charset="0"/>
              <a:buNone/>
              <a:tabLst/>
              <a:defRPr/>
            </a:pPr>
            <a:r>
              <a:rPr kumimoji="0" sz="1600" b="0" i="0" u="none" strike="noStrike" kern="1200" cap="none" spc="0" normalizeH="0" baseline="0" noProof="0" dirty="0" err="1">
                <a:ln>
                  <a:noFill/>
                </a:ln>
                <a:solidFill>
                  <a:srgbClr val="6D6F71"/>
                </a:solidFill>
                <a:effectLst/>
                <a:uLnTx/>
                <a:uFillTx/>
                <a:latin typeface="Arial"/>
                <a:ea typeface="+mn-ea"/>
                <a:cs typeface="+mn-cs"/>
              </a:rPr>
              <a:t>Regelmäßig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Schulungen</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gut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Beziehung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zu</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Kostenträger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sicher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langfristig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Qualität</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Stabilität</a:t>
            </a:r>
            <a:r>
              <a:rPr kumimoji="0" sz="1600" b="0" i="0" u="none" strike="noStrike" kern="1200" cap="none" spc="0" normalizeH="0" baseline="0" noProof="0" dirty="0">
                <a:ln>
                  <a:noFill/>
                </a:ln>
                <a:solidFill>
                  <a:srgbClr val="6D6F71"/>
                </a:solidFill>
                <a:effectLst/>
                <a:uLnTx/>
                <a:uFillTx/>
                <a:latin typeface="Arial"/>
                <a:ea typeface="+mn-ea"/>
                <a:cs typeface="+mn-cs"/>
              </a:rPr>
              <a:t>.</a:t>
            </a:r>
            <a:endParaRPr kumimoji="0" lang="en-US" sz="1600" b="0" i="0" u="none" strike="noStrike" kern="1200" cap="none" spc="0" normalizeH="0" baseline="0" noProof="0" dirty="0">
              <a:ln>
                <a:noFill/>
              </a:ln>
              <a:solidFill>
                <a:srgbClr val="6D6F71"/>
              </a:solidFill>
              <a:effectLst/>
              <a:uLnTx/>
              <a:uFillTx/>
              <a:latin typeface="Arial"/>
              <a:ea typeface="+mn-ea"/>
              <a:cs typeface="+mn-cs"/>
            </a:endParaRPr>
          </a:p>
        </p:txBody>
      </p:sp>
      <p:pic>
        <p:nvPicPr>
          <p:cNvPr id="7" name="Content Placeholder 6" descr="Zwei Personen, Händedruck im Büro, beschnittenes Foto.">
            <a:extLst>
              <a:ext uri="{FF2B5EF4-FFF2-40B4-BE49-F238E27FC236}">
                <a16:creationId xmlns:a16="http://schemas.microsoft.com/office/drawing/2014/main" id="{0255B495-B19E-41AE-B1A6-46FD6F9CEEFB}"/>
              </a:ext>
            </a:extLst>
          </p:cNvPr>
          <p:cNvPicPr>
            <a:picLocks noGrp="1" noChangeAspect="1"/>
          </p:cNvPicPr>
          <p:nvPr/>
        </p:nvPicPr>
        <p:blipFill>
          <a:blip r:embed="rId3"/>
          <a:srcRect l="47216" r="29792" b="-1"/>
          <a:stretch>
            <a:fillRect/>
          </a:stretch>
        </p:blipFill>
        <p:spPr>
          <a:xfrm>
            <a:off x="7617233" y="1032206"/>
            <a:ext cx="1693457" cy="4916481"/>
          </a:xfrm>
          <a:prstGeom prst="rect">
            <a:avLst/>
          </a:prstGeom>
          <a:noFill/>
        </p:spPr>
      </p:pic>
      <p:sp>
        <p:nvSpPr>
          <p:cNvPr id="4" name="Foliennummernplatzhalter 3">
            <a:extLst>
              <a:ext uri="{FF2B5EF4-FFF2-40B4-BE49-F238E27FC236}">
                <a16:creationId xmlns:a16="http://schemas.microsoft.com/office/drawing/2014/main" id="{536AB16C-4C5B-C90C-6444-4F84EEB88A6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322A94-3156-491B-AD20-567107C600A1}" type="slidenum">
              <a:rPr kumimoji="0" lang="en-US"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dirty="0">
              <a:ln>
                <a:noFill/>
              </a:ln>
              <a:solidFill>
                <a:srgbClr val="404040">
                  <a:tint val="75000"/>
                </a:srgbClr>
              </a:solidFill>
              <a:effectLst/>
              <a:uLnTx/>
              <a:uFillTx/>
              <a:latin typeface="Arial"/>
              <a:ea typeface="+mn-ea"/>
              <a:cs typeface="+mn-cs"/>
            </a:endParaRPr>
          </a:p>
        </p:txBody>
      </p:sp>
    </p:spTree>
    <p:extLst>
      <p:ext uri="{BB962C8B-B14F-4D97-AF65-F5344CB8AC3E}">
        <p14:creationId xmlns:p14="http://schemas.microsoft.com/office/powerpoint/2010/main" val="55377330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err="1"/>
              <a:t>Relevante</a:t>
            </a:r>
            <a:r>
              <a:rPr lang="de-DE" dirty="0"/>
              <a:t> sozialrechtliche</a:t>
            </a:r>
            <a:r>
              <a:rPr dirty="0"/>
              <a:t> </a:t>
            </a:r>
            <a:r>
              <a:rPr lang="de-DE" dirty="0"/>
              <a:t>Rechtsgrundlagen</a:t>
            </a:r>
            <a:endParaRPr dirty="0"/>
          </a:p>
        </p:txBody>
      </p:sp>
      <p:sp>
        <p:nvSpPr>
          <p:cNvPr id="3" name="Picture Placeholder 2"/>
          <p:cNvSpPr>
            <a:spLocks noGrp="1"/>
          </p:cNvSpPr>
          <p:nvPr/>
        </p:nvSpPr>
        <p:spPr>
          <a:xfrm>
            <a:off x="345512" y="1557339"/>
            <a:ext cx="4751179" cy="475138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404040"/>
              </a:solidFill>
              <a:effectLst/>
              <a:uLnTx/>
              <a:uFillTx/>
              <a:latin typeface="Arial"/>
              <a:ea typeface="+mn-ea"/>
              <a:cs typeface="+mn-cs"/>
            </a:endParaRPr>
          </a:p>
        </p:txBody>
      </p:sp>
      <p:sp>
        <p:nvSpPr>
          <p:cNvPr id="5" name="TextBox 4"/>
          <p:cNvSpPr txBox="1"/>
          <p:nvPr/>
        </p:nvSpPr>
        <p:spPr>
          <a:xfrm>
            <a:off x="344488" y="1245637"/>
            <a:ext cx="8625341" cy="37548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srgbClr val="40404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sz="1400" b="1"/>
            </a:pPr>
            <a:r>
              <a:rPr kumimoji="0" sz="1600" b="1" i="0" u="none" strike="noStrike" kern="1200" cap="none" spc="0" normalizeH="0" baseline="0" noProof="0" dirty="0">
                <a:ln>
                  <a:noFill/>
                </a:ln>
                <a:solidFill>
                  <a:srgbClr val="6D6F71"/>
                </a:solidFill>
                <a:effectLst/>
                <a:uLnTx/>
                <a:uFillTx/>
                <a:latin typeface="Arial"/>
                <a:ea typeface="+mn-ea"/>
                <a:cs typeface="+mn-cs"/>
              </a:rPr>
              <a:t>SGB XI (</a:t>
            </a:r>
            <a:r>
              <a:rPr kumimoji="0" sz="1600" b="1" i="0" u="none" strike="noStrike" kern="1200" cap="none" spc="0" normalizeH="0" baseline="0" noProof="0" dirty="0" err="1">
                <a:ln>
                  <a:noFill/>
                </a:ln>
                <a:solidFill>
                  <a:srgbClr val="6D6F71"/>
                </a:solidFill>
                <a:effectLst/>
                <a:uLnTx/>
                <a:uFillTx/>
                <a:latin typeface="Arial"/>
                <a:ea typeface="+mn-ea"/>
                <a:cs typeface="+mn-cs"/>
              </a:rPr>
              <a:t>Pflegeversicherung</a:t>
            </a:r>
            <a:r>
              <a:rPr kumimoji="0" sz="1600" b="1" i="0" u="none" strike="noStrike" kern="1200" cap="none" spc="0" normalizeH="0" baseline="0" noProof="0" dirty="0">
                <a:ln>
                  <a:noFill/>
                </a:ln>
                <a:solidFill>
                  <a:srgbClr val="6D6F71"/>
                </a:solidFill>
                <a:effectLst/>
                <a:uLnTx/>
                <a:uFillTx/>
                <a:latin typeface="Arial"/>
                <a:ea typeface="+mn-ea"/>
                <a:cs typeface="+mn-cs"/>
              </a:rPr>
              <a:t>):</a:t>
            </a:r>
          </a:p>
          <a:p>
            <a:pPr marL="0" marR="0" lvl="0" indent="0" algn="l" defTabSz="914400" rtl="0" eaLnBrk="1" fontAlgn="auto" latinLnBrk="0" hangingPunct="1">
              <a:lnSpc>
                <a:spcPct val="100000"/>
              </a:lnSpc>
              <a:spcBef>
                <a:spcPts val="300"/>
              </a:spcBef>
              <a:spcAft>
                <a:spcPts val="0"/>
              </a:spcAft>
              <a:buClrTx/>
              <a:buSzTx/>
              <a:buFontTx/>
              <a:buNone/>
              <a:tabLst/>
              <a:defRPr sz="1200"/>
            </a:pPr>
            <a:r>
              <a:rPr kumimoji="0" sz="1600" b="0" i="0" u="none" strike="noStrike" kern="1200" cap="none" spc="0" normalizeH="0" baseline="0" noProof="0" dirty="0">
                <a:ln>
                  <a:noFill/>
                </a:ln>
                <a:solidFill>
                  <a:srgbClr val="6D6F71"/>
                </a:solidFill>
                <a:effectLst/>
                <a:uLnTx/>
                <a:uFillTx/>
                <a:latin typeface="Arial"/>
                <a:ea typeface="+mn-ea"/>
                <a:cs typeface="+mn-cs"/>
              </a:rPr>
              <a:t>§ 84 – </a:t>
            </a:r>
            <a:r>
              <a:rPr kumimoji="0" sz="1600" b="0" i="0" u="none" strike="noStrike" kern="1200" cap="none" spc="0" normalizeH="0" baseline="0" noProof="0" dirty="0" err="1">
                <a:ln>
                  <a:noFill/>
                </a:ln>
                <a:solidFill>
                  <a:srgbClr val="6D6F71"/>
                </a:solidFill>
                <a:effectLst/>
                <a:uLnTx/>
                <a:uFillTx/>
                <a:latin typeface="Arial"/>
                <a:ea typeface="+mn-ea"/>
                <a:cs typeface="+mn-cs"/>
              </a:rPr>
              <a:t>Grundsätze</a:t>
            </a:r>
            <a:r>
              <a:rPr kumimoji="0" sz="1600" b="0" i="0" u="none" strike="noStrike" kern="1200" cap="none" spc="0" normalizeH="0" baseline="0" noProof="0" dirty="0">
                <a:ln>
                  <a:noFill/>
                </a:ln>
                <a:solidFill>
                  <a:srgbClr val="6D6F71"/>
                </a:solidFill>
                <a:effectLst/>
                <a:uLnTx/>
                <a:uFillTx/>
                <a:latin typeface="Arial"/>
                <a:ea typeface="+mn-ea"/>
                <a:cs typeface="+mn-cs"/>
              </a:rPr>
              <a:t> der </a:t>
            </a:r>
            <a:r>
              <a:rPr kumimoji="0" sz="1600" b="0" i="0" u="none" strike="noStrike" kern="1200" cap="none" spc="0" normalizeH="0" baseline="0" noProof="0" dirty="0" err="1">
                <a:ln>
                  <a:noFill/>
                </a:ln>
                <a:solidFill>
                  <a:srgbClr val="6D6F71"/>
                </a:solidFill>
                <a:effectLst/>
                <a:uLnTx/>
                <a:uFillTx/>
                <a:latin typeface="Arial"/>
                <a:ea typeface="+mn-ea"/>
                <a:cs typeface="+mn-cs"/>
              </a:rPr>
              <a:t>Pflegesatzvereinbarung</a:t>
            </a:r>
            <a:endParaRPr kumimoji="0"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sz="1200"/>
            </a:pPr>
            <a:r>
              <a:rPr kumimoji="0" sz="1600" b="0" i="0" u="none" strike="noStrike" kern="1200" cap="none" spc="0" normalizeH="0" baseline="0" noProof="0" dirty="0">
                <a:ln>
                  <a:noFill/>
                </a:ln>
                <a:solidFill>
                  <a:srgbClr val="6D6F71"/>
                </a:solidFill>
                <a:effectLst/>
                <a:uLnTx/>
                <a:uFillTx/>
                <a:latin typeface="Arial"/>
                <a:ea typeface="+mn-ea"/>
                <a:cs typeface="+mn-cs"/>
              </a:rPr>
              <a:t>§ 85 – </a:t>
            </a:r>
            <a:r>
              <a:rPr kumimoji="0" sz="1600" b="0" i="0" u="none" strike="noStrike" kern="1200" cap="none" spc="0" normalizeH="0" baseline="0" noProof="0" dirty="0" err="1">
                <a:ln>
                  <a:noFill/>
                </a:ln>
                <a:solidFill>
                  <a:srgbClr val="6D6F71"/>
                </a:solidFill>
                <a:effectLst/>
                <a:uLnTx/>
                <a:uFillTx/>
                <a:latin typeface="Arial"/>
                <a:ea typeface="+mn-ea"/>
                <a:cs typeface="+mn-cs"/>
              </a:rPr>
              <a:t>Pflegesatzverhandlungen</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lang="de-DE" sz="1600" b="0" i="0" u="none" strike="noStrike" kern="1200" cap="none" spc="0" normalizeH="0" baseline="0" noProof="0" dirty="0">
                <a:ln>
                  <a:noFill/>
                </a:ln>
                <a:solidFill>
                  <a:srgbClr val="6D6F71"/>
                </a:solidFill>
                <a:effectLst/>
                <a:uLnTx/>
                <a:uFillTx/>
                <a:latin typeface="Arial"/>
                <a:ea typeface="+mn-ea"/>
                <a:cs typeface="+mn-cs"/>
              </a:rPr>
              <a:t>-v</a:t>
            </a:r>
            <a:r>
              <a:rPr kumimoji="0" sz="1600" b="0" i="0" u="none" strike="noStrike" kern="1200" cap="none" spc="0" normalizeH="0" baseline="0" noProof="0" dirty="0" err="1">
                <a:ln>
                  <a:noFill/>
                </a:ln>
                <a:solidFill>
                  <a:srgbClr val="6D6F71"/>
                </a:solidFill>
                <a:effectLst/>
                <a:uLnTx/>
                <a:uFillTx/>
                <a:latin typeface="Arial"/>
                <a:ea typeface="+mn-ea"/>
                <a:cs typeface="+mn-cs"/>
              </a:rPr>
              <a:t>erfahren</a:t>
            </a:r>
            <a:endParaRPr kumimoji="0"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sz="1200"/>
            </a:pPr>
            <a:r>
              <a:rPr kumimoji="0" sz="1600" b="0" i="0" u="none" strike="noStrike" kern="1200" cap="none" spc="0" normalizeH="0" baseline="0" noProof="0" dirty="0">
                <a:ln>
                  <a:noFill/>
                </a:ln>
                <a:solidFill>
                  <a:srgbClr val="6D6F71"/>
                </a:solidFill>
                <a:effectLst/>
                <a:uLnTx/>
                <a:uFillTx/>
                <a:latin typeface="Arial"/>
                <a:ea typeface="+mn-ea"/>
                <a:cs typeface="+mn-cs"/>
              </a:rPr>
              <a:t>§ 86 – </a:t>
            </a:r>
            <a:r>
              <a:rPr kumimoji="0" sz="1600" b="0" i="0" u="none" strike="noStrike" kern="1200" cap="none" spc="0" normalizeH="0" baseline="0" noProof="0" dirty="0" err="1">
                <a:ln>
                  <a:noFill/>
                </a:ln>
                <a:solidFill>
                  <a:srgbClr val="6D6F71"/>
                </a:solidFill>
                <a:effectLst/>
                <a:uLnTx/>
                <a:uFillTx/>
                <a:latin typeface="Arial"/>
                <a:ea typeface="+mn-ea"/>
                <a:cs typeface="+mn-cs"/>
              </a:rPr>
              <a:t>Inhalt</a:t>
            </a:r>
            <a:r>
              <a:rPr kumimoji="0" sz="1600" b="0" i="0" u="none" strike="noStrike" kern="1200" cap="none" spc="0" normalizeH="0" baseline="0" noProof="0" dirty="0">
                <a:ln>
                  <a:noFill/>
                </a:ln>
                <a:solidFill>
                  <a:srgbClr val="6D6F71"/>
                </a:solidFill>
                <a:effectLst/>
                <a:uLnTx/>
                <a:uFillTx/>
                <a:latin typeface="Arial"/>
                <a:ea typeface="+mn-ea"/>
                <a:cs typeface="+mn-cs"/>
              </a:rPr>
              <a:t> der </a:t>
            </a:r>
            <a:r>
              <a:rPr kumimoji="0" sz="1600" b="0" i="0" u="none" strike="noStrike" kern="1200" cap="none" spc="0" normalizeH="0" baseline="0" noProof="0" dirty="0" err="1">
                <a:ln>
                  <a:noFill/>
                </a:ln>
                <a:solidFill>
                  <a:srgbClr val="6D6F71"/>
                </a:solidFill>
                <a:effectLst/>
                <a:uLnTx/>
                <a:uFillTx/>
                <a:latin typeface="Arial"/>
                <a:ea typeface="+mn-ea"/>
                <a:cs typeface="+mn-cs"/>
              </a:rPr>
              <a:t>Vereinbarungen</a:t>
            </a:r>
            <a:endParaRPr kumimoji="0"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sz="1200"/>
            </a:pPr>
            <a:r>
              <a:rPr kumimoji="0" sz="1600" b="0" i="0" u="none" strike="noStrike" kern="1200" cap="none" spc="0" normalizeH="0" baseline="0" noProof="0" dirty="0">
                <a:ln>
                  <a:noFill/>
                </a:ln>
                <a:solidFill>
                  <a:srgbClr val="6D6F71"/>
                </a:solidFill>
                <a:effectLst/>
                <a:uLnTx/>
                <a:uFillTx/>
                <a:latin typeface="Arial"/>
                <a:ea typeface="+mn-ea"/>
                <a:cs typeface="+mn-cs"/>
              </a:rPr>
              <a:t>§ 87 – </a:t>
            </a:r>
            <a:r>
              <a:rPr kumimoji="0" sz="1600" b="0" i="0" u="none" strike="noStrike" kern="1200" cap="none" spc="0" normalizeH="0" baseline="0" noProof="0" dirty="0" err="1">
                <a:ln>
                  <a:noFill/>
                </a:ln>
                <a:solidFill>
                  <a:srgbClr val="6D6F71"/>
                </a:solidFill>
                <a:effectLst/>
                <a:uLnTx/>
                <a:uFillTx/>
                <a:latin typeface="Arial"/>
                <a:ea typeface="+mn-ea"/>
                <a:cs typeface="+mn-cs"/>
              </a:rPr>
              <a:t>Vergütungsregelungen</a:t>
            </a:r>
            <a:r>
              <a:rPr kumimoji="0" sz="1600" b="0" i="0" u="none" strike="noStrike" kern="1200" cap="none" spc="0" normalizeH="0" baseline="0" noProof="0" dirty="0">
                <a:ln>
                  <a:noFill/>
                </a:ln>
                <a:solidFill>
                  <a:srgbClr val="6D6F71"/>
                </a:solidFill>
                <a:effectLst/>
                <a:uLnTx/>
                <a:uFillTx/>
                <a:latin typeface="Arial"/>
                <a:ea typeface="+mn-ea"/>
                <a:cs typeface="+mn-cs"/>
              </a:rPr>
              <a:t> für </a:t>
            </a:r>
            <a:r>
              <a:rPr kumimoji="0" sz="1600" b="0" i="0" u="none" strike="noStrike" kern="1200" cap="none" spc="0" normalizeH="0" baseline="0" noProof="0" dirty="0" err="1">
                <a:ln>
                  <a:noFill/>
                </a:ln>
                <a:solidFill>
                  <a:srgbClr val="6D6F71"/>
                </a:solidFill>
                <a:effectLst/>
                <a:uLnTx/>
                <a:uFillTx/>
                <a:latin typeface="Arial"/>
                <a:ea typeface="+mn-ea"/>
                <a:cs typeface="+mn-cs"/>
              </a:rPr>
              <a:t>Pflegeleistungen</a:t>
            </a:r>
            <a:endParaRPr kumimoji="0"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sz="1200"/>
            </a:pPr>
            <a:r>
              <a:rPr kumimoji="0" sz="1600" b="0" i="0" u="none" strike="noStrike" kern="1200" cap="none" spc="0" normalizeH="0" baseline="0" noProof="0" dirty="0">
                <a:ln>
                  <a:noFill/>
                </a:ln>
                <a:solidFill>
                  <a:srgbClr val="6D6F71"/>
                </a:solidFill>
                <a:effectLst/>
                <a:uLnTx/>
                <a:uFillTx/>
                <a:latin typeface="Arial"/>
                <a:ea typeface="+mn-ea"/>
                <a:cs typeface="+mn-cs"/>
              </a:rPr>
              <a:t>§ 89 – </a:t>
            </a:r>
            <a:r>
              <a:rPr kumimoji="0" sz="1600" b="0" i="0" u="none" strike="noStrike" kern="1200" cap="none" spc="0" normalizeH="0" baseline="0" noProof="0" dirty="0" err="1">
                <a:ln>
                  <a:noFill/>
                </a:ln>
                <a:solidFill>
                  <a:srgbClr val="6D6F71"/>
                </a:solidFill>
                <a:effectLst/>
                <a:uLnTx/>
                <a:uFillTx/>
                <a:latin typeface="Arial"/>
                <a:ea typeface="+mn-ea"/>
                <a:cs typeface="+mn-cs"/>
              </a:rPr>
              <a:t>Schiedsstellenverfahr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bei</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Nichteinigung</a:t>
            </a:r>
            <a:endParaRPr kumimoji="0"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sz="1400" b="1"/>
            </a:pPr>
            <a:r>
              <a:rPr kumimoji="0" sz="1600" b="1" i="0" u="none" strike="noStrike" kern="1200" cap="none" spc="0" normalizeH="0" baseline="0" noProof="0" dirty="0">
                <a:ln>
                  <a:noFill/>
                </a:ln>
                <a:solidFill>
                  <a:srgbClr val="6D6F71"/>
                </a:solidFill>
                <a:effectLst/>
                <a:uLnTx/>
                <a:uFillTx/>
                <a:latin typeface="Arial"/>
                <a:ea typeface="+mn-ea"/>
                <a:cs typeface="+mn-cs"/>
              </a:rPr>
              <a:t>SGB V (</a:t>
            </a:r>
            <a:r>
              <a:rPr kumimoji="0" sz="1600" b="1" i="0" u="none" strike="noStrike" kern="1200" cap="none" spc="0" normalizeH="0" baseline="0" noProof="0" dirty="0" err="1">
                <a:ln>
                  <a:noFill/>
                </a:ln>
                <a:solidFill>
                  <a:srgbClr val="6D6F71"/>
                </a:solidFill>
                <a:effectLst/>
                <a:uLnTx/>
                <a:uFillTx/>
                <a:latin typeface="Arial"/>
                <a:ea typeface="+mn-ea"/>
                <a:cs typeface="+mn-cs"/>
              </a:rPr>
              <a:t>Krankenversicherung</a:t>
            </a:r>
            <a:r>
              <a:rPr kumimoji="0" sz="1600" b="1" i="0" u="none" strike="noStrike" kern="1200" cap="none" spc="0" normalizeH="0" baseline="0" noProof="0" dirty="0">
                <a:ln>
                  <a:noFill/>
                </a:ln>
                <a:solidFill>
                  <a:srgbClr val="6D6F71"/>
                </a:solidFill>
                <a:effectLst/>
                <a:uLnTx/>
                <a:uFillTx/>
                <a:latin typeface="Arial"/>
                <a:ea typeface="+mn-ea"/>
                <a:cs typeface="+mn-cs"/>
              </a:rPr>
              <a:t>):</a:t>
            </a:r>
          </a:p>
          <a:p>
            <a:pPr marL="0" marR="0" lvl="0" indent="0" algn="l" defTabSz="914400" rtl="0" eaLnBrk="1" fontAlgn="auto" latinLnBrk="0" hangingPunct="1">
              <a:lnSpc>
                <a:spcPct val="100000"/>
              </a:lnSpc>
              <a:spcBef>
                <a:spcPts val="300"/>
              </a:spcBef>
              <a:spcAft>
                <a:spcPts val="0"/>
              </a:spcAft>
              <a:buClrTx/>
              <a:buSzTx/>
              <a:buFontTx/>
              <a:buNone/>
              <a:tabLst/>
              <a:defRPr sz="1200"/>
            </a:pPr>
            <a:r>
              <a:rPr kumimoji="0" sz="1600" b="0" i="0" u="none" strike="noStrike" kern="1200" cap="none" spc="0" normalizeH="0" baseline="0" noProof="0" dirty="0">
                <a:ln>
                  <a:noFill/>
                </a:ln>
                <a:solidFill>
                  <a:srgbClr val="6D6F71"/>
                </a:solidFill>
                <a:effectLst/>
                <a:uLnTx/>
                <a:uFillTx/>
                <a:latin typeface="Arial"/>
                <a:ea typeface="+mn-ea"/>
                <a:cs typeface="+mn-cs"/>
              </a:rPr>
              <a:t>§ 132a – </a:t>
            </a:r>
            <a:r>
              <a:rPr kumimoji="0" sz="1600" b="0" i="0" u="none" strike="noStrike" kern="1200" cap="none" spc="0" normalizeH="0" baseline="0" noProof="0" dirty="0" err="1">
                <a:ln>
                  <a:noFill/>
                </a:ln>
                <a:solidFill>
                  <a:srgbClr val="6D6F71"/>
                </a:solidFill>
                <a:effectLst/>
                <a:uLnTx/>
                <a:uFillTx/>
                <a:latin typeface="Arial"/>
                <a:ea typeface="+mn-ea"/>
                <a:cs typeface="+mn-cs"/>
              </a:rPr>
              <a:t>Verträge</a:t>
            </a:r>
            <a:r>
              <a:rPr kumimoji="0" sz="1600" b="0" i="0" u="none" strike="noStrike" kern="1200" cap="none" spc="0" normalizeH="0" baseline="0" noProof="0" dirty="0">
                <a:ln>
                  <a:noFill/>
                </a:ln>
                <a:solidFill>
                  <a:srgbClr val="6D6F71"/>
                </a:solidFill>
                <a:effectLst/>
                <a:uLnTx/>
                <a:uFillTx/>
                <a:latin typeface="Arial"/>
                <a:ea typeface="+mn-ea"/>
                <a:cs typeface="+mn-cs"/>
              </a:rPr>
              <a:t> über </a:t>
            </a:r>
            <a:r>
              <a:rPr kumimoji="0" sz="1600" b="0" i="0" u="none" strike="noStrike" kern="1200" cap="none" spc="0" normalizeH="0" baseline="0" noProof="0" dirty="0" err="1">
                <a:ln>
                  <a:noFill/>
                </a:ln>
                <a:solidFill>
                  <a:srgbClr val="6D6F71"/>
                </a:solidFill>
                <a:effectLst/>
                <a:uLnTx/>
                <a:uFillTx/>
                <a:latin typeface="Arial"/>
                <a:ea typeface="+mn-ea"/>
                <a:cs typeface="+mn-cs"/>
              </a:rPr>
              <a:t>häuslich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Krankenpflege</a:t>
            </a:r>
            <a:endParaRPr kumimoji="0"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sz="1200"/>
            </a:pPr>
            <a:r>
              <a:rPr kumimoji="0" sz="1600" b="0" i="0" u="none" strike="noStrike" kern="1200" cap="none" spc="0" normalizeH="0" baseline="0" noProof="0" dirty="0">
                <a:ln>
                  <a:noFill/>
                </a:ln>
                <a:solidFill>
                  <a:srgbClr val="6D6F71"/>
                </a:solidFill>
                <a:effectLst/>
                <a:uLnTx/>
                <a:uFillTx/>
                <a:latin typeface="Arial"/>
                <a:ea typeface="+mn-ea"/>
                <a:cs typeface="+mn-cs"/>
              </a:rPr>
              <a:t>§ 133 – </a:t>
            </a:r>
            <a:r>
              <a:rPr kumimoji="0" sz="1600" b="0" i="0" u="none" strike="noStrike" kern="1200" cap="none" spc="0" normalizeH="0" baseline="0" noProof="0" dirty="0" err="1">
                <a:ln>
                  <a:noFill/>
                </a:ln>
                <a:solidFill>
                  <a:srgbClr val="6D6F71"/>
                </a:solidFill>
                <a:effectLst/>
                <a:uLnTx/>
                <a:uFillTx/>
                <a:latin typeface="Arial"/>
                <a:ea typeface="+mn-ea"/>
                <a:cs typeface="+mn-cs"/>
              </a:rPr>
              <a:t>Vergütungsvereinbarungen</a:t>
            </a:r>
            <a:endParaRPr kumimoji="0"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sz="1200"/>
            </a:pPr>
            <a:r>
              <a:rPr kumimoji="0" sz="1600" b="0" i="0" u="none" strike="noStrike" kern="1200" cap="none" spc="0" normalizeH="0" baseline="0" noProof="0" dirty="0">
                <a:ln>
                  <a:noFill/>
                </a:ln>
                <a:solidFill>
                  <a:srgbClr val="6D6F71"/>
                </a:solidFill>
                <a:effectLst/>
                <a:uLnTx/>
                <a:uFillTx/>
                <a:latin typeface="Arial"/>
                <a:ea typeface="+mn-ea"/>
                <a:cs typeface="+mn-cs"/>
              </a:rPr>
              <a:t>§ 135 – </a:t>
            </a:r>
            <a:r>
              <a:rPr kumimoji="0" sz="1600" b="0" i="0" u="none" strike="noStrike" kern="1200" cap="none" spc="0" normalizeH="0" baseline="0" noProof="0" dirty="0" err="1">
                <a:ln>
                  <a:noFill/>
                </a:ln>
                <a:solidFill>
                  <a:srgbClr val="6D6F71"/>
                </a:solidFill>
                <a:effectLst/>
                <a:uLnTx/>
                <a:uFillTx/>
                <a:latin typeface="Arial"/>
                <a:ea typeface="+mn-ea"/>
                <a:cs typeface="+mn-cs"/>
              </a:rPr>
              <a:t>Qualitätssicherung</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Richtlinien</a:t>
            </a:r>
            <a:endParaRPr kumimoji="0"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sz="1200"/>
            </a:pPr>
            <a:r>
              <a:rPr kumimoji="0" sz="1600" b="0" i="0" u="none" strike="noStrike" kern="1200" cap="none" spc="0" normalizeH="0" baseline="0" noProof="0" dirty="0">
                <a:ln>
                  <a:noFill/>
                </a:ln>
                <a:solidFill>
                  <a:srgbClr val="6D6F71"/>
                </a:solidFill>
                <a:effectLst/>
                <a:uLnTx/>
                <a:uFillTx/>
                <a:latin typeface="Arial"/>
                <a:ea typeface="+mn-ea"/>
                <a:cs typeface="+mn-cs"/>
              </a:rPr>
              <a:t>§ 136 – </a:t>
            </a:r>
            <a:r>
              <a:rPr kumimoji="0" sz="1600" b="0" i="0" u="none" strike="noStrike" kern="1200" cap="none" spc="0" normalizeH="0" baseline="0" noProof="0" dirty="0" err="1">
                <a:ln>
                  <a:noFill/>
                </a:ln>
                <a:solidFill>
                  <a:srgbClr val="6D6F71"/>
                </a:solidFill>
                <a:effectLst/>
                <a:uLnTx/>
                <a:uFillTx/>
                <a:latin typeface="Arial"/>
                <a:ea typeface="+mn-ea"/>
                <a:cs typeface="+mn-cs"/>
              </a:rPr>
              <a:t>Anforderungen</a:t>
            </a:r>
            <a:r>
              <a:rPr kumimoji="0" sz="1600" b="0" i="0" u="none" strike="noStrike" kern="1200" cap="none" spc="0" normalizeH="0" baseline="0" noProof="0" dirty="0">
                <a:ln>
                  <a:noFill/>
                </a:ln>
                <a:solidFill>
                  <a:srgbClr val="6D6F71"/>
                </a:solidFill>
                <a:effectLst/>
                <a:uLnTx/>
                <a:uFillTx/>
                <a:latin typeface="Arial"/>
                <a:ea typeface="+mn-ea"/>
                <a:cs typeface="+mn-cs"/>
              </a:rPr>
              <a:t> an </a:t>
            </a:r>
            <a:r>
              <a:rPr kumimoji="0" sz="1600" b="0" i="0" u="none" strike="noStrike" kern="1200" cap="none" spc="0" normalizeH="0" baseline="0" noProof="0" dirty="0" err="1">
                <a:ln>
                  <a:noFill/>
                </a:ln>
                <a:solidFill>
                  <a:srgbClr val="6D6F71"/>
                </a:solidFill>
                <a:effectLst/>
                <a:uLnTx/>
                <a:uFillTx/>
                <a:latin typeface="Arial"/>
                <a:ea typeface="+mn-ea"/>
                <a:cs typeface="+mn-cs"/>
              </a:rPr>
              <a:t>Leistungserbringer</a:t>
            </a:r>
            <a:endParaRPr kumimoji="0" sz="1600" b="0" i="0" u="none" strike="noStrike" kern="1200" cap="none" spc="0" normalizeH="0" baseline="0" noProof="0" dirty="0">
              <a:ln>
                <a:noFill/>
              </a:ln>
              <a:solidFill>
                <a:srgbClr val="6D6F71"/>
              </a:solidFill>
              <a:effectLst/>
              <a:uLnTx/>
              <a:uFillTx/>
              <a:latin typeface="Arial"/>
              <a:ea typeface="+mn-ea"/>
              <a:cs typeface="+mn-cs"/>
            </a:endParaRPr>
          </a:p>
        </p:txBody>
      </p:sp>
      <p:sp>
        <p:nvSpPr>
          <p:cNvPr id="6" name="Foliennummernplatzhalter 3">
            <a:extLst>
              <a:ext uri="{FF2B5EF4-FFF2-40B4-BE49-F238E27FC236}">
                <a16:creationId xmlns:a16="http://schemas.microsoft.com/office/drawing/2014/main" id="{1F92A991-DD79-0A2D-40C4-B307E9149E89}"/>
              </a:ext>
            </a:extLst>
          </p:cNvPr>
          <p:cNvSpPr>
            <a:spLocks noGrp="1"/>
          </p:cNvSpPr>
          <p:nvPr>
            <p:ph type="sldNum" sz="quarter" idx="12"/>
          </p:nvPr>
        </p:nvSpPr>
        <p:spPr>
          <a:xfrm>
            <a:off x="9310690" y="6551028"/>
            <a:ext cx="214309" cy="17430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322A94-3156-491B-AD20-567107C600A1}" type="slidenum">
              <a:rPr kumimoji="0" lang="en-US"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dirty="0">
              <a:ln>
                <a:noFill/>
              </a:ln>
              <a:solidFill>
                <a:srgbClr val="404040">
                  <a:tint val="75000"/>
                </a:srgbClr>
              </a:solidFill>
              <a:effectLst/>
              <a:uLnTx/>
              <a:uFillTx/>
              <a:latin typeface="Arial"/>
              <a:ea typeface="+mn-ea"/>
              <a:cs typeface="+mn-cs"/>
            </a:endParaRPr>
          </a:p>
        </p:txBody>
      </p:sp>
    </p:spTree>
    <p:extLst>
      <p:ext uri="{BB962C8B-B14F-4D97-AF65-F5344CB8AC3E}">
        <p14:creationId xmlns:p14="http://schemas.microsoft.com/office/powerpoint/2010/main" val="498856542"/>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7411FB-233A-A446-46A5-ABE3396D519B}"/>
              </a:ext>
            </a:extLst>
          </p:cNvPr>
          <p:cNvSpPr>
            <a:spLocks noGrp="1"/>
          </p:cNvSpPr>
          <p:nvPr>
            <p:ph type="title"/>
          </p:nvPr>
        </p:nvSpPr>
        <p:spPr/>
        <p:txBody>
          <a:bodyPr/>
          <a:lstStyle/>
          <a:p>
            <a:r>
              <a:rPr lang="de-DE" dirty="0"/>
              <a:t>Gesetz zur </a:t>
            </a:r>
            <a:r>
              <a:rPr lang="de-DE" dirty="0" err="1"/>
              <a:t>Befugniserweiterung</a:t>
            </a:r>
            <a:r>
              <a:rPr lang="de-DE" dirty="0"/>
              <a:t> und Entbürokratisierung (im </a:t>
            </a:r>
            <a:r>
              <a:rPr lang="de-DE" dirty="0" err="1"/>
              <a:t>Vermittlungsauschuss</a:t>
            </a:r>
            <a:r>
              <a:rPr lang="de-DE" dirty="0"/>
              <a:t>)</a:t>
            </a:r>
          </a:p>
        </p:txBody>
      </p:sp>
      <p:sp>
        <p:nvSpPr>
          <p:cNvPr id="3" name="Foliennummernplatzhalter 2">
            <a:extLst>
              <a:ext uri="{FF2B5EF4-FFF2-40B4-BE49-F238E27FC236}">
                <a16:creationId xmlns:a16="http://schemas.microsoft.com/office/drawing/2014/main" id="{998218CE-AC93-5806-01E9-0595BB9E0208}"/>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322A94-3156-491B-AD20-567107C600A1}" type="slidenum">
              <a:rPr kumimoji="0" lang="en-US"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404040">
                  <a:tint val="75000"/>
                </a:srgbClr>
              </a:solidFill>
              <a:effectLst/>
              <a:uLnTx/>
              <a:uFillTx/>
              <a:latin typeface="Arial"/>
              <a:ea typeface="+mn-ea"/>
              <a:cs typeface="+mn-cs"/>
            </a:endParaRPr>
          </a:p>
        </p:txBody>
      </p:sp>
      <p:sp>
        <p:nvSpPr>
          <p:cNvPr id="4" name="Textplatzhalter 3">
            <a:extLst>
              <a:ext uri="{FF2B5EF4-FFF2-40B4-BE49-F238E27FC236}">
                <a16:creationId xmlns:a16="http://schemas.microsoft.com/office/drawing/2014/main" id="{A303F97B-CF52-96AC-2850-AB7C63BC3785}"/>
              </a:ext>
            </a:extLst>
          </p:cNvPr>
          <p:cNvSpPr>
            <a:spLocks noGrp="1"/>
          </p:cNvSpPr>
          <p:nvPr>
            <p:ph type="body" sz="quarter" idx="13"/>
          </p:nvPr>
        </p:nvSpPr>
        <p:spPr/>
        <p:txBody>
          <a:bodyPr/>
          <a:lstStyle/>
          <a:p>
            <a:r>
              <a:rPr lang="de-DE" dirty="0"/>
              <a:t>Neuregelungen durch weitere Maßnahmen zur Entbürokratisierung und zur Vereinfachung des geltenden Rechts mit Verfahrensoptimierungen für die Vergütungsverhandlungen oder einfachere Vorgaben </a:t>
            </a:r>
            <a:r>
              <a:rPr lang="de-DE" dirty="0" err="1"/>
              <a:t>für</a:t>
            </a:r>
            <a:r>
              <a:rPr lang="de-DE" dirty="0"/>
              <a:t> digitale Pflegeanwendungen und die eng damit </a:t>
            </a:r>
            <a:r>
              <a:rPr lang="de-DE" dirty="0" err="1"/>
              <a:t>verknüpften</a:t>
            </a:r>
            <a:r>
              <a:rPr lang="de-DE" dirty="0"/>
              <a:t> ergänzenden </a:t>
            </a:r>
            <a:r>
              <a:rPr lang="de-DE" dirty="0" err="1"/>
              <a:t>Unterstützungsleistungen</a:t>
            </a:r>
            <a:r>
              <a:rPr lang="de-DE" dirty="0"/>
              <a:t>. </a:t>
            </a:r>
          </a:p>
          <a:p>
            <a:r>
              <a:rPr lang="de-DE" dirty="0"/>
              <a:t>Die Vereinbarungsprozesse im Vertrags- und Vergütungsgeschehen zwischen Leistungserbringern und Kostenträgern sollen verschlankt werden. </a:t>
            </a:r>
          </a:p>
          <a:p>
            <a:r>
              <a:rPr lang="de-DE" dirty="0"/>
              <a:t>Mit den gesetzlichen Grundlagen für zügigere und pragmatische Verhandlungsergebnisse zwischen Leistungserbringern und Kostenträgern soll auch ein Beitrag zur Liquiditätssicherung und besseren Planbarkeit für die Einrichtungen geleistet werden.</a:t>
            </a:r>
          </a:p>
          <a:p>
            <a:endParaRPr lang="de-DE" dirty="0"/>
          </a:p>
        </p:txBody>
      </p:sp>
      <p:sp>
        <p:nvSpPr>
          <p:cNvPr id="5" name="Textplatzhalter 4">
            <a:extLst>
              <a:ext uri="{FF2B5EF4-FFF2-40B4-BE49-F238E27FC236}">
                <a16:creationId xmlns:a16="http://schemas.microsoft.com/office/drawing/2014/main" id="{1BA5C9E4-F0B4-A4E1-7FF2-51C4371F1AD1}"/>
              </a:ext>
            </a:extLst>
          </p:cNvPr>
          <p:cNvSpPr>
            <a:spLocks noGrp="1"/>
          </p:cNvSpPr>
          <p:nvPr>
            <p:ph type="body" sz="quarter" idx="14"/>
          </p:nvPr>
        </p:nvSpPr>
        <p:spPr/>
        <p:txBody>
          <a:bodyPr/>
          <a:lstStyle/>
          <a:p>
            <a:endParaRPr lang="de-DE"/>
          </a:p>
        </p:txBody>
      </p:sp>
    </p:spTree>
    <p:extLst>
      <p:ext uri="{BB962C8B-B14F-4D97-AF65-F5344CB8AC3E}">
        <p14:creationId xmlns:p14="http://schemas.microsoft.com/office/powerpoint/2010/main" val="21321288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569F64-E293-2D68-17F4-C3220FF2B87B}"/>
              </a:ext>
            </a:extLst>
          </p:cNvPr>
          <p:cNvSpPr>
            <a:spLocks noGrp="1"/>
          </p:cNvSpPr>
          <p:nvPr>
            <p:ph type="title"/>
          </p:nvPr>
        </p:nvSpPr>
        <p:spPr/>
        <p:txBody>
          <a:bodyPr/>
          <a:lstStyle/>
          <a:p>
            <a:r>
              <a:rPr lang="de-DE" dirty="0"/>
              <a:t>Regelungen zur Vergütungsfindung</a:t>
            </a:r>
          </a:p>
        </p:txBody>
      </p:sp>
      <p:sp>
        <p:nvSpPr>
          <p:cNvPr id="3" name="Foliennummernplatzhalter 2">
            <a:extLst>
              <a:ext uri="{FF2B5EF4-FFF2-40B4-BE49-F238E27FC236}">
                <a16:creationId xmlns:a16="http://schemas.microsoft.com/office/drawing/2014/main" id="{2305F6D2-8C28-4D4D-F3ED-1A74862EC5F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322A94-3156-491B-AD20-567107C600A1}" type="slidenum">
              <a:rPr kumimoji="0" lang="en-US"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404040">
                  <a:tint val="75000"/>
                </a:srgbClr>
              </a:solidFill>
              <a:effectLst/>
              <a:uLnTx/>
              <a:uFillTx/>
              <a:latin typeface="Arial"/>
              <a:ea typeface="+mn-ea"/>
              <a:cs typeface="+mn-cs"/>
            </a:endParaRPr>
          </a:p>
        </p:txBody>
      </p:sp>
      <p:sp>
        <p:nvSpPr>
          <p:cNvPr id="4" name="Textplatzhalter 3">
            <a:extLst>
              <a:ext uri="{FF2B5EF4-FFF2-40B4-BE49-F238E27FC236}">
                <a16:creationId xmlns:a16="http://schemas.microsoft.com/office/drawing/2014/main" id="{10BBF470-CF66-3B2B-020C-3CE6B3A8A45A}"/>
              </a:ext>
            </a:extLst>
          </p:cNvPr>
          <p:cNvSpPr>
            <a:spLocks noGrp="1"/>
          </p:cNvSpPr>
          <p:nvPr>
            <p:ph type="body" sz="quarter" idx="13"/>
          </p:nvPr>
        </p:nvSpPr>
        <p:spPr/>
        <p:txBody>
          <a:bodyPr/>
          <a:lstStyle/>
          <a:p>
            <a:r>
              <a:rPr lang="de-DE" dirty="0"/>
              <a:t>Neu im SGB XI geregelt wird bei der Vergütungsfindung: </a:t>
            </a:r>
          </a:p>
          <a:p>
            <a:pPr lvl="1"/>
            <a:r>
              <a:rPr lang="de-DE" dirty="0"/>
              <a:t>bei der Bemessung der Pflegesätze einer Pflegeeinrichtung können die Pflegesätze derjenigen Pflegeeinrichtungen, die nach Art, Größe und Entlohnung der Mitarbeitenden sowie hinsichtlich der Leistungs- und Qualitätsmerkmale im Wesentlichen gleichartig sind, angemessen berücksichtigt werden</a:t>
            </a:r>
          </a:p>
          <a:p>
            <a:pPr lvl="1"/>
            <a:r>
              <a:rPr lang="de-DE" dirty="0"/>
              <a:t>Vergleichsdaten sind transparent darzustellen</a:t>
            </a:r>
          </a:p>
          <a:p>
            <a:endParaRPr lang="de-DE" dirty="0"/>
          </a:p>
        </p:txBody>
      </p:sp>
      <p:sp>
        <p:nvSpPr>
          <p:cNvPr id="5" name="Textplatzhalter 4">
            <a:extLst>
              <a:ext uri="{FF2B5EF4-FFF2-40B4-BE49-F238E27FC236}">
                <a16:creationId xmlns:a16="http://schemas.microsoft.com/office/drawing/2014/main" id="{81A98531-E4A0-6EB2-8570-AF088D27C79B}"/>
              </a:ext>
            </a:extLst>
          </p:cNvPr>
          <p:cNvSpPr>
            <a:spLocks noGrp="1"/>
          </p:cNvSpPr>
          <p:nvPr>
            <p:ph type="body" sz="quarter" idx="14"/>
          </p:nvPr>
        </p:nvSpPr>
        <p:spPr/>
        <p:txBody>
          <a:bodyPr/>
          <a:lstStyle/>
          <a:p>
            <a:endParaRPr lang="de-DE"/>
          </a:p>
        </p:txBody>
      </p:sp>
    </p:spTree>
    <p:extLst>
      <p:ext uri="{BB962C8B-B14F-4D97-AF65-F5344CB8AC3E}">
        <p14:creationId xmlns:p14="http://schemas.microsoft.com/office/powerpoint/2010/main" val="3677163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D20DF0-C020-BD57-1375-56B1DF451552}"/>
              </a:ext>
            </a:extLst>
          </p:cNvPr>
          <p:cNvSpPr>
            <a:spLocks noGrp="1"/>
          </p:cNvSpPr>
          <p:nvPr>
            <p:ph type="title"/>
          </p:nvPr>
        </p:nvSpPr>
        <p:spPr/>
        <p:txBody>
          <a:bodyPr/>
          <a:lstStyle/>
          <a:p>
            <a:r>
              <a:rPr lang="de-DE" dirty="0"/>
              <a:t>Neue Verfahrensregelungen</a:t>
            </a:r>
          </a:p>
        </p:txBody>
      </p:sp>
      <p:sp>
        <p:nvSpPr>
          <p:cNvPr id="3" name="Foliennummernplatzhalter 2">
            <a:extLst>
              <a:ext uri="{FF2B5EF4-FFF2-40B4-BE49-F238E27FC236}">
                <a16:creationId xmlns:a16="http://schemas.microsoft.com/office/drawing/2014/main" id="{265F3CA8-96B1-0090-EBCB-7A883907CE76}"/>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322A94-3156-491B-AD20-567107C600A1}" type="slidenum">
              <a:rPr kumimoji="0" lang="en-US"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404040">
                  <a:tint val="75000"/>
                </a:srgbClr>
              </a:solidFill>
              <a:effectLst/>
              <a:uLnTx/>
              <a:uFillTx/>
              <a:latin typeface="Arial"/>
              <a:ea typeface="+mn-ea"/>
              <a:cs typeface="+mn-cs"/>
            </a:endParaRPr>
          </a:p>
        </p:txBody>
      </p:sp>
      <p:sp>
        <p:nvSpPr>
          <p:cNvPr id="4" name="Textplatzhalter 3">
            <a:extLst>
              <a:ext uri="{FF2B5EF4-FFF2-40B4-BE49-F238E27FC236}">
                <a16:creationId xmlns:a16="http://schemas.microsoft.com/office/drawing/2014/main" id="{A34F4D90-FC5A-815A-BFCB-DC39BDBBF1CF}"/>
              </a:ext>
            </a:extLst>
          </p:cNvPr>
          <p:cNvSpPr>
            <a:spLocks noGrp="1"/>
          </p:cNvSpPr>
          <p:nvPr>
            <p:ph type="body" sz="quarter" idx="13"/>
          </p:nvPr>
        </p:nvSpPr>
        <p:spPr/>
        <p:txBody>
          <a:bodyPr/>
          <a:lstStyle/>
          <a:p>
            <a:r>
              <a:rPr lang="de-DE" dirty="0"/>
              <a:t>Aufforderungen zu Pflegesatzverhandlungen sollen rechtzeitig vor Beginn des angestrebten Pflegesatzzeitraumes bei den Kostenträgern eingereicht werden. Diese bestimmen umgehend eine verbindliche Ansprechperson und teilen diese unverzüglich dem Träger der Pflegeeinrichtung mit. </a:t>
            </a:r>
          </a:p>
          <a:p>
            <a:endParaRPr lang="de-DE" dirty="0"/>
          </a:p>
          <a:p>
            <a:r>
              <a:rPr lang="de-DE" dirty="0"/>
              <a:t>Nachweisforderungen zur Darlegung der prospektiven Aufwendungen sind zeitnah nach Antragseingang zu stellen und zu bedienen. Die Ansprechperson kann befugt werden, die schriftliche Vertragserklärung mit Wirkung für und gegen die beteiligten Kostenträger unverzüglich nach der Einigung abzugeben. </a:t>
            </a:r>
          </a:p>
          <a:p>
            <a:pPr marL="0" indent="0">
              <a:buNone/>
            </a:pPr>
            <a:endParaRPr lang="de-DE" dirty="0"/>
          </a:p>
          <a:p>
            <a:r>
              <a:rPr lang="de-DE" dirty="0"/>
              <a:t>Die der Pflegesatzvereinbarung zugrunde gelegten maßgeblichen Annahmen und Werte sind derart zu hinterlegen oder auszuweisen, dass diese bei künftigen Anpassungen, auch in vereinfachten Anpassungsverfahren, für die Parteien leicht zugänglich sind. </a:t>
            </a:r>
          </a:p>
          <a:p>
            <a:endParaRPr lang="de-DE" dirty="0"/>
          </a:p>
          <a:p>
            <a:endParaRPr lang="de-DE" dirty="0"/>
          </a:p>
        </p:txBody>
      </p:sp>
      <p:sp>
        <p:nvSpPr>
          <p:cNvPr id="5" name="Textplatzhalter 4">
            <a:extLst>
              <a:ext uri="{FF2B5EF4-FFF2-40B4-BE49-F238E27FC236}">
                <a16:creationId xmlns:a16="http://schemas.microsoft.com/office/drawing/2014/main" id="{7DF69D9D-3D41-4A66-BE63-CD753921CF7B}"/>
              </a:ext>
            </a:extLst>
          </p:cNvPr>
          <p:cNvSpPr>
            <a:spLocks noGrp="1"/>
          </p:cNvSpPr>
          <p:nvPr>
            <p:ph type="body" sz="quarter" idx="14"/>
          </p:nvPr>
        </p:nvSpPr>
        <p:spPr/>
        <p:txBody>
          <a:bodyPr/>
          <a:lstStyle/>
          <a:p>
            <a:endParaRPr lang="de-DE"/>
          </a:p>
        </p:txBody>
      </p:sp>
    </p:spTree>
    <p:extLst>
      <p:ext uri="{BB962C8B-B14F-4D97-AF65-F5344CB8AC3E}">
        <p14:creationId xmlns:p14="http://schemas.microsoft.com/office/powerpoint/2010/main" val="19684954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860580-000E-F1C2-8C75-07E76861F9DD}"/>
              </a:ext>
            </a:extLst>
          </p:cNvPr>
          <p:cNvSpPr>
            <a:spLocks noGrp="1"/>
          </p:cNvSpPr>
          <p:nvPr>
            <p:ph type="title"/>
          </p:nvPr>
        </p:nvSpPr>
        <p:spPr/>
        <p:txBody>
          <a:bodyPr/>
          <a:lstStyle/>
          <a:p>
            <a:r>
              <a:rPr lang="de-DE" dirty="0"/>
              <a:t>Auf Bundesebene sollen Empfehlungen abgegeben werden für…</a:t>
            </a:r>
          </a:p>
        </p:txBody>
      </p:sp>
      <p:sp>
        <p:nvSpPr>
          <p:cNvPr id="3" name="Foliennummernplatzhalter 2">
            <a:extLst>
              <a:ext uri="{FF2B5EF4-FFF2-40B4-BE49-F238E27FC236}">
                <a16:creationId xmlns:a16="http://schemas.microsoft.com/office/drawing/2014/main" id="{27F02EED-0A5E-2866-A271-1868310E08D2}"/>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322A94-3156-491B-AD20-567107C600A1}" type="slidenum">
              <a:rPr kumimoji="0" lang="en-US"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404040">
                  <a:tint val="75000"/>
                </a:srgbClr>
              </a:solidFill>
              <a:effectLst/>
              <a:uLnTx/>
              <a:uFillTx/>
              <a:latin typeface="Arial"/>
              <a:ea typeface="+mn-ea"/>
              <a:cs typeface="+mn-cs"/>
            </a:endParaRPr>
          </a:p>
        </p:txBody>
      </p:sp>
      <p:sp>
        <p:nvSpPr>
          <p:cNvPr id="4" name="Textplatzhalter 3">
            <a:extLst>
              <a:ext uri="{FF2B5EF4-FFF2-40B4-BE49-F238E27FC236}">
                <a16:creationId xmlns:a16="http://schemas.microsoft.com/office/drawing/2014/main" id="{E3E73169-0564-CB21-5109-92AF1DC71EB8}"/>
              </a:ext>
            </a:extLst>
          </p:cNvPr>
          <p:cNvSpPr>
            <a:spLocks noGrp="1"/>
          </p:cNvSpPr>
          <p:nvPr>
            <p:ph type="body" sz="quarter" idx="13"/>
          </p:nvPr>
        </p:nvSpPr>
        <p:spPr/>
        <p:txBody>
          <a:bodyPr/>
          <a:lstStyle/>
          <a:p>
            <a:r>
              <a:rPr lang="de-DE" dirty="0"/>
              <a:t> die Anforderungen an geeignete Nachweise nach § 85 Absatz 3 zur Darlegung der voraussichtlichen Personal- und Sachaufwendungen einschließlich entsprechender Formulare zur Aufbereitung der Daten, </a:t>
            </a:r>
          </a:p>
          <a:p>
            <a:r>
              <a:rPr lang="de-DE" dirty="0"/>
              <a:t>geeignete Formen zur Hinterlegung oder zum Ausweis der der Pflegesatz- oder Vergütungsvereinbarung zugrunde gelegten Personal- und Sachaufwendungen und Ausgangswerte, die bei Anschlussvereinbarungen einer Anpassung leicht zugänglich sind, </a:t>
            </a:r>
          </a:p>
          <a:p>
            <a:r>
              <a:rPr lang="de-DE" dirty="0"/>
              <a:t>Methoden für vereinfachte Anpassungsverfahren bezogen auf Einzel- und Gruppenverfahren einschließlich geeigneter Parameter und Orientierungswerte bei der Vereinbarung von Pauschalen </a:t>
            </a:r>
          </a:p>
          <a:p>
            <a:r>
              <a:rPr lang="de-DE" dirty="0"/>
              <a:t>Handreichungen zum Umgang mit aktuellen Herausforderungen bei den Vereinbarungsverfahren.</a:t>
            </a:r>
          </a:p>
          <a:p>
            <a:endParaRPr lang="de-DE" dirty="0"/>
          </a:p>
        </p:txBody>
      </p:sp>
      <p:sp>
        <p:nvSpPr>
          <p:cNvPr id="5" name="Textplatzhalter 4">
            <a:extLst>
              <a:ext uri="{FF2B5EF4-FFF2-40B4-BE49-F238E27FC236}">
                <a16:creationId xmlns:a16="http://schemas.microsoft.com/office/drawing/2014/main" id="{4FA95453-9EFC-8265-20B2-B87E10E35896}"/>
              </a:ext>
            </a:extLst>
          </p:cNvPr>
          <p:cNvSpPr>
            <a:spLocks noGrp="1"/>
          </p:cNvSpPr>
          <p:nvPr>
            <p:ph type="body" sz="quarter" idx="14"/>
          </p:nvPr>
        </p:nvSpPr>
        <p:spPr/>
        <p:txBody>
          <a:bodyPr/>
          <a:lstStyle/>
          <a:p>
            <a:endParaRPr lang="de-DE" dirty="0"/>
          </a:p>
        </p:txBody>
      </p:sp>
    </p:spTree>
    <p:extLst>
      <p:ext uri="{BB962C8B-B14F-4D97-AF65-F5344CB8AC3E}">
        <p14:creationId xmlns:p14="http://schemas.microsoft.com/office/powerpoint/2010/main" val="6679775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8839B0-13C2-7AD1-6CE5-FE596D3FAF49}"/>
              </a:ext>
            </a:extLst>
          </p:cNvPr>
          <p:cNvSpPr>
            <a:spLocks noGrp="1"/>
          </p:cNvSpPr>
          <p:nvPr>
            <p:ph type="title"/>
          </p:nvPr>
        </p:nvSpPr>
        <p:spPr/>
        <p:txBody>
          <a:bodyPr/>
          <a:lstStyle/>
          <a:p>
            <a:r>
              <a:rPr lang="de-DE" dirty="0"/>
              <a:t>Weitere Regelungsinhalte</a:t>
            </a:r>
          </a:p>
        </p:txBody>
      </p:sp>
      <p:sp>
        <p:nvSpPr>
          <p:cNvPr id="3" name="Foliennummernplatzhalter 2">
            <a:extLst>
              <a:ext uri="{FF2B5EF4-FFF2-40B4-BE49-F238E27FC236}">
                <a16:creationId xmlns:a16="http://schemas.microsoft.com/office/drawing/2014/main" id="{366C95B1-591D-77B7-5FBD-38EA6C507B73}"/>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322A94-3156-491B-AD20-567107C600A1}" type="slidenum">
              <a:rPr kumimoji="0" lang="en-US"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404040">
                  <a:tint val="75000"/>
                </a:srgbClr>
              </a:solidFill>
              <a:effectLst/>
              <a:uLnTx/>
              <a:uFillTx/>
              <a:latin typeface="Arial"/>
              <a:ea typeface="+mn-ea"/>
              <a:cs typeface="+mn-cs"/>
            </a:endParaRPr>
          </a:p>
        </p:txBody>
      </p:sp>
      <p:sp>
        <p:nvSpPr>
          <p:cNvPr id="4" name="Textplatzhalter 3">
            <a:extLst>
              <a:ext uri="{FF2B5EF4-FFF2-40B4-BE49-F238E27FC236}">
                <a16:creationId xmlns:a16="http://schemas.microsoft.com/office/drawing/2014/main" id="{0BA20E3C-217E-CD1C-05E6-806F3CA9D99F}"/>
              </a:ext>
            </a:extLst>
          </p:cNvPr>
          <p:cNvSpPr>
            <a:spLocks noGrp="1"/>
          </p:cNvSpPr>
          <p:nvPr>
            <p:ph type="body" sz="quarter" idx="13"/>
          </p:nvPr>
        </p:nvSpPr>
        <p:spPr/>
        <p:txBody>
          <a:bodyPr/>
          <a:lstStyle/>
          <a:p>
            <a:r>
              <a:rPr lang="de-DE" dirty="0"/>
              <a:t>Ferner sollen die Kommunen stärker in den Auf- und Ausbau der Pflege-Infrastruktur eingebunden werden. </a:t>
            </a:r>
          </a:p>
          <a:p>
            <a:pPr lvl="1"/>
            <a:r>
              <a:rPr lang="de-DE" dirty="0"/>
              <a:t>Neue verbindliche Mitwirkungsmöglichkeiten bei der Zulassung von Pflegeeinrichtungen soll es geben für sie. </a:t>
            </a:r>
          </a:p>
          <a:p>
            <a:pPr lvl="1"/>
            <a:r>
              <a:rPr lang="de-DE" dirty="0"/>
              <a:t>Zudem soll die Versorgung in gemeinschaftlichen Wohnformen künftig in sektorenübergreifenden Verträgen geregelt werden können. Diese „</a:t>
            </a:r>
            <a:r>
              <a:rPr lang="de-DE" dirty="0" err="1"/>
              <a:t>stambulanten</a:t>
            </a:r>
            <a:r>
              <a:rPr lang="de-DE" dirty="0"/>
              <a:t>“ Mischformen sind nicht immer eindeutig dem ambulanten oder stationären Sektor zuzuordnen. </a:t>
            </a:r>
          </a:p>
          <a:p>
            <a:pPr lvl="1"/>
            <a:r>
              <a:rPr lang="de-DE" dirty="0"/>
              <a:t>Ein weiterer Punkt ist, dass die Pflegeberatung in Zukunft einheitlich, gemeinsam und kassenartenübergreifend organisiert werden soll.</a:t>
            </a:r>
          </a:p>
          <a:p>
            <a:endParaRPr lang="de-DE" dirty="0"/>
          </a:p>
        </p:txBody>
      </p:sp>
      <p:sp>
        <p:nvSpPr>
          <p:cNvPr id="5" name="Textplatzhalter 4">
            <a:extLst>
              <a:ext uri="{FF2B5EF4-FFF2-40B4-BE49-F238E27FC236}">
                <a16:creationId xmlns:a16="http://schemas.microsoft.com/office/drawing/2014/main" id="{6AF03321-9CD3-60A3-38D0-57DA307D1F43}"/>
              </a:ext>
            </a:extLst>
          </p:cNvPr>
          <p:cNvSpPr>
            <a:spLocks noGrp="1"/>
          </p:cNvSpPr>
          <p:nvPr>
            <p:ph type="body" sz="quarter" idx="14"/>
          </p:nvPr>
        </p:nvSpPr>
        <p:spPr/>
        <p:txBody>
          <a:bodyPr/>
          <a:lstStyle/>
          <a:p>
            <a:endParaRPr lang="de-DE"/>
          </a:p>
        </p:txBody>
      </p:sp>
    </p:spTree>
    <p:extLst>
      <p:ext uri="{BB962C8B-B14F-4D97-AF65-F5344CB8AC3E}">
        <p14:creationId xmlns:p14="http://schemas.microsoft.com/office/powerpoint/2010/main" val="12616880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651232-C13F-5AB0-EF04-A9FF29BC2C11}"/>
            </a:ext>
          </a:extLst>
        </p:cNvPr>
        <p:cNvGrpSpPr/>
        <p:nvPr/>
      </p:nvGrpSpPr>
      <p:grpSpPr>
        <a:xfrm>
          <a:off x="0" y="0"/>
          <a:ext cx="0" cy="0"/>
          <a:chOff x="0" y="0"/>
          <a:chExt cx="0" cy="0"/>
        </a:xfrm>
      </p:grpSpPr>
      <p:sp>
        <p:nvSpPr>
          <p:cNvPr id="7" name="Rechteck: abgerundete Ecken 6">
            <a:extLst>
              <a:ext uri="{FF2B5EF4-FFF2-40B4-BE49-F238E27FC236}">
                <a16:creationId xmlns:a16="http://schemas.microsoft.com/office/drawing/2014/main" id="{5AB55F81-C495-CB9C-8106-B6EBE0303F3B}"/>
              </a:ext>
            </a:extLst>
          </p:cNvPr>
          <p:cNvSpPr/>
          <p:nvPr/>
        </p:nvSpPr>
        <p:spPr>
          <a:xfrm rot="249248">
            <a:off x="5383342" y="2759970"/>
            <a:ext cx="1518626" cy="1008112"/>
          </a:xfrm>
          <a:prstGeom prst="roundRect">
            <a:avLst/>
          </a:prstGeom>
          <a:solidFill>
            <a:schemeClr val="accent5"/>
          </a:solidFill>
          <a:ln w="12700" cap="flat" cmpd="sng" algn="ctr">
            <a:solidFill>
              <a:srgbClr val="C00000"/>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graphicFrame>
        <p:nvGraphicFramePr>
          <p:cNvPr id="6" name="Objekt 5" hidden="1">
            <a:extLst>
              <a:ext uri="{FF2B5EF4-FFF2-40B4-BE49-F238E27FC236}">
                <a16:creationId xmlns:a16="http://schemas.microsoft.com/office/drawing/2014/main" id="{3CF4E623-65C0-8BC3-95E2-699313BCA97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60" imgH="360" progId="TCLayout.ActiveDocument.1">
                  <p:embed/>
                </p:oleObj>
              </mc:Choice>
              <mc:Fallback>
                <p:oleObj name="think-cell Folie" r:id="rId12" imgW="360" imgH="360" progId="TCLayout.ActiveDocument.1">
                  <p:embed/>
                  <p:pic>
                    <p:nvPicPr>
                      <p:cNvPr id="6" name="Objekt 5" hidden="1">
                        <a:extLst>
                          <a:ext uri="{FF2B5EF4-FFF2-40B4-BE49-F238E27FC236}">
                            <a16:creationId xmlns:a16="http://schemas.microsoft.com/office/drawing/2014/main" id="{3CF4E623-65C0-8BC3-95E2-699313BCA97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ADBD5169-5E87-7C3A-DF14-583A8E8DA1E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12" name="Foliennummernplatzhalter 11">
            <a:extLst>
              <a:ext uri="{FF2B5EF4-FFF2-40B4-BE49-F238E27FC236}">
                <a16:creationId xmlns:a16="http://schemas.microsoft.com/office/drawing/2014/main" id="{56EFA575-EC1A-150F-C197-AAB3CCD291AA}"/>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322A94-3156-491B-AD20-567107C600A1}" type="slidenum">
              <a:rPr kumimoji="0" lang="de-DE" sz="800" b="0" i="0" u="none" strike="noStrike" kern="1200" cap="none" spc="0" normalizeH="0" baseline="0" noProof="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de-DE" sz="800" b="0" i="0" u="none" strike="noStrike" kern="1200" cap="none" spc="0" normalizeH="0" baseline="0" noProof="0">
              <a:ln>
                <a:noFill/>
              </a:ln>
              <a:solidFill>
                <a:srgbClr val="404040">
                  <a:tint val="75000"/>
                </a:srgbClr>
              </a:solidFill>
              <a:effectLst/>
              <a:uLnTx/>
              <a:uFillTx/>
              <a:latin typeface="Arial"/>
              <a:ea typeface="+mn-ea"/>
              <a:cs typeface="+mn-cs"/>
            </a:endParaRPr>
          </a:p>
        </p:txBody>
      </p:sp>
      <p:sp>
        <p:nvSpPr>
          <p:cNvPr id="2" name="Titel 1">
            <a:extLst>
              <a:ext uri="{FF2B5EF4-FFF2-40B4-BE49-F238E27FC236}">
                <a16:creationId xmlns:a16="http://schemas.microsoft.com/office/drawing/2014/main" id="{6246A42F-13B2-C310-8159-52054F5F56FE}"/>
              </a:ext>
            </a:extLst>
          </p:cNvPr>
          <p:cNvSpPr>
            <a:spLocks noGrp="1"/>
          </p:cNvSpPr>
          <p:nvPr>
            <p:ph type="title"/>
          </p:nvPr>
        </p:nvSpPr>
        <p:spPr/>
        <p:txBody>
          <a:bodyPr vert="horz"/>
          <a:lstStyle/>
          <a:p>
            <a:r>
              <a:rPr lang="de-DE"/>
              <a:t>Warum sind Pflegesatzverhandlung gerade in heutiger Zeit so wichtig?</a:t>
            </a:r>
            <a:br>
              <a:rPr lang="de-DE"/>
            </a:br>
            <a:endParaRPr lang="de-DE"/>
          </a:p>
        </p:txBody>
      </p:sp>
      <p:sp>
        <p:nvSpPr>
          <p:cNvPr id="4" name="Textplatzhalter 3">
            <a:extLst>
              <a:ext uri="{FF2B5EF4-FFF2-40B4-BE49-F238E27FC236}">
                <a16:creationId xmlns:a16="http://schemas.microsoft.com/office/drawing/2014/main" id="{D754EB55-9146-DFCB-9C37-C252CFA3D7CC}"/>
              </a:ext>
            </a:extLst>
          </p:cNvPr>
          <p:cNvSpPr>
            <a:spLocks noGrp="1"/>
          </p:cNvSpPr>
          <p:nvPr>
            <p:ph type="body" sz="quarter" idx="13"/>
          </p:nvPr>
        </p:nvSpPr>
        <p:spPr/>
        <p:txBody>
          <a:bodyPr/>
          <a:lstStyle/>
          <a:p>
            <a:r>
              <a:rPr lang="de-DE"/>
              <a:t>Verhandlungsbasis und Strategie</a:t>
            </a:r>
          </a:p>
        </p:txBody>
      </p:sp>
      <p:sp>
        <p:nvSpPr>
          <p:cNvPr id="3" name="_Textbox_Standard_14pt_oben">
            <a:extLst>
              <a:ext uri="{FF2B5EF4-FFF2-40B4-BE49-F238E27FC236}">
                <a16:creationId xmlns:a16="http://schemas.microsoft.com/office/drawing/2014/main" id="{C09D9854-D92C-7816-449E-9D2DC75361F5}"/>
              </a:ext>
            </a:extLst>
          </p:cNvPr>
          <p:cNvSpPr/>
          <p:nvPr>
            <p:custDataLst>
              <p:tags r:id="rId4"/>
            </p:custDataLst>
          </p:nvPr>
        </p:nvSpPr>
        <p:spPr>
          <a:xfrm>
            <a:off x="345512" y="1557339"/>
            <a:ext cx="9216000" cy="4751386"/>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chemeClr val="l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t" anchorCtr="0" forceAA="0" compatLnSpc="1">
            <a:prstTxWarp prst="textNoShape">
              <a:avLst/>
            </a:prstTxWarp>
            <a:noAutofit/>
          </a:bodyPr>
          <a:lstStyle>
            <a:lvl1pPr marL="180000" indent="-180000" algn="l" defTabSz="914400" rtl="0" eaLnBrk="1" latinLnBrk="0" hangingPunct="1">
              <a:buClr>
                <a:schemeClr val="accent1"/>
              </a:buClr>
              <a:buFont typeface="Wingdings" panose="05000000000000000000" pitchFamily="2" charset="2"/>
              <a:buChar char="§"/>
            </a:lvl1pPr>
            <a:lvl2pPr marL="180000" indent="-180000" algn="l" defTabSz="914400" rtl="0" eaLnBrk="1" latinLnBrk="0" hangingPunct="1">
              <a:buClr>
                <a:schemeClr val="accent1"/>
              </a:buClr>
              <a:buFont typeface="Wingdings" panose="05000000000000000000" pitchFamily="2" charset="2"/>
              <a:buChar char="§"/>
            </a:lvl2pPr>
            <a:lvl3pPr marL="180000" indent="-180000" algn="l" defTabSz="914400" rtl="0" eaLnBrk="1" latinLnBrk="0" hangingPunct="1">
              <a:buClr>
                <a:schemeClr val="accent1"/>
              </a:buClr>
              <a:buFont typeface="Wingdings" panose="05000000000000000000" pitchFamily="2" charset="2"/>
              <a:buChar char="§"/>
            </a:lvl3pPr>
            <a:lvl4pPr marL="180000" indent="-180000" algn="l" defTabSz="914400" rtl="0" eaLnBrk="1" latinLnBrk="0" hangingPunct="1">
              <a:buClr>
                <a:schemeClr val="accent1"/>
              </a:buClr>
              <a:buFont typeface="Wingdings" panose="05000000000000000000" pitchFamily="2" charset="2"/>
              <a:buChar char="§"/>
            </a:lvl4pPr>
            <a:lvl5pPr marL="360000" indent="-180000" algn="l" defTabSz="914400" rtl="0" eaLnBrk="1" latinLnBrk="0" hangingPunct="1">
              <a:buClr>
                <a:schemeClr val="accent1"/>
              </a:buClr>
              <a:buFont typeface="Symbol" panose="05050102010706020507" pitchFamily="18" charset="2"/>
              <a:buChar char=""/>
            </a:lvl5pPr>
            <a:lvl6pPr marL="288000" indent="-288000" algn="l" defTabSz="914400" rtl="0" eaLnBrk="1" latinLnBrk="0" hangingPunct="1">
              <a:buClr>
                <a:schemeClr val="accent1"/>
              </a:buClr>
              <a:buFont typeface="Wingdings 3" panose="05040102010807070707" pitchFamily="18" charset="2"/>
              <a:buChar char=""/>
            </a:lvl6pPr>
            <a:lvl7pPr marL="288000" indent="-288000" algn="l" defTabSz="914400" rtl="0" eaLnBrk="1" latinLnBrk="0" hangingPunct="1">
              <a:buClr>
                <a:schemeClr val="accent1"/>
              </a:buClr>
              <a:buFont typeface="Wingdings 3" panose="05040102010807070707" pitchFamily="18" charset="2"/>
              <a:buChar char=""/>
            </a:lvl7pPr>
            <a:lvl8pPr marL="288000" indent="-288000" algn="l" defTabSz="914400" rtl="0" eaLnBrk="1" latinLnBrk="0" hangingPunct="1">
              <a:buClr>
                <a:schemeClr val="accent1"/>
              </a:buClr>
              <a:buFont typeface="Wingdings 3" panose="05040102010807070707" pitchFamily="18" charset="2"/>
              <a:buChar char=""/>
            </a:lvl8pPr>
            <a:lvl9pPr marL="288000" indent="-288000" algn="l" defTabSz="914400" rtl="0" eaLnBrk="1" latinLnBrk="0" hangingPunct="1">
              <a:buClr>
                <a:schemeClr val="accent1"/>
              </a:buClr>
              <a:buFont typeface="Wingdings 3" panose="05040102010807070707" pitchFamily="18" charset="2"/>
              <a:buChar char=""/>
            </a:lvl9pPr>
          </a:lstStyle>
          <a:p>
            <a:pPr marL="0" marR="0" lvl="0" indent="0" algn="l" defTabSz="914400" rtl="0" eaLnBrk="1" fontAlgn="auto" latinLnBrk="0" hangingPunct="1">
              <a:lnSpc>
                <a:spcPct val="100000"/>
              </a:lnSpc>
              <a:spcBef>
                <a:spcPts val="0"/>
              </a:spcBef>
              <a:spcAft>
                <a:spcPts val="300"/>
              </a:spcAft>
              <a:buClr>
                <a:srgbClr val="C72A34"/>
              </a:buClr>
              <a:buSzTx/>
              <a:buFont typeface="Wingdings" panose="05000000000000000000" pitchFamily="2" charset="2"/>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graphicFrame>
        <p:nvGraphicFramePr>
          <p:cNvPr id="8" name="Diagramm 7">
            <a:extLst>
              <a:ext uri="{FF2B5EF4-FFF2-40B4-BE49-F238E27FC236}">
                <a16:creationId xmlns:a16="http://schemas.microsoft.com/office/drawing/2014/main" id="{DC1360A2-4AC9-02E7-367B-D387D1FE3998}"/>
              </a:ext>
            </a:extLst>
          </p:cNvPr>
          <p:cNvGraphicFramePr/>
          <p:nvPr/>
        </p:nvGraphicFramePr>
        <p:xfrm>
          <a:off x="4808984" y="1709739"/>
          <a:ext cx="4716015" cy="4455565"/>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9" name="_Textbox_Standard_14pt_oben">
            <a:extLst>
              <a:ext uri="{FF2B5EF4-FFF2-40B4-BE49-F238E27FC236}">
                <a16:creationId xmlns:a16="http://schemas.microsoft.com/office/drawing/2014/main" id="{561845E2-9E54-A787-1C10-9D58F7F02E18}"/>
              </a:ext>
            </a:extLst>
          </p:cNvPr>
          <p:cNvSpPr/>
          <p:nvPr>
            <p:custDataLst>
              <p:tags r:id="rId5"/>
            </p:custDataLst>
          </p:nvPr>
        </p:nvSpPr>
        <p:spPr>
          <a:xfrm>
            <a:off x="497912" y="1709740"/>
            <a:ext cx="4455088" cy="4598986"/>
          </a:xfrm>
          <a:prstGeom prst="rect">
            <a:avLst/>
          </a:prstGeom>
          <a:noFill/>
          <a:ln w="12700" cap="flat" cmpd="sng" algn="ctr">
            <a:solidFill>
              <a:schemeClr val="bg1">
                <a:lumMod val="75000"/>
              </a:schemeClr>
            </a:solidFill>
            <a:prstDash val="solid"/>
            <a:miter lim="800000"/>
            <a:headEnd type="none" w="med" len="med"/>
            <a:tailEnd type="none" w="med" len="med"/>
          </a:ln>
          <a:extLst>
            <a:ext uri="{909E8E84-426E-40DD-AFC4-6F175D3DCCD1}">
              <a14:hiddenFill xmlns:a14="http://schemas.microsoft.com/office/drawing/2010/main">
                <a:solidFill>
                  <a:schemeClr val="l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t" anchorCtr="0" forceAA="0" compatLnSpc="1">
            <a:prstTxWarp prst="textNoShape">
              <a:avLst/>
            </a:prstTxWarp>
            <a:noAutofit/>
          </a:bodyPr>
          <a:lstStyle>
            <a:lvl1pPr marL="180000" indent="-180000" algn="l" defTabSz="914400" rtl="0" eaLnBrk="1" latinLnBrk="0" hangingPunct="1">
              <a:buClr>
                <a:schemeClr val="accent1"/>
              </a:buClr>
              <a:buFont typeface="Wingdings" panose="05000000000000000000" pitchFamily="2" charset="2"/>
              <a:buChar char="§"/>
            </a:lvl1pPr>
            <a:lvl2pPr marL="180000" indent="-180000" algn="l" defTabSz="914400" rtl="0" eaLnBrk="1" latinLnBrk="0" hangingPunct="1">
              <a:buClr>
                <a:schemeClr val="accent1"/>
              </a:buClr>
              <a:buFont typeface="Wingdings" panose="05000000000000000000" pitchFamily="2" charset="2"/>
              <a:buChar char="§"/>
            </a:lvl2pPr>
            <a:lvl3pPr marL="180000" indent="-180000" algn="l" defTabSz="914400" rtl="0" eaLnBrk="1" latinLnBrk="0" hangingPunct="1">
              <a:buClr>
                <a:schemeClr val="accent1"/>
              </a:buClr>
              <a:buFont typeface="Wingdings" panose="05000000000000000000" pitchFamily="2" charset="2"/>
              <a:buChar char="§"/>
            </a:lvl3pPr>
            <a:lvl4pPr marL="180000" indent="-180000" algn="l" defTabSz="914400" rtl="0" eaLnBrk="1" latinLnBrk="0" hangingPunct="1">
              <a:buClr>
                <a:schemeClr val="accent1"/>
              </a:buClr>
              <a:buFont typeface="Wingdings" panose="05000000000000000000" pitchFamily="2" charset="2"/>
              <a:buChar char="§"/>
            </a:lvl4pPr>
            <a:lvl5pPr marL="360000" indent="-180000" algn="l" defTabSz="914400" rtl="0" eaLnBrk="1" latinLnBrk="0" hangingPunct="1">
              <a:buClr>
                <a:schemeClr val="accent1"/>
              </a:buClr>
              <a:buFont typeface="Symbol" panose="05050102010706020507" pitchFamily="18" charset="2"/>
              <a:buChar char=""/>
            </a:lvl5pPr>
            <a:lvl6pPr marL="288000" indent="-288000" algn="l" defTabSz="914400" rtl="0" eaLnBrk="1" latinLnBrk="0" hangingPunct="1">
              <a:buClr>
                <a:schemeClr val="accent1"/>
              </a:buClr>
              <a:buFont typeface="Wingdings 3" panose="05040102010807070707" pitchFamily="18" charset="2"/>
              <a:buChar char=""/>
            </a:lvl6pPr>
            <a:lvl7pPr marL="288000" indent="-288000" algn="l" defTabSz="914400" rtl="0" eaLnBrk="1" latinLnBrk="0" hangingPunct="1">
              <a:buClr>
                <a:schemeClr val="accent1"/>
              </a:buClr>
              <a:buFont typeface="Wingdings 3" panose="05040102010807070707" pitchFamily="18" charset="2"/>
              <a:buChar char=""/>
            </a:lvl7pPr>
            <a:lvl8pPr marL="288000" indent="-288000" algn="l" defTabSz="914400" rtl="0" eaLnBrk="1" latinLnBrk="0" hangingPunct="1">
              <a:buClr>
                <a:schemeClr val="accent1"/>
              </a:buClr>
              <a:buFont typeface="Wingdings 3" panose="05040102010807070707" pitchFamily="18" charset="2"/>
              <a:buChar char=""/>
            </a:lvl8pPr>
            <a:lvl9pPr marL="288000" indent="-288000" algn="l" defTabSz="914400" rtl="0" eaLnBrk="1" latinLnBrk="0" hangingPunct="1">
              <a:buClr>
                <a:schemeClr val="accent1"/>
              </a:buClr>
              <a:buFont typeface="Wingdings 3" panose="05040102010807070707" pitchFamily="18" charset="2"/>
              <a:buChar char=""/>
            </a:lvl9pPr>
          </a:lstStyle>
          <a:p>
            <a:pPr marL="180000" marR="0" lvl="0" indent="-180000" algn="l" defTabSz="914400" rtl="0" eaLnBrk="1" fontAlgn="auto" latinLnBrk="0" hangingPunct="1">
              <a:lnSpc>
                <a:spcPct val="100000"/>
              </a:lnSpc>
              <a:spcBef>
                <a:spcPts val="0"/>
              </a:spcBef>
              <a:spcAft>
                <a:spcPts val="300"/>
              </a:spcAft>
              <a:buClr>
                <a:srgbClr val="C72A34"/>
              </a:buClr>
              <a:buSzTx/>
              <a:buFont typeface="Wingdings" panose="05000000000000000000" pitchFamily="2" charset="2"/>
              <a:buChar char="§"/>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a:p>
            <a:pPr marL="180000" marR="0" lvl="0" indent="-180000" algn="l" defTabSz="914400" rtl="0" eaLnBrk="1" fontAlgn="auto" latinLnBrk="0" hangingPunct="1">
              <a:lnSpc>
                <a:spcPct val="100000"/>
              </a:lnSpc>
              <a:spcBef>
                <a:spcPts val="0"/>
              </a:spcBef>
              <a:spcAft>
                <a:spcPts val="300"/>
              </a:spcAft>
              <a:buClr>
                <a:srgbClr val="C72A34"/>
              </a:buClr>
              <a:buSzTx/>
              <a:buFont typeface="Wingdings" panose="05000000000000000000" pitchFamily="2" charset="2"/>
              <a:buChar char="§"/>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Tariftreuepflicht führt zu stetig steigenden Lohnkosten</a:t>
            </a:r>
          </a:p>
          <a:p>
            <a:pPr marL="180000" marR="0" lvl="0" indent="-180000" algn="l" defTabSz="914400" rtl="0" eaLnBrk="1" fontAlgn="auto" latinLnBrk="0" hangingPunct="1">
              <a:lnSpc>
                <a:spcPct val="100000"/>
              </a:lnSpc>
              <a:spcBef>
                <a:spcPts val="0"/>
              </a:spcBef>
              <a:spcAft>
                <a:spcPts val="300"/>
              </a:spcAft>
              <a:buClr>
                <a:srgbClr val="C72A34"/>
              </a:buClr>
              <a:buSzTx/>
              <a:buFont typeface="Wingdings" panose="05000000000000000000" pitchFamily="2" charset="2"/>
              <a:buChar char="§"/>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Tarifabschlüsse sorgen für Nachholeffekte auch bei Anwendern des regional üblichen Entgeltniveaus</a:t>
            </a:r>
          </a:p>
          <a:p>
            <a:pPr marL="180000" marR="0" lvl="0" indent="-180000" algn="l" defTabSz="914400" rtl="0" eaLnBrk="1" fontAlgn="auto" latinLnBrk="0" hangingPunct="1">
              <a:lnSpc>
                <a:spcPct val="100000"/>
              </a:lnSpc>
              <a:spcBef>
                <a:spcPts val="0"/>
              </a:spcBef>
              <a:spcAft>
                <a:spcPts val="300"/>
              </a:spcAft>
              <a:buClr>
                <a:srgbClr val="C72A34"/>
              </a:buClr>
              <a:buSzTx/>
              <a:buFont typeface="Wingdings" panose="05000000000000000000" pitchFamily="2" charset="2"/>
              <a:buChar char="§"/>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Lebenshaltungskosten sind nach wie vor hoch</a:t>
            </a:r>
          </a:p>
          <a:p>
            <a:pPr marL="180000" marR="0" lvl="0" indent="-180000" algn="l" defTabSz="914400" rtl="0" eaLnBrk="1" fontAlgn="auto" latinLnBrk="0" hangingPunct="1">
              <a:lnSpc>
                <a:spcPct val="100000"/>
              </a:lnSpc>
              <a:spcBef>
                <a:spcPts val="0"/>
              </a:spcBef>
              <a:spcAft>
                <a:spcPts val="300"/>
              </a:spcAft>
              <a:buClr>
                <a:srgbClr val="C72A34"/>
              </a:buClr>
              <a:buSzTx/>
              <a:buFont typeface="Wingdings" panose="05000000000000000000" pitchFamily="2" charset="2"/>
              <a:buChar char="§"/>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Durch die Personalbemessung muss vorheriges Mehrpersonal nun über den Pflegesatz refinanziert werden</a:t>
            </a:r>
          </a:p>
          <a:p>
            <a:pPr marL="180000" marR="0" lvl="0" indent="-180000" algn="l" defTabSz="914400" rtl="0" eaLnBrk="1" fontAlgn="auto" latinLnBrk="0" hangingPunct="1">
              <a:lnSpc>
                <a:spcPct val="100000"/>
              </a:lnSpc>
              <a:spcBef>
                <a:spcPts val="0"/>
              </a:spcBef>
              <a:spcAft>
                <a:spcPts val="300"/>
              </a:spcAft>
              <a:buClr>
                <a:srgbClr val="C72A34"/>
              </a:buClr>
              <a:buSzTx/>
              <a:buFont typeface="Wingdings" panose="05000000000000000000" pitchFamily="2" charset="2"/>
              <a:buChar char="§"/>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Qualitätsansprüche steigen</a:t>
            </a:r>
          </a:p>
          <a:p>
            <a:pPr marL="180000" marR="0" lvl="0" indent="-180000" algn="l" defTabSz="914400" rtl="0" eaLnBrk="1" fontAlgn="auto" latinLnBrk="0" hangingPunct="1">
              <a:lnSpc>
                <a:spcPct val="100000"/>
              </a:lnSpc>
              <a:spcBef>
                <a:spcPts val="0"/>
              </a:spcBef>
              <a:spcAft>
                <a:spcPts val="300"/>
              </a:spcAft>
              <a:buClr>
                <a:srgbClr val="C72A34"/>
              </a:buClr>
              <a:buSzTx/>
              <a:buFont typeface="Wingdings" panose="05000000000000000000" pitchFamily="2" charset="2"/>
              <a:buChar char="§"/>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a:t>
            </a:r>
          </a:p>
          <a:p>
            <a:pPr marL="180000" marR="0" lvl="0" indent="-180000" algn="l" defTabSz="914400" rtl="0" eaLnBrk="1" fontAlgn="auto" latinLnBrk="0" hangingPunct="1">
              <a:lnSpc>
                <a:spcPct val="100000"/>
              </a:lnSpc>
              <a:spcBef>
                <a:spcPts val="0"/>
              </a:spcBef>
              <a:spcAft>
                <a:spcPts val="300"/>
              </a:spcAft>
              <a:buClr>
                <a:srgbClr val="C72A34"/>
              </a:buClr>
              <a:buSzTx/>
              <a:buFont typeface="Wingdings" panose="05000000000000000000" pitchFamily="2" charset="2"/>
              <a:buChar char="§"/>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a:p>
            <a:pPr marL="180000" marR="0" lvl="0" indent="-180000" algn="l" defTabSz="914400" rtl="0" eaLnBrk="1" fontAlgn="auto" latinLnBrk="0" hangingPunct="1">
              <a:lnSpc>
                <a:spcPct val="100000"/>
              </a:lnSpc>
              <a:spcBef>
                <a:spcPts val="0"/>
              </a:spcBef>
              <a:spcAft>
                <a:spcPts val="300"/>
              </a:spcAft>
              <a:buClr>
                <a:srgbClr val="C72A34"/>
              </a:buClr>
              <a:buSzTx/>
              <a:buFont typeface="Wingdings" panose="05000000000000000000" pitchFamily="2" charset="2"/>
              <a:buChar char="§"/>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a:p>
            <a:pPr marL="180000" marR="0" lvl="0" indent="-180000" algn="l" defTabSz="914400" rtl="0" eaLnBrk="1" fontAlgn="auto" latinLnBrk="0" hangingPunct="1">
              <a:lnSpc>
                <a:spcPct val="100000"/>
              </a:lnSpc>
              <a:spcBef>
                <a:spcPts val="0"/>
              </a:spcBef>
              <a:spcAft>
                <a:spcPts val="300"/>
              </a:spcAft>
              <a:buClr>
                <a:srgbClr val="C72A34"/>
              </a:buClr>
              <a:buSzTx/>
              <a:buFont typeface="Wingdings" panose="05000000000000000000" pitchFamily="2" charset="2"/>
              <a:buChar char="§"/>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300"/>
              </a:spcAft>
              <a:buClr>
                <a:srgbClr val="C72A34"/>
              </a:buClr>
              <a:buSzTx/>
              <a:buFont typeface="Wingdings" panose="05000000000000000000" pitchFamily="2" charset="2"/>
              <a:buNone/>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                   </a:t>
            </a:r>
          </a:p>
          <a:p>
            <a:pPr marL="180000" marR="0" lvl="0" indent="-180000" algn="l" defTabSz="914400" rtl="0" eaLnBrk="1" fontAlgn="auto" latinLnBrk="0" hangingPunct="1">
              <a:lnSpc>
                <a:spcPct val="100000"/>
              </a:lnSpc>
              <a:spcBef>
                <a:spcPts val="0"/>
              </a:spcBef>
              <a:spcAft>
                <a:spcPts val="300"/>
              </a:spcAft>
              <a:buClr>
                <a:srgbClr val="C72A34"/>
              </a:buClr>
              <a:buSzTx/>
              <a:buFont typeface="Wingdings" panose="05000000000000000000" pitchFamily="2" charset="2"/>
              <a:buChar char="§"/>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grpSp>
        <p:nvGrpSpPr>
          <p:cNvPr id="17" name="Blitz_Achtung">
            <a:extLst>
              <a:ext uri="{FF2B5EF4-FFF2-40B4-BE49-F238E27FC236}">
                <a16:creationId xmlns:a16="http://schemas.microsoft.com/office/drawing/2014/main" id="{E0E6666C-AE96-4D08-8EDA-8D58AB44A93F}"/>
              </a:ext>
            </a:extLst>
          </p:cNvPr>
          <p:cNvGrpSpPr>
            <a:grpSpLocks/>
          </p:cNvGrpSpPr>
          <p:nvPr>
            <p:custDataLst>
              <p:tags r:id="rId6"/>
            </p:custDataLst>
          </p:nvPr>
        </p:nvGrpSpPr>
        <p:grpSpPr>
          <a:xfrm>
            <a:off x="533098" y="5013176"/>
            <a:ext cx="819501" cy="792088"/>
            <a:chOff x="4966225" y="4629024"/>
            <a:chExt cx="360000" cy="360000"/>
          </a:xfrm>
        </p:grpSpPr>
        <p:sp>
          <p:nvSpPr>
            <p:cNvPr id="15" name="Oval 149">
              <a:extLst>
                <a:ext uri="{FF2B5EF4-FFF2-40B4-BE49-F238E27FC236}">
                  <a16:creationId xmlns:a16="http://schemas.microsoft.com/office/drawing/2014/main" id="{94B860D2-C553-DFD8-D82C-84B645ED0DAE}"/>
                </a:ext>
              </a:extLst>
            </p:cNvPr>
            <p:cNvSpPr>
              <a:spLocks noChangeArrowheads="1"/>
            </p:cNvSpPr>
            <p:nvPr>
              <p:custDataLst>
                <p:tags r:id="rId8"/>
              </p:custDataLst>
            </p:nvPr>
          </p:nvSpPr>
          <p:spPr bwMode="auto">
            <a:xfrm>
              <a:off x="4966225" y="4629024"/>
              <a:ext cx="360000" cy="360000"/>
            </a:xfrm>
            <a:prstGeom prst="ellipse">
              <a:avLst/>
            </a:prstGeom>
            <a:solidFill>
              <a:schemeClr val="bg1"/>
            </a:solidFill>
            <a:ln w="15875">
              <a:solidFill>
                <a:schemeClr val="accent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404040"/>
                </a:solidFill>
                <a:effectLst/>
                <a:uLnTx/>
                <a:uFillTx/>
                <a:latin typeface="Arial"/>
                <a:ea typeface="+mn-ea"/>
                <a:cs typeface="+mn-cs"/>
              </a:endParaRPr>
            </a:p>
          </p:txBody>
        </p:sp>
        <p:sp>
          <p:nvSpPr>
            <p:cNvPr id="16" name="MIO_PICTOGRAM_2">
              <a:extLst>
                <a:ext uri="{FF2B5EF4-FFF2-40B4-BE49-F238E27FC236}">
                  <a16:creationId xmlns:a16="http://schemas.microsoft.com/office/drawing/2014/main" id="{697698BA-77B6-18E2-35CA-11A39B6D3610}"/>
                </a:ext>
              </a:extLst>
            </p:cNvPr>
            <p:cNvSpPr>
              <a:spLocks/>
            </p:cNvSpPr>
            <p:nvPr>
              <p:custDataLst>
                <p:tags r:id="rId9"/>
              </p:custDataLst>
            </p:nvPr>
          </p:nvSpPr>
          <p:spPr bwMode="auto">
            <a:xfrm>
              <a:off x="5102916" y="4704248"/>
              <a:ext cx="82556" cy="212239"/>
            </a:xfrm>
            <a:custGeom>
              <a:avLst/>
              <a:gdLst/>
              <a:ahLst/>
              <a:cxnLst>
                <a:cxn ang="0">
                  <a:pos x="28" y="3"/>
                </a:cxn>
                <a:cxn ang="0">
                  <a:pos x="2" y="83"/>
                </a:cxn>
                <a:cxn ang="0">
                  <a:pos x="38" y="71"/>
                </a:cxn>
                <a:cxn ang="0">
                  <a:pos x="14" y="118"/>
                </a:cxn>
                <a:cxn ang="0">
                  <a:pos x="0" y="109"/>
                </a:cxn>
                <a:cxn ang="0">
                  <a:pos x="5" y="158"/>
                </a:cxn>
                <a:cxn ang="0">
                  <a:pos x="54" y="113"/>
                </a:cxn>
                <a:cxn ang="0">
                  <a:pos x="26" y="121"/>
                </a:cxn>
                <a:cxn ang="0">
                  <a:pos x="61" y="54"/>
                </a:cxn>
                <a:cxn ang="0">
                  <a:pos x="21" y="64"/>
                </a:cxn>
                <a:cxn ang="0">
                  <a:pos x="54" y="0"/>
                </a:cxn>
                <a:cxn ang="0">
                  <a:pos x="28" y="3"/>
                </a:cxn>
                <a:cxn ang="0">
                  <a:pos x="28" y="3"/>
                </a:cxn>
              </a:cxnLst>
              <a:rect l="0" t="0" r="r" b="b"/>
              <a:pathLst>
                <a:path w="61" h="158">
                  <a:moveTo>
                    <a:pt x="28" y="3"/>
                  </a:moveTo>
                  <a:lnTo>
                    <a:pt x="2" y="83"/>
                  </a:lnTo>
                  <a:lnTo>
                    <a:pt x="38" y="71"/>
                  </a:lnTo>
                  <a:lnTo>
                    <a:pt x="14" y="118"/>
                  </a:lnTo>
                  <a:lnTo>
                    <a:pt x="0" y="109"/>
                  </a:lnTo>
                  <a:lnTo>
                    <a:pt x="5" y="158"/>
                  </a:lnTo>
                  <a:lnTo>
                    <a:pt x="54" y="113"/>
                  </a:lnTo>
                  <a:lnTo>
                    <a:pt x="26" y="121"/>
                  </a:lnTo>
                  <a:lnTo>
                    <a:pt x="61" y="54"/>
                  </a:lnTo>
                  <a:lnTo>
                    <a:pt x="21" y="64"/>
                  </a:lnTo>
                  <a:lnTo>
                    <a:pt x="54" y="0"/>
                  </a:lnTo>
                  <a:lnTo>
                    <a:pt x="28" y="3"/>
                  </a:lnTo>
                  <a:lnTo>
                    <a:pt x="28" y="3"/>
                  </a:lnTo>
                  <a:close/>
                </a:path>
              </a:pathLst>
            </a:custGeom>
            <a:solidFill>
              <a:schemeClr val="accent1"/>
            </a:solidFill>
            <a:ln w="15875" cap="flat">
              <a:solidFill>
                <a:schemeClr val="accent1"/>
              </a:solidFill>
              <a:prstDash val="solid"/>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404040"/>
                </a:solidFill>
                <a:effectLst/>
                <a:uLnTx/>
                <a:uFillTx/>
                <a:latin typeface="Arial"/>
                <a:ea typeface="+mn-ea"/>
                <a:cs typeface="+mn-cs"/>
              </a:endParaRPr>
            </a:p>
          </p:txBody>
        </p:sp>
      </p:grpSp>
      <p:grpSp>
        <p:nvGrpSpPr>
          <p:cNvPr id="23" name="Post-it gelb klein">
            <a:extLst>
              <a:ext uri="{FF2B5EF4-FFF2-40B4-BE49-F238E27FC236}">
                <a16:creationId xmlns:a16="http://schemas.microsoft.com/office/drawing/2014/main" id="{63D8C5BB-A711-FAE5-F4F9-47AB7DD7BAFB}"/>
              </a:ext>
            </a:extLst>
          </p:cNvPr>
          <p:cNvGrpSpPr>
            <a:grpSpLocks/>
          </p:cNvGrpSpPr>
          <p:nvPr>
            <p:custDataLst>
              <p:tags r:id="rId7"/>
            </p:custDataLst>
          </p:nvPr>
        </p:nvGrpSpPr>
        <p:grpSpPr>
          <a:xfrm>
            <a:off x="1458674" y="4923550"/>
            <a:ext cx="3350312" cy="953722"/>
            <a:chOff x="7422320" y="585433"/>
            <a:chExt cx="2209136" cy="644999"/>
          </a:xfrm>
          <a:solidFill>
            <a:schemeClr val="accent1">
              <a:lumMod val="40000"/>
              <a:lumOff val="60000"/>
            </a:schemeClr>
          </a:solidFill>
        </p:grpSpPr>
        <p:sp>
          <p:nvSpPr>
            <p:cNvPr id="21" name="Rectangle 251">
              <a:extLst>
                <a:ext uri="{FF2B5EF4-FFF2-40B4-BE49-F238E27FC236}">
                  <a16:creationId xmlns:a16="http://schemas.microsoft.com/office/drawing/2014/main" id="{E85FC3CE-245F-54D1-EE56-6458C2C04D08}"/>
                </a:ext>
              </a:extLst>
            </p:cNvPr>
            <p:cNvSpPr/>
            <p:nvPr/>
          </p:nvSpPr>
          <p:spPr>
            <a:xfrm rot="360000">
              <a:off x="8054972" y="1075984"/>
              <a:ext cx="1352955" cy="98519"/>
            </a:xfrm>
            <a:prstGeom prst="rect">
              <a:avLst/>
            </a:prstGeom>
            <a:grpFill/>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1" i="0" u="none" strike="noStrike" kern="1200" cap="all" spc="0" normalizeH="0" baseline="0" noProof="1">
                <a:ln>
                  <a:noFill/>
                </a:ln>
                <a:solidFill>
                  <a:prstClr val="white"/>
                </a:solidFill>
                <a:effectLst/>
                <a:uLnTx/>
                <a:uFillTx/>
                <a:latin typeface="Arial"/>
                <a:ea typeface="+mn-ea"/>
                <a:cs typeface="+mn-cs"/>
              </a:endParaRPr>
            </a:p>
          </p:txBody>
        </p:sp>
        <p:sp>
          <p:nvSpPr>
            <p:cNvPr id="22" name="Rectangle 253">
              <a:extLst>
                <a:ext uri="{FF2B5EF4-FFF2-40B4-BE49-F238E27FC236}">
                  <a16:creationId xmlns:a16="http://schemas.microsoft.com/office/drawing/2014/main" id="{FAC16B75-F784-0A2C-0620-0CA743C030D4}"/>
                </a:ext>
              </a:extLst>
            </p:cNvPr>
            <p:cNvSpPr/>
            <p:nvPr/>
          </p:nvSpPr>
          <p:spPr>
            <a:xfrm>
              <a:off x="7422320" y="585433"/>
              <a:ext cx="2209136" cy="644999"/>
            </a:xfrm>
            <a:prstGeom prst="rect">
              <a:avLst/>
            </a:prstGeom>
            <a:solidFill>
              <a:srgbClr val="E78A03"/>
            </a:solidFill>
            <a:ln>
              <a:noFill/>
            </a:ln>
            <a:effectLst>
              <a:innerShdw dist="381000" dir="10800000">
                <a:schemeClr val="tx1">
                  <a:alpha val="1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lIns="468000" tIns="194400" rIns="194400" bIns="194400" rtlCol="0" anchor="ctr"/>
            <a:lstStyle/>
            <a:p>
              <a:pPr marL="0" marR="0" lvl="0" indent="0" algn="l" defTabSz="457200" rtl="0" eaLnBrk="1" fontAlgn="auto" latinLnBrk="0" hangingPunct="1">
                <a:lnSpc>
                  <a:spcPct val="120000"/>
                </a:lnSpc>
                <a:spcBef>
                  <a:spcPts val="500"/>
                </a:spcBef>
                <a:spcAft>
                  <a:spcPts val="0"/>
                </a:spcAft>
                <a:buClrTx/>
                <a:buSzTx/>
                <a:buFontTx/>
                <a:buNone/>
                <a:tabLst/>
                <a:defRPr/>
              </a:pPr>
              <a:r>
                <a:rPr kumimoji="0" lang="de-DE" sz="1200" b="0" i="0" u="none" strike="noStrike" kern="1200" cap="none" spc="0" normalizeH="0" baseline="0" noProof="0">
                  <a:ln>
                    <a:noFill/>
                  </a:ln>
                  <a:solidFill>
                    <a:prstClr val="white"/>
                  </a:solidFill>
                  <a:effectLst/>
                  <a:uLnTx/>
                  <a:uFillTx/>
                  <a:latin typeface="Arial Black"/>
                  <a:ea typeface="+mn-ea"/>
                  <a:cs typeface="+mn-cs"/>
                </a:rPr>
                <a:t>Den steigenden Personal- und Sachkosten stehen nur die Erträge aus der Vergütungs-vereinbarung gegenüber!</a:t>
              </a:r>
            </a:p>
          </p:txBody>
        </p:sp>
      </p:grpSp>
      <p:sp>
        <p:nvSpPr>
          <p:cNvPr id="10" name="Pfeil: nach unten 9">
            <a:extLst>
              <a:ext uri="{FF2B5EF4-FFF2-40B4-BE49-F238E27FC236}">
                <a16:creationId xmlns:a16="http://schemas.microsoft.com/office/drawing/2014/main" id="{83353775-6473-2A9F-5C05-93109C486E69}"/>
              </a:ext>
            </a:extLst>
          </p:cNvPr>
          <p:cNvSpPr/>
          <p:nvPr/>
        </p:nvSpPr>
        <p:spPr>
          <a:xfrm rot="10974326">
            <a:off x="5998638" y="2989929"/>
            <a:ext cx="288032" cy="432048"/>
          </a:xfrm>
          <a:prstGeom prst="downArrow">
            <a:avLst/>
          </a:prstGeom>
          <a:solidFill>
            <a:schemeClr val="lt1"/>
          </a:solidFill>
          <a:ln w="12700"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403603619"/>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a:extLst>
              <a:ext uri="{FF2B5EF4-FFF2-40B4-BE49-F238E27FC236}">
                <a16:creationId xmlns:a16="http://schemas.microsoft.com/office/drawing/2014/main" id="{106A0BA1-83C9-7E88-C70C-E6CCBDF5F942}"/>
              </a:ext>
            </a:extLst>
          </p:cNvPr>
          <p:cNvSpPr/>
          <p:nvPr/>
        </p:nvSpPr>
        <p:spPr>
          <a:xfrm>
            <a:off x="4952490" y="1565952"/>
            <a:ext cx="4320480" cy="326708"/>
          </a:xfrm>
          <a:prstGeom prst="rect">
            <a:avLst/>
          </a:prstGeom>
          <a:gradFill flip="none" rotWithShape="1">
            <a:gsLst>
              <a:gs pos="0">
                <a:schemeClr val="accent4">
                  <a:alpha val="0"/>
                </a:schemeClr>
              </a:gs>
              <a:gs pos="42000">
                <a:schemeClr val="accent4"/>
              </a:gs>
              <a:gs pos="83000">
                <a:schemeClr val="accent4"/>
              </a:gs>
              <a:gs pos="100000">
                <a:schemeClr val="accent4"/>
              </a:gs>
            </a:gsLst>
            <a:lin ang="10800000" scaled="1"/>
            <a:tileRect/>
          </a:gra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38" name="Rechteck 37">
            <a:extLst>
              <a:ext uri="{FF2B5EF4-FFF2-40B4-BE49-F238E27FC236}">
                <a16:creationId xmlns:a16="http://schemas.microsoft.com/office/drawing/2014/main" id="{31F937E6-05B6-6B35-F173-7C6CD3DB6EED}"/>
              </a:ext>
            </a:extLst>
          </p:cNvPr>
          <p:cNvSpPr/>
          <p:nvPr/>
        </p:nvSpPr>
        <p:spPr>
          <a:xfrm>
            <a:off x="331891" y="4873717"/>
            <a:ext cx="4320480" cy="326708"/>
          </a:xfrm>
          <a:prstGeom prst="rect">
            <a:avLst/>
          </a:prstGeom>
          <a:gradFill flip="none" rotWithShape="1">
            <a:gsLst>
              <a:gs pos="0">
                <a:schemeClr val="accent4">
                  <a:alpha val="0"/>
                </a:schemeClr>
              </a:gs>
              <a:gs pos="42000">
                <a:schemeClr val="accent4"/>
              </a:gs>
              <a:gs pos="83000">
                <a:schemeClr val="accent4"/>
              </a:gs>
              <a:gs pos="100000">
                <a:schemeClr val="accent4"/>
              </a:gs>
            </a:gsLst>
            <a:lin ang="10800000" scaled="1"/>
            <a:tileRect/>
          </a:gra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37" name="Rechteck 36">
            <a:extLst>
              <a:ext uri="{FF2B5EF4-FFF2-40B4-BE49-F238E27FC236}">
                <a16:creationId xmlns:a16="http://schemas.microsoft.com/office/drawing/2014/main" id="{B43173CF-05A1-AC52-906B-D4DC24A2D907}"/>
              </a:ext>
            </a:extLst>
          </p:cNvPr>
          <p:cNvSpPr/>
          <p:nvPr/>
        </p:nvSpPr>
        <p:spPr>
          <a:xfrm>
            <a:off x="344488" y="3053586"/>
            <a:ext cx="4320480" cy="326708"/>
          </a:xfrm>
          <a:prstGeom prst="rect">
            <a:avLst/>
          </a:prstGeom>
          <a:gradFill flip="none" rotWithShape="1">
            <a:gsLst>
              <a:gs pos="0">
                <a:schemeClr val="accent4">
                  <a:alpha val="0"/>
                </a:schemeClr>
              </a:gs>
              <a:gs pos="42000">
                <a:schemeClr val="accent4"/>
              </a:gs>
              <a:gs pos="83000">
                <a:schemeClr val="accent4"/>
              </a:gs>
              <a:gs pos="100000">
                <a:schemeClr val="accent4"/>
              </a:gs>
            </a:gsLst>
            <a:lin ang="10800000" scaled="1"/>
            <a:tileRect/>
          </a:gra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36" name="Rechteck 35">
            <a:extLst>
              <a:ext uri="{FF2B5EF4-FFF2-40B4-BE49-F238E27FC236}">
                <a16:creationId xmlns:a16="http://schemas.microsoft.com/office/drawing/2014/main" id="{36FB6333-5A00-9313-1BB6-970CC5B51FBF}"/>
              </a:ext>
            </a:extLst>
          </p:cNvPr>
          <p:cNvSpPr/>
          <p:nvPr/>
        </p:nvSpPr>
        <p:spPr>
          <a:xfrm>
            <a:off x="344488" y="1557338"/>
            <a:ext cx="4320480" cy="326708"/>
          </a:xfrm>
          <a:prstGeom prst="rect">
            <a:avLst/>
          </a:prstGeom>
          <a:gradFill flip="none" rotWithShape="1">
            <a:gsLst>
              <a:gs pos="0">
                <a:schemeClr val="accent4">
                  <a:alpha val="0"/>
                </a:schemeClr>
              </a:gs>
              <a:gs pos="42000">
                <a:schemeClr val="accent4"/>
              </a:gs>
              <a:gs pos="83000">
                <a:schemeClr val="accent4"/>
              </a:gs>
              <a:gs pos="100000">
                <a:schemeClr val="accent4"/>
              </a:gs>
            </a:gsLst>
            <a:lin ang="10800000" scaled="1"/>
            <a:tileRect/>
          </a:gra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35" name="Rechteck 34">
            <a:extLst>
              <a:ext uri="{FF2B5EF4-FFF2-40B4-BE49-F238E27FC236}">
                <a16:creationId xmlns:a16="http://schemas.microsoft.com/office/drawing/2014/main" id="{30FE39D5-B059-91C9-4881-6BCA48F17352}"/>
              </a:ext>
            </a:extLst>
          </p:cNvPr>
          <p:cNvSpPr>
            <a:spLocks noGrp="1" noRot="1" noEditPoints="1" noAdjustHandles="1" noChangeArrowheads="1" noChangeShapeType="1"/>
          </p:cNvSpPr>
          <p:nvPr>
            <p:custDataLst>
              <p:tags r:id="rId1"/>
            </p:custDataLst>
          </p:nvPr>
        </p:nvSpPr>
        <p:spPr>
          <a:xfrm>
            <a:off x="344488" y="5294173"/>
            <a:ext cx="3670512" cy="1015147"/>
          </a:xfrm>
          <a:prstGeom prst="rect">
            <a:avLst/>
          </a:prstGeom>
          <a:noFill/>
          <a:ln w="0" cap="flat" cmpd="sng" algn="ctr">
            <a:solidFill>
              <a:prstClr val="black">
                <a:alpha val="0"/>
              </a:prst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4953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Segoe UI Light" panose="020B0502040204020203" pitchFamily="34" charset="0"/>
              </a:rPr>
              <a:t>​</a:t>
            </a:r>
          </a:p>
        </p:txBody>
      </p:sp>
      <p:sp>
        <p:nvSpPr>
          <p:cNvPr id="32" name="Rechteck 31">
            <a:extLst>
              <a:ext uri="{FF2B5EF4-FFF2-40B4-BE49-F238E27FC236}">
                <a16:creationId xmlns:a16="http://schemas.microsoft.com/office/drawing/2014/main" id="{EF2EA40E-8E4F-D6B4-75B3-B8126D787990}"/>
              </a:ext>
            </a:extLst>
          </p:cNvPr>
          <p:cNvSpPr>
            <a:spLocks noGrp="1" noRot="1" noEditPoints="1" noAdjustHandles="1" noChangeArrowheads="1" noChangeShapeType="1"/>
          </p:cNvSpPr>
          <p:nvPr>
            <p:custDataLst>
              <p:tags r:id="rId2"/>
            </p:custDataLst>
          </p:nvPr>
        </p:nvSpPr>
        <p:spPr>
          <a:xfrm>
            <a:off x="632520" y="3408779"/>
            <a:ext cx="3567874" cy="1388373"/>
          </a:xfrm>
          <a:prstGeom prst="rect">
            <a:avLst/>
          </a:prstGeom>
          <a:noFill/>
          <a:ln w="0" cap="flat" cmpd="sng" algn="ctr">
            <a:solidFill>
              <a:prstClr val="black">
                <a:alpha val="0"/>
              </a:prst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4953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Segoe UI Light" panose="020B0502040204020203" pitchFamily="34" charset="0"/>
              </a:rPr>
              <a:t>​</a:t>
            </a:r>
          </a:p>
        </p:txBody>
      </p:sp>
      <p:sp>
        <p:nvSpPr>
          <p:cNvPr id="29" name="Rechteck 28">
            <a:extLst>
              <a:ext uri="{FF2B5EF4-FFF2-40B4-BE49-F238E27FC236}">
                <a16:creationId xmlns:a16="http://schemas.microsoft.com/office/drawing/2014/main" id="{13B3532D-A4D1-D819-D0F7-ADC0BC8DAC84}"/>
              </a:ext>
            </a:extLst>
          </p:cNvPr>
          <p:cNvSpPr>
            <a:spLocks noGrp="1" noRot="1" noEditPoints="1" noAdjustHandles="1" noChangeArrowheads="1" noChangeShapeType="1"/>
          </p:cNvSpPr>
          <p:nvPr>
            <p:custDataLst>
              <p:tags r:id="rId3"/>
            </p:custDataLst>
          </p:nvPr>
        </p:nvSpPr>
        <p:spPr>
          <a:xfrm>
            <a:off x="416496" y="1916832"/>
            <a:ext cx="4099724" cy="1099121"/>
          </a:xfrm>
          <a:prstGeom prst="rect">
            <a:avLst/>
          </a:prstGeom>
          <a:noFill/>
          <a:ln w="0" cap="flat" cmpd="sng" algn="ctr">
            <a:solidFill>
              <a:prstClr val="black">
                <a:alpha val="0"/>
              </a:prst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4953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Segoe UI Light" panose="020B0502040204020203" pitchFamily="34" charset="0"/>
              </a:rPr>
              <a:t>​</a:t>
            </a:r>
          </a:p>
        </p:txBody>
      </p:sp>
      <p:sp>
        <p:nvSpPr>
          <p:cNvPr id="3" name="Titel 2"/>
          <p:cNvSpPr>
            <a:spLocks noGrp="1"/>
          </p:cNvSpPr>
          <p:nvPr>
            <p:ph type="title"/>
          </p:nvPr>
        </p:nvSpPr>
        <p:spPr/>
        <p:txBody>
          <a:bodyPr/>
          <a:lstStyle/>
          <a:p>
            <a:r>
              <a:rPr lang="de-DE"/>
              <a:t>Die Stichprobe hat eine starke Akzentuierung im frei-gemeinnützigen Bereich.</a:t>
            </a:r>
          </a:p>
        </p:txBody>
      </p:sp>
      <p:sp>
        <p:nvSpPr>
          <p:cNvPr id="2" name="Foliennummernplatzhalter 1"/>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322A94-3156-491B-AD20-567107C600A1}" type="slidenum">
              <a:rPr kumimoji="0" lang="en-US"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404040">
                  <a:tint val="75000"/>
                </a:srgbClr>
              </a:solidFill>
              <a:effectLst/>
              <a:uLnTx/>
              <a:uFillTx/>
              <a:latin typeface="Arial"/>
              <a:ea typeface="+mn-ea"/>
              <a:cs typeface="+mn-cs"/>
            </a:endParaRPr>
          </a:p>
        </p:txBody>
      </p:sp>
      <p:sp>
        <p:nvSpPr>
          <p:cNvPr id="5" name="Textplatzhalter 4"/>
          <p:cNvSpPr>
            <a:spLocks noGrp="1"/>
          </p:cNvSpPr>
          <p:nvPr>
            <p:ph type="body" sz="quarter" idx="14"/>
          </p:nvPr>
        </p:nvSpPr>
        <p:spPr/>
        <p:txBody>
          <a:bodyPr/>
          <a:lstStyle/>
          <a:p>
            <a:r>
              <a:rPr lang="de-DE"/>
              <a:t>Altenhilfebarometer 2025 | Stichprobenbeschreibung</a:t>
            </a:r>
          </a:p>
        </p:txBody>
      </p:sp>
      <p:sp>
        <p:nvSpPr>
          <p:cNvPr id="15" name="Fußnote_Quelle">
            <a:extLst>
              <a:ext uri="{FF2B5EF4-FFF2-40B4-BE49-F238E27FC236}">
                <a16:creationId xmlns:a16="http://schemas.microsoft.com/office/drawing/2014/main" id="{D1665979-B4F9-32A5-EDBA-371A448E6F85}"/>
              </a:ext>
            </a:extLst>
          </p:cNvPr>
          <p:cNvSpPr txBox="1"/>
          <p:nvPr>
            <p:custDataLst>
              <p:tags r:id="rId4"/>
            </p:custDataLst>
          </p:nvPr>
        </p:nvSpPr>
        <p:spPr bwMode="auto">
          <a:xfrm>
            <a:off x="179502" y="6601706"/>
            <a:ext cx="4772988" cy="288033"/>
          </a:xfrm>
          <a:prstGeom prst="rect">
            <a:avLst/>
          </a:prstGeom>
          <a:noFill/>
          <a:ln w="9525">
            <a:noFill/>
            <a:miter lim="800000"/>
            <a:headEnd/>
            <a:tailEnd/>
          </a:ln>
        </p:spPr>
        <p:txBody>
          <a:bodyPr wrap="square" lIns="90000" tIns="46800" rIns="90000" bIns="46800" anchor="t" anchorCtr="0">
            <a:noAutofit/>
          </a:bodyPr>
          <a:lstStyle/>
          <a:p>
            <a:pPr marL="0" marR="0" lvl="0" indent="0" algn="l" defTabSz="457200" rtl="0" eaLnBrk="0" fontAlgn="auto" latinLnBrk="0" hangingPunct="0">
              <a:lnSpc>
                <a:spcPct val="100000"/>
              </a:lnSpc>
              <a:spcBef>
                <a:spcPts val="0"/>
              </a:spcBef>
              <a:spcAft>
                <a:spcPts val="0"/>
              </a:spcAft>
              <a:buClr>
                <a:srgbClr val="F77878"/>
              </a:buClr>
              <a:buSzTx/>
              <a:buFont typeface="Wingdings" pitchFamily="2" charset="2"/>
              <a:buNone/>
              <a:tabLst/>
              <a:defRPr/>
            </a:pPr>
            <a:r>
              <a:rPr kumimoji="0" lang="de-DE" altLang="ko-KR" sz="800" b="0" i="0" u="none" strike="noStrike" kern="0" cap="none" spc="0" normalizeH="0" baseline="0" noProof="0">
                <a:ln>
                  <a:noFill/>
                </a:ln>
                <a:solidFill>
                  <a:srgbClr val="C5C5C5"/>
                </a:solidFill>
                <a:effectLst/>
                <a:uLnTx/>
                <a:uFillTx/>
                <a:latin typeface="Arial"/>
                <a:ea typeface="+mn-ea"/>
                <a:cs typeface="+mn-cs"/>
              </a:rPr>
              <a:t>Quelle: </a:t>
            </a:r>
            <a:r>
              <a:rPr kumimoji="0" lang="de-DE" altLang="ko-KR" sz="800" b="0" i="0" u="none" strike="noStrike" kern="0" cap="none" spc="0" normalizeH="0" baseline="0" noProof="0" err="1">
                <a:ln>
                  <a:noFill/>
                </a:ln>
                <a:solidFill>
                  <a:srgbClr val="C5C5C5"/>
                </a:solidFill>
                <a:effectLst/>
                <a:uLnTx/>
                <a:uFillTx/>
                <a:latin typeface="Arial"/>
                <a:ea typeface="+mn-ea"/>
                <a:cs typeface="+mn-cs"/>
              </a:rPr>
              <a:t>Curacon</a:t>
            </a:r>
            <a:r>
              <a:rPr kumimoji="0" lang="de-DE" altLang="ko-KR" sz="800" b="0" i="0" u="none" strike="noStrike" kern="0" cap="none" spc="0" normalizeH="0" baseline="0" noProof="0">
                <a:ln>
                  <a:noFill/>
                </a:ln>
                <a:solidFill>
                  <a:srgbClr val="C5C5C5"/>
                </a:solidFill>
                <a:effectLst/>
                <a:uLnTx/>
                <a:uFillTx/>
                <a:latin typeface="Arial"/>
                <a:ea typeface="+mn-ea"/>
                <a:cs typeface="+mn-cs"/>
              </a:rPr>
              <a:t> Research - Ergebnisse der Befragung zum Altenhilfebarometer 2025</a:t>
            </a:r>
          </a:p>
        </p:txBody>
      </p:sp>
      <p:sp>
        <p:nvSpPr>
          <p:cNvPr id="6" name="Rechteck 5">
            <a:extLst>
              <a:ext uri="{FF2B5EF4-FFF2-40B4-BE49-F238E27FC236}">
                <a16:creationId xmlns:a16="http://schemas.microsoft.com/office/drawing/2014/main" id="{40DDEC63-5691-ACF8-F8E6-B74BC6ABC0E6}"/>
              </a:ext>
            </a:extLst>
          </p:cNvPr>
          <p:cNvSpPr/>
          <p:nvPr/>
        </p:nvSpPr>
        <p:spPr>
          <a:xfrm>
            <a:off x="344489" y="1557338"/>
            <a:ext cx="3816423" cy="359494"/>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de-DE" sz="1400" b="1" i="0" u="none" strike="noStrike" kern="1200" cap="none" spc="0" normalizeH="0" baseline="0" noProof="0">
                <a:ln>
                  <a:noFill/>
                </a:ln>
                <a:solidFill>
                  <a:srgbClr val="C72A34"/>
                </a:solidFill>
                <a:effectLst/>
                <a:uLnTx/>
                <a:uFillTx/>
                <a:latin typeface="Arial Black" panose="020B0A04020102020204" pitchFamily="34" charset="0"/>
                <a:ea typeface="+mn-ea"/>
                <a:cs typeface="+mn-cs"/>
              </a:rPr>
              <a:t>Teilnehmer:innenprofil</a:t>
            </a:r>
          </a:p>
        </p:txBody>
      </p:sp>
      <p:sp>
        <p:nvSpPr>
          <p:cNvPr id="7" name="Rechteck 6">
            <a:extLst>
              <a:ext uri="{FF2B5EF4-FFF2-40B4-BE49-F238E27FC236}">
                <a16:creationId xmlns:a16="http://schemas.microsoft.com/office/drawing/2014/main" id="{2BADFC2F-8071-136A-341B-D121D2DD9373}"/>
              </a:ext>
            </a:extLst>
          </p:cNvPr>
          <p:cNvSpPr/>
          <p:nvPr/>
        </p:nvSpPr>
        <p:spPr>
          <a:xfrm>
            <a:off x="4953000" y="1557338"/>
            <a:ext cx="3816423" cy="359494"/>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de-DE" sz="1400" b="1" i="0" u="none" strike="noStrike" kern="1200" cap="none" spc="0" normalizeH="0" baseline="0" noProof="0">
                <a:ln>
                  <a:noFill/>
                </a:ln>
                <a:solidFill>
                  <a:srgbClr val="C72A34"/>
                </a:solidFill>
                <a:effectLst/>
                <a:uLnTx/>
                <a:uFillTx/>
                <a:latin typeface="Arial Black" panose="020B0A04020102020204" pitchFamily="34" charset="0"/>
                <a:ea typeface="+mn-ea"/>
                <a:cs typeface="+mn-cs"/>
              </a:rPr>
              <a:t>Regionale Verteilung</a:t>
            </a:r>
          </a:p>
        </p:txBody>
      </p:sp>
      <mc:AlternateContent xmlns:mc="http://schemas.openxmlformats.org/markup-compatibility/2006" xmlns:cx4="http://schemas.microsoft.com/office/drawing/2016/5/10/chartex">
        <mc:Choice Requires="cx4">
          <p:graphicFrame>
            <p:nvGraphicFramePr>
              <p:cNvPr id="9" name="Diagramm 8">
                <a:extLst>
                  <a:ext uri="{FF2B5EF4-FFF2-40B4-BE49-F238E27FC236}">
                    <a16:creationId xmlns:a16="http://schemas.microsoft.com/office/drawing/2014/main" id="{2DF46223-F4CB-DDB7-4D46-DF05CC709DA1}"/>
                  </a:ext>
                </a:extLst>
              </p:cNvPr>
              <p:cNvGraphicFramePr/>
              <p:nvPr/>
            </p:nvGraphicFramePr>
            <p:xfrm>
              <a:off x="5143831" y="1700808"/>
              <a:ext cx="4464496" cy="4402667"/>
            </p:xfrm>
            <a:graphic>
              <a:graphicData uri="http://schemas.microsoft.com/office/drawing/2014/chartex">
                <cx:chart xmlns:cx="http://schemas.microsoft.com/office/drawing/2014/chartex" xmlns:r="http://schemas.openxmlformats.org/officeDocument/2006/relationships" r:id="rId28"/>
              </a:graphicData>
            </a:graphic>
          </p:graphicFrame>
        </mc:Choice>
        <mc:Fallback xmlns="">
          <p:pic>
            <p:nvPicPr>
              <p:cNvPr id="9" name="Diagramm 8">
                <a:extLst>
                  <a:ext uri="{FF2B5EF4-FFF2-40B4-BE49-F238E27FC236}">
                    <a16:creationId xmlns:a16="http://schemas.microsoft.com/office/drawing/2014/main" id="{2DF46223-F4CB-DDB7-4D46-DF05CC709DA1}"/>
                  </a:ext>
                </a:extLst>
              </p:cNvPr>
              <p:cNvPicPr>
                <a:picLocks noGrp="1" noRot="1" noChangeAspect="1" noMove="1" noResize="1" noEditPoints="1" noAdjustHandles="1" noChangeArrowheads="1" noChangeShapeType="1"/>
              </p:cNvPicPr>
              <p:nvPr/>
            </p:nvPicPr>
            <p:blipFill>
              <a:blip r:embed="rId29"/>
              <a:stretch>
                <a:fillRect/>
              </a:stretch>
            </p:blipFill>
            <p:spPr>
              <a:xfrm>
                <a:off x="5143831" y="1700808"/>
                <a:ext cx="4464496" cy="4402667"/>
              </a:xfrm>
              <a:prstGeom prst="rect">
                <a:avLst/>
              </a:prstGeom>
            </p:spPr>
          </p:pic>
        </mc:Fallback>
      </mc:AlternateContent>
      <p:sp>
        <p:nvSpPr>
          <p:cNvPr id="10" name="Textfeld 9">
            <a:extLst>
              <a:ext uri="{FF2B5EF4-FFF2-40B4-BE49-F238E27FC236}">
                <a16:creationId xmlns:a16="http://schemas.microsoft.com/office/drawing/2014/main" id="{0E486A07-B9C6-33B4-9CDF-1DFBBB31F1D6}"/>
              </a:ext>
            </a:extLst>
          </p:cNvPr>
          <p:cNvSpPr txBox="1"/>
          <p:nvPr>
            <p:custDataLst>
              <p:tags r:id="rId5"/>
            </p:custDataLst>
          </p:nvPr>
        </p:nvSpPr>
        <p:spPr>
          <a:xfrm>
            <a:off x="6717197" y="5214843"/>
            <a:ext cx="3600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404040"/>
                </a:solidFill>
                <a:effectLst/>
                <a:uLnTx/>
                <a:uFillTx/>
                <a:latin typeface="Arial"/>
                <a:ea typeface="+mn-ea"/>
                <a:cs typeface="+mn-cs"/>
              </a:rPr>
              <a:t>20</a:t>
            </a:r>
          </a:p>
        </p:txBody>
      </p:sp>
      <p:sp>
        <p:nvSpPr>
          <p:cNvPr id="11" name="Textfeld 10">
            <a:extLst>
              <a:ext uri="{FF2B5EF4-FFF2-40B4-BE49-F238E27FC236}">
                <a16:creationId xmlns:a16="http://schemas.microsoft.com/office/drawing/2014/main" id="{B73ABE35-06F9-C253-5653-CB4518C46022}"/>
              </a:ext>
            </a:extLst>
          </p:cNvPr>
          <p:cNvSpPr txBox="1"/>
          <p:nvPr>
            <p:custDataLst>
              <p:tags r:id="rId6"/>
            </p:custDataLst>
          </p:nvPr>
        </p:nvSpPr>
        <p:spPr>
          <a:xfrm>
            <a:off x="7545289" y="5076343"/>
            <a:ext cx="458108" cy="276999"/>
          </a:xfrm>
          <a:prstGeom prst="rect">
            <a:avLst/>
          </a:prstGeom>
          <a:noFill/>
          <a:ln>
            <a:noFill/>
          </a:ln>
          <a:extLst>
            <a:ext uri="{91240B29-F687-4F45-9708-019B960494DF}">
              <a14:hiddenLine xmlns:a14="http://schemas.microsoft.com/office/drawing/2010/main">
                <a:solidFill>
                  <a:schemeClr val="bg1"/>
                </a:solidFill>
              </a14:hiddenLine>
            </a:ext>
          </a:extLst>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white"/>
                </a:solidFill>
                <a:effectLst/>
                <a:uLnTx/>
                <a:uFillTx/>
                <a:latin typeface="Arial"/>
                <a:ea typeface="+mn-ea"/>
                <a:cs typeface="+mn-cs"/>
              </a:rPr>
              <a:t>35</a:t>
            </a:r>
          </a:p>
        </p:txBody>
      </p:sp>
      <p:sp>
        <p:nvSpPr>
          <p:cNvPr id="12" name="Textfeld 11">
            <a:extLst>
              <a:ext uri="{FF2B5EF4-FFF2-40B4-BE49-F238E27FC236}">
                <a16:creationId xmlns:a16="http://schemas.microsoft.com/office/drawing/2014/main" id="{5A1D3B11-08F2-521E-80E0-29AF82A90598}"/>
              </a:ext>
            </a:extLst>
          </p:cNvPr>
          <p:cNvSpPr txBox="1"/>
          <p:nvPr>
            <p:custDataLst>
              <p:tags r:id="rId7"/>
            </p:custDataLst>
          </p:nvPr>
        </p:nvSpPr>
        <p:spPr>
          <a:xfrm>
            <a:off x="8121352" y="3221919"/>
            <a:ext cx="3600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404040"/>
                </a:solidFill>
                <a:effectLst/>
                <a:uLnTx/>
                <a:uFillTx/>
                <a:latin typeface="Arial"/>
                <a:ea typeface="+mn-ea"/>
                <a:cs typeface="+mn-cs"/>
              </a:rPr>
              <a:t>8</a:t>
            </a:r>
          </a:p>
        </p:txBody>
      </p:sp>
      <p:sp>
        <p:nvSpPr>
          <p:cNvPr id="13" name="Textfeld 12">
            <a:extLst>
              <a:ext uri="{FF2B5EF4-FFF2-40B4-BE49-F238E27FC236}">
                <a16:creationId xmlns:a16="http://schemas.microsoft.com/office/drawing/2014/main" id="{B3BEB0AD-BAA7-8418-E746-B6D27D6E1912}"/>
              </a:ext>
            </a:extLst>
          </p:cNvPr>
          <p:cNvSpPr txBox="1"/>
          <p:nvPr>
            <p:custDataLst>
              <p:tags r:id="rId8"/>
            </p:custDataLst>
          </p:nvPr>
        </p:nvSpPr>
        <p:spPr>
          <a:xfrm>
            <a:off x="8308895" y="3476509"/>
            <a:ext cx="3600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404040"/>
                </a:solidFill>
                <a:effectLst/>
                <a:uLnTx/>
                <a:uFillTx/>
                <a:latin typeface="Arial"/>
                <a:ea typeface="+mn-ea"/>
                <a:cs typeface="+mn-cs"/>
              </a:rPr>
              <a:t>3</a:t>
            </a:r>
          </a:p>
        </p:txBody>
      </p:sp>
      <p:sp>
        <p:nvSpPr>
          <p:cNvPr id="14" name="Textfeld 13">
            <a:extLst>
              <a:ext uri="{FF2B5EF4-FFF2-40B4-BE49-F238E27FC236}">
                <a16:creationId xmlns:a16="http://schemas.microsoft.com/office/drawing/2014/main" id="{3789A811-291A-F984-252C-960B44A42B9B}"/>
              </a:ext>
            </a:extLst>
          </p:cNvPr>
          <p:cNvSpPr txBox="1"/>
          <p:nvPr>
            <p:custDataLst>
              <p:tags r:id="rId9"/>
            </p:custDataLst>
          </p:nvPr>
        </p:nvSpPr>
        <p:spPr>
          <a:xfrm>
            <a:off x="6753201" y="2944920"/>
            <a:ext cx="3600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404040"/>
                </a:solidFill>
                <a:effectLst/>
                <a:uLnTx/>
                <a:uFillTx/>
                <a:latin typeface="Arial"/>
                <a:ea typeface="+mn-ea"/>
                <a:cs typeface="+mn-cs"/>
              </a:rPr>
              <a:t>1</a:t>
            </a:r>
          </a:p>
        </p:txBody>
      </p:sp>
      <p:sp>
        <p:nvSpPr>
          <p:cNvPr id="16" name="Textfeld 15">
            <a:extLst>
              <a:ext uri="{FF2B5EF4-FFF2-40B4-BE49-F238E27FC236}">
                <a16:creationId xmlns:a16="http://schemas.microsoft.com/office/drawing/2014/main" id="{E71F228E-3FF4-F7E5-D49E-E3FFF85B79CA}"/>
              </a:ext>
            </a:extLst>
          </p:cNvPr>
          <p:cNvSpPr txBox="1"/>
          <p:nvPr>
            <p:custDataLst>
              <p:tags r:id="rId10"/>
            </p:custDataLst>
          </p:nvPr>
        </p:nvSpPr>
        <p:spPr>
          <a:xfrm>
            <a:off x="7107735" y="2712347"/>
            <a:ext cx="3600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404040"/>
                </a:solidFill>
                <a:effectLst/>
                <a:uLnTx/>
                <a:uFillTx/>
                <a:latin typeface="Arial"/>
                <a:ea typeface="+mn-ea"/>
                <a:cs typeface="+mn-cs"/>
              </a:rPr>
              <a:t>9</a:t>
            </a:r>
          </a:p>
        </p:txBody>
      </p:sp>
      <p:sp>
        <p:nvSpPr>
          <p:cNvPr id="17" name="Textfeld 16">
            <a:extLst>
              <a:ext uri="{FF2B5EF4-FFF2-40B4-BE49-F238E27FC236}">
                <a16:creationId xmlns:a16="http://schemas.microsoft.com/office/drawing/2014/main" id="{1D4DF8ED-910B-E3DA-F328-32D19ADF3C2C}"/>
              </a:ext>
            </a:extLst>
          </p:cNvPr>
          <p:cNvSpPr txBox="1"/>
          <p:nvPr>
            <p:custDataLst>
              <p:tags r:id="rId11"/>
            </p:custDataLst>
          </p:nvPr>
        </p:nvSpPr>
        <p:spPr>
          <a:xfrm>
            <a:off x="6789205" y="4166429"/>
            <a:ext cx="3600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404040"/>
                </a:solidFill>
                <a:effectLst/>
                <a:uLnTx/>
                <a:uFillTx/>
                <a:latin typeface="Arial"/>
                <a:ea typeface="+mn-ea"/>
                <a:cs typeface="+mn-cs"/>
              </a:rPr>
              <a:t>15</a:t>
            </a:r>
          </a:p>
        </p:txBody>
      </p:sp>
      <p:sp>
        <p:nvSpPr>
          <p:cNvPr id="18" name="Textfeld 17">
            <a:extLst>
              <a:ext uri="{FF2B5EF4-FFF2-40B4-BE49-F238E27FC236}">
                <a16:creationId xmlns:a16="http://schemas.microsoft.com/office/drawing/2014/main" id="{88B6D480-5AFB-E13F-8BC7-E7D621FD26FA}"/>
              </a:ext>
            </a:extLst>
          </p:cNvPr>
          <p:cNvSpPr txBox="1"/>
          <p:nvPr>
            <p:custDataLst>
              <p:tags r:id="rId12"/>
            </p:custDataLst>
          </p:nvPr>
        </p:nvSpPr>
        <p:spPr>
          <a:xfrm>
            <a:off x="7883333" y="2590910"/>
            <a:ext cx="3600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404040"/>
                </a:solidFill>
                <a:effectLst/>
                <a:uLnTx/>
                <a:uFillTx/>
                <a:latin typeface="Arial"/>
                <a:ea typeface="+mn-ea"/>
                <a:cs typeface="+mn-cs"/>
              </a:rPr>
              <a:t>3</a:t>
            </a:r>
          </a:p>
        </p:txBody>
      </p:sp>
      <p:sp>
        <p:nvSpPr>
          <p:cNvPr id="19" name="Textfeld 18">
            <a:extLst>
              <a:ext uri="{FF2B5EF4-FFF2-40B4-BE49-F238E27FC236}">
                <a16:creationId xmlns:a16="http://schemas.microsoft.com/office/drawing/2014/main" id="{8A4239EB-21E3-5CAD-262A-290745C90361}"/>
              </a:ext>
            </a:extLst>
          </p:cNvPr>
          <p:cNvSpPr txBox="1"/>
          <p:nvPr>
            <p:custDataLst>
              <p:tags r:id="rId13"/>
            </p:custDataLst>
          </p:nvPr>
        </p:nvSpPr>
        <p:spPr>
          <a:xfrm>
            <a:off x="7046501" y="3236554"/>
            <a:ext cx="3600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404040"/>
                </a:solidFill>
                <a:effectLst/>
                <a:uLnTx/>
                <a:uFillTx/>
                <a:latin typeface="Arial"/>
                <a:ea typeface="+mn-ea"/>
                <a:cs typeface="+mn-cs"/>
              </a:rPr>
              <a:t>21</a:t>
            </a:r>
          </a:p>
        </p:txBody>
      </p:sp>
      <p:sp>
        <p:nvSpPr>
          <p:cNvPr id="20" name="Textfeld 19">
            <a:extLst>
              <a:ext uri="{FF2B5EF4-FFF2-40B4-BE49-F238E27FC236}">
                <a16:creationId xmlns:a16="http://schemas.microsoft.com/office/drawing/2014/main" id="{71BE5970-D44F-0D5A-446E-F49303851FEE}"/>
              </a:ext>
            </a:extLst>
          </p:cNvPr>
          <p:cNvSpPr txBox="1"/>
          <p:nvPr>
            <p:custDataLst>
              <p:tags r:id="rId14"/>
            </p:custDataLst>
          </p:nvPr>
        </p:nvSpPr>
        <p:spPr>
          <a:xfrm>
            <a:off x="6285149" y="3778860"/>
            <a:ext cx="3600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white"/>
                </a:solidFill>
                <a:effectLst/>
                <a:uLnTx/>
                <a:uFillTx/>
                <a:latin typeface="Arial"/>
                <a:ea typeface="+mn-ea"/>
                <a:cs typeface="+mn-cs"/>
              </a:rPr>
              <a:t>61</a:t>
            </a:r>
          </a:p>
        </p:txBody>
      </p:sp>
      <p:sp>
        <p:nvSpPr>
          <p:cNvPr id="21" name="Textfeld 20">
            <a:extLst>
              <a:ext uri="{FF2B5EF4-FFF2-40B4-BE49-F238E27FC236}">
                <a16:creationId xmlns:a16="http://schemas.microsoft.com/office/drawing/2014/main" id="{EC445982-D2C0-4F6B-E8B5-6E8BD258DCAF}"/>
              </a:ext>
            </a:extLst>
          </p:cNvPr>
          <p:cNvSpPr txBox="1"/>
          <p:nvPr>
            <p:custDataLst>
              <p:tags r:id="rId15"/>
            </p:custDataLst>
          </p:nvPr>
        </p:nvSpPr>
        <p:spPr>
          <a:xfrm>
            <a:off x="6115312" y="4462679"/>
            <a:ext cx="3600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404040"/>
                </a:solidFill>
                <a:effectLst/>
                <a:uLnTx/>
                <a:uFillTx/>
                <a:latin typeface="Arial"/>
                <a:ea typeface="+mn-ea"/>
                <a:cs typeface="+mn-cs"/>
              </a:rPr>
              <a:t>8</a:t>
            </a:r>
          </a:p>
        </p:txBody>
      </p:sp>
      <p:sp>
        <p:nvSpPr>
          <p:cNvPr id="22" name="Textfeld 21">
            <a:extLst>
              <a:ext uri="{FF2B5EF4-FFF2-40B4-BE49-F238E27FC236}">
                <a16:creationId xmlns:a16="http://schemas.microsoft.com/office/drawing/2014/main" id="{92BA678D-2BE2-3E03-D641-30483F5581F1}"/>
              </a:ext>
            </a:extLst>
          </p:cNvPr>
          <p:cNvSpPr txBox="1"/>
          <p:nvPr>
            <p:custDataLst>
              <p:tags r:id="rId16"/>
            </p:custDataLst>
          </p:nvPr>
        </p:nvSpPr>
        <p:spPr>
          <a:xfrm>
            <a:off x="6105128" y="4802667"/>
            <a:ext cx="3600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404040"/>
                </a:solidFill>
                <a:effectLst/>
                <a:uLnTx/>
                <a:uFillTx/>
                <a:latin typeface="Arial"/>
                <a:ea typeface="+mn-ea"/>
                <a:cs typeface="+mn-cs"/>
              </a:rPr>
              <a:t>2</a:t>
            </a:r>
          </a:p>
        </p:txBody>
      </p:sp>
      <p:sp>
        <p:nvSpPr>
          <p:cNvPr id="23" name="Textfeld 22">
            <a:extLst>
              <a:ext uri="{FF2B5EF4-FFF2-40B4-BE49-F238E27FC236}">
                <a16:creationId xmlns:a16="http://schemas.microsoft.com/office/drawing/2014/main" id="{A94E7EED-B6E0-D94E-41C5-5A9002DB71AD}"/>
              </a:ext>
            </a:extLst>
          </p:cNvPr>
          <p:cNvSpPr txBox="1"/>
          <p:nvPr>
            <p:custDataLst>
              <p:tags r:id="rId17"/>
            </p:custDataLst>
          </p:nvPr>
        </p:nvSpPr>
        <p:spPr>
          <a:xfrm>
            <a:off x="8120171" y="4008098"/>
            <a:ext cx="3600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404040"/>
                </a:solidFill>
                <a:effectLst/>
                <a:uLnTx/>
                <a:uFillTx/>
                <a:latin typeface="Arial"/>
                <a:ea typeface="+mn-ea"/>
                <a:cs typeface="+mn-cs"/>
              </a:rPr>
              <a:t>6</a:t>
            </a:r>
          </a:p>
        </p:txBody>
      </p:sp>
      <p:sp>
        <p:nvSpPr>
          <p:cNvPr id="24" name="Textfeld 23">
            <a:extLst>
              <a:ext uri="{FF2B5EF4-FFF2-40B4-BE49-F238E27FC236}">
                <a16:creationId xmlns:a16="http://schemas.microsoft.com/office/drawing/2014/main" id="{ABE6380F-A080-52FB-4E67-25340C7CF683}"/>
              </a:ext>
            </a:extLst>
          </p:cNvPr>
          <p:cNvSpPr txBox="1"/>
          <p:nvPr>
            <p:custDataLst>
              <p:tags r:id="rId18"/>
            </p:custDataLst>
          </p:nvPr>
        </p:nvSpPr>
        <p:spPr>
          <a:xfrm>
            <a:off x="7633681" y="3492601"/>
            <a:ext cx="3600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404040"/>
                </a:solidFill>
                <a:effectLst/>
                <a:uLnTx/>
                <a:uFillTx/>
                <a:latin typeface="Arial"/>
                <a:ea typeface="+mn-ea"/>
                <a:cs typeface="+mn-cs"/>
              </a:rPr>
              <a:t>9</a:t>
            </a:r>
          </a:p>
        </p:txBody>
      </p:sp>
      <p:sp>
        <p:nvSpPr>
          <p:cNvPr id="25" name="Textfeld 24">
            <a:extLst>
              <a:ext uri="{FF2B5EF4-FFF2-40B4-BE49-F238E27FC236}">
                <a16:creationId xmlns:a16="http://schemas.microsoft.com/office/drawing/2014/main" id="{F3947044-05CE-7A04-39C8-BD5846693DC1}"/>
              </a:ext>
            </a:extLst>
          </p:cNvPr>
          <p:cNvSpPr txBox="1"/>
          <p:nvPr>
            <p:custDataLst>
              <p:tags r:id="rId19"/>
            </p:custDataLst>
          </p:nvPr>
        </p:nvSpPr>
        <p:spPr>
          <a:xfrm>
            <a:off x="7406542" y="4117293"/>
            <a:ext cx="3600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404040"/>
                </a:solidFill>
                <a:effectLst/>
                <a:uLnTx/>
                <a:uFillTx/>
                <a:latin typeface="Arial"/>
                <a:ea typeface="+mn-ea"/>
                <a:cs typeface="+mn-cs"/>
              </a:rPr>
              <a:t>7</a:t>
            </a:r>
          </a:p>
        </p:txBody>
      </p:sp>
      <p:sp>
        <p:nvSpPr>
          <p:cNvPr id="27" name="Textfeld 26">
            <a:extLst>
              <a:ext uri="{FF2B5EF4-FFF2-40B4-BE49-F238E27FC236}">
                <a16:creationId xmlns:a16="http://schemas.microsoft.com/office/drawing/2014/main" id="{8B8A4865-0ECC-6EB8-5044-5C97E53C3AFC}"/>
              </a:ext>
            </a:extLst>
          </p:cNvPr>
          <p:cNvSpPr txBox="1"/>
          <p:nvPr>
            <p:custDataLst>
              <p:tags r:id="rId20"/>
            </p:custDataLst>
          </p:nvPr>
        </p:nvSpPr>
        <p:spPr>
          <a:xfrm>
            <a:off x="6945883" y="2364108"/>
            <a:ext cx="3600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404040"/>
                </a:solidFill>
                <a:effectLst/>
                <a:uLnTx/>
                <a:uFillTx/>
                <a:latin typeface="Arial"/>
                <a:ea typeface="+mn-ea"/>
                <a:cs typeface="+mn-cs"/>
              </a:rPr>
              <a:t>12</a:t>
            </a:r>
          </a:p>
        </p:txBody>
      </p:sp>
      <p:graphicFrame>
        <p:nvGraphicFramePr>
          <p:cNvPr id="28" name="Bar">
            <a:extLst>
              <a:ext uri="{FF2B5EF4-FFF2-40B4-BE49-F238E27FC236}">
                <a16:creationId xmlns:a16="http://schemas.microsoft.com/office/drawing/2014/main" id="{4C06AE89-FF30-629B-31C3-DBFAC67771A0}"/>
              </a:ext>
            </a:extLst>
          </p:cNvPr>
          <p:cNvGraphicFramePr>
            <a:graphicFrameLocks/>
          </p:cNvGraphicFramePr>
          <p:nvPr>
            <p:custDataLst>
              <p:tags r:id="rId21"/>
            </p:custDataLst>
          </p:nvPr>
        </p:nvGraphicFramePr>
        <p:xfrm>
          <a:off x="416496" y="1916832"/>
          <a:ext cx="4099724" cy="1099121"/>
        </p:xfrm>
        <a:graphic>
          <a:graphicData uri="http://schemas.openxmlformats.org/drawingml/2006/chart">
            <c:chart xmlns:c="http://schemas.openxmlformats.org/drawingml/2006/chart" xmlns:r="http://schemas.openxmlformats.org/officeDocument/2006/relationships" r:id="rId30"/>
          </a:graphicData>
        </a:graphic>
      </p:graphicFrame>
      <p:sp>
        <p:nvSpPr>
          <p:cNvPr id="30" name="Rechteck 29">
            <a:extLst>
              <a:ext uri="{FF2B5EF4-FFF2-40B4-BE49-F238E27FC236}">
                <a16:creationId xmlns:a16="http://schemas.microsoft.com/office/drawing/2014/main" id="{04A5741C-E4BD-809C-A348-A81AC15A60B8}"/>
              </a:ext>
            </a:extLst>
          </p:cNvPr>
          <p:cNvSpPr/>
          <p:nvPr>
            <p:custDataLst>
              <p:tags r:id="rId22"/>
            </p:custDataLst>
          </p:nvPr>
        </p:nvSpPr>
        <p:spPr>
          <a:xfrm>
            <a:off x="344488" y="3048739"/>
            <a:ext cx="3816423" cy="359494"/>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de-DE" sz="1400" b="1" i="0" u="none" strike="noStrike" kern="1200" cap="none" spc="0" normalizeH="0" baseline="0" noProof="0">
                <a:ln>
                  <a:noFill/>
                </a:ln>
                <a:solidFill>
                  <a:srgbClr val="C72A34"/>
                </a:solidFill>
                <a:effectLst/>
                <a:uLnTx/>
                <a:uFillTx/>
                <a:latin typeface="Arial Black" panose="020B0A04020102020204" pitchFamily="34" charset="0"/>
                <a:ea typeface="+mn-ea"/>
                <a:cs typeface="+mn-cs"/>
              </a:rPr>
              <a:t>Trägerschaft</a:t>
            </a:r>
          </a:p>
        </p:txBody>
      </p:sp>
      <p:graphicFrame>
        <p:nvGraphicFramePr>
          <p:cNvPr id="31" name="Bar">
            <a:extLst>
              <a:ext uri="{FF2B5EF4-FFF2-40B4-BE49-F238E27FC236}">
                <a16:creationId xmlns:a16="http://schemas.microsoft.com/office/drawing/2014/main" id="{24E67193-6006-843E-4625-5921B09DF9A1}"/>
              </a:ext>
            </a:extLst>
          </p:cNvPr>
          <p:cNvGraphicFramePr>
            <a:graphicFrameLocks/>
          </p:cNvGraphicFramePr>
          <p:nvPr>
            <p:custDataLst>
              <p:tags r:id="rId23"/>
            </p:custDataLst>
          </p:nvPr>
        </p:nvGraphicFramePr>
        <p:xfrm>
          <a:off x="632520" y="3408779"/>
          <a:ext cx="3567874" cy="1388373"/>
        </p:xfrm>
        <a:graphic>
          <a:graphicData uri="http://schemas.openxmlformats.org/drawingml/2006/chart">
            <c:chart xmlns:c="http://schemas.openxmlformats.org/drawingml/2006/chart" xmlns:r="http://schemas.openxmlformats.org/officeDocument/2006/relationships" r:id="rId31"/>
          </a:graphicData>
        </a:graphic>
      </p:graphicFrame>
      <p:sp>
        <p:nvSpPr>
          <p:cNvPr id="33" name="Rechteck 32">
            <a:extLst>
              <a:ext uri="{FF2B5EF4-FFF2-40B4-BE49-F238E27FC236}">
                <a16:creationId xmlns:a16="http://schemas.microsoft.com/office/drawing/2014/main" id="{205726C2-6772-71A8-FD7A-7421D4BBC188}"/>
              </a:ext>
            </a:extLst>
          </p:cNvPr>
          <p:cNvSpPr/>
          <p:nvPr>
            <p:custDataLst>
              <p:tags r:id="rId24"/>
            </p:custDataLst>
          </p:nvPr>
        </p:nvSpPr>
        <p:spPr>
          <a:xfrm>
            <a:off x="344488" y="4869160"/>
            <a:ext cx="3816423" cy="359494"/>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de-DE" sz="1400" b="1" i="0" u="none" strike="noStrike" kern="1200" cap="none" spc="0" normalizeH="0" baseline="0" noProof="0">
                <a:ln>
                  <a:noFill/>
                </a:ln>
                <a:solidFill>
                  <a:srgbClr val="C72A34"/>
                </a:solidFill>
                <a:effectLst/>
                <a:uLnTx/>
                <a:uFillTx/>
                <a:latin typeface="Arial Black" panose="020B0A04020102020204" pitchFamily="34" charset="0"/>
                <a:ea typeface="+mn-ea"/>
                <a:cs typeface="+mn-cs"/>
              </a:rPr>
              <a:t>Teil eines Verbundes</a:t>
            </a:r>
          </a:p>
        </p:txBody>
      </p:sp>
      <p:graphicFrame>
        <p:nvGraphicFramePr>
          <p:cNvPr id="34" name="Bar">
            <a:extLst>
              <a:ext uri="{FF2B5EF4-FFF2-40B4-BE49-F238E27FC236}">
                <a16:creationId xmlns:a16="http://schemas.microsoft.com/office/drawing/2014/main" id="{EC934C8A-4C58-40C2-0A80-819F8DAF8311}"/>
              </a:ext>
            </a:extLst>
          </p:cNvPr>
          <p:cNvGraphicFramePr>
            <a:graphicFrameLocks/>
          </p:cNvGraphicFramePr>
          <p:nvPr>
            <p:custDataLst>
              <p:tags r:id="rId25"/>
            </p:custDataLst>
          </p:nvPr>
        </p:nvGraphicFramePr>
        <p:xfrm>
          <a:off x="344488" y="5294173"/>
          <a:ext cx="3670512" cy="1015147"/>
        </p:xfrm>
        <a:graphic>
          <a:graphicData uri="http://schemas.openxmlformats.org/drawingml/2006/chart">
            <c:chart xmlns:c="http://schemas.openxmlformats.org/drawingml/2006/chart" xmlns:r="http://schemas.openxmlformats.org/officeDocument/2006/relationships" r:id="rId32"/>
          </a:graphicData>
        </a:graphic>
      </p:graphicFrame>
      <p:grpSp>
        <p:nvGrpSpPr>
          <p:cNvPr id="41" name="Gruppieren 40">
            <a:extLst>
              <a:ext uri="{FF2B5EF4-FFF2-40B4-BE49-F238E27FC236}">
                <a16:creationId xmlns:a16="http://schemas.microsoft.com/office/drawing/2014/main" id="{B946D99F-D4F4-1993-F957-13CCF1AAA812}"/>
              </a:ext>
            </a:extLst>
          </p:cNvPr>
          <p:cNvGrpSpPr/>
          <p:nvPr/>
        </p:nvGrpSpPr>
        <p:grpSpPr>
          <a:xfrm>
            <a:off x="8651594" y="1069149"/>
            <a:ext cx="1066654" cy="317034"/>
            <a:chOff x="8651594" y="1069149"/>
            <a:chExt cx="1066654" cy="317034"/>
          </a:xfrm>
        </p:grpSpPr>
        <p:sp>
          <p:nvSpPr>
            <p:cNvPr id="4" name="Textfeld 3">
              <a:extLst>
                <a:ext uri="{FF2B5EF4-FFF2-40B4-BE49-F238E27FC236}">
                  <a16:creationId xmlns:a16="http://schemas.microsoft.com/office/drawing/2014/main" id="{82667500-D55F-78F1-CA13-8C56D51C0280}"/>
                </a:ext>
              </a:extLst>
            </p:cNvPr>
            <p:cNvSpPr txBox="1"/>
            <p:nvPr>
              <p:custDataLst>
                <p:tags r:id="rId26"/>
              </p:custDataLst>
            </p:nvPr>
          </p:nvSpPr>
          <p:spPr>
            <a:xfrm>
              <a:off x="8651594" y="1073777"/>
              <a:ext cx="1054059"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AUSZUG</a:t>
              </a:r>
            </a:p>
          </p:txBody>
        </p:sp>
        <p:cxnSp>
          <p:nvCxnSpPr>
            <p:cNvPr id="26" name="Gerader Verbinder 25">
              <a:extLst>
                <a:ext uri="{FF2B5EF4-FFF2-40B4-BE49-F238E27FC236}">
                  <a16:creationId xmlns:a16="http://schemas.microsoft.com/office/drawing/2014/main" id="{B5CFCB3C-C351-E481-A0C0-ACB816F7F287}"/>
                </a:ext>
              </a:extLst>
            </p:cNvPr>
            <p:cNvCxnSpPr/>
            <p:nvPr/>
          </p:nvCxnSpPr>
          <p:spPr>
            <a:xfrm>
              <a:off x="8668936" y="1069149"/>
              <a:ext cx="103659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3450D15A-1BD0-44E6-118B-41923F4BFE5A}"/>
                </a:ext>
              </a:extLst>
            </p:cNvPr>
            <p:cNvCxnSpPr/>
            <p:nvPr/>
          </p:nvCxnSpPr>
          <p:spPr>
            <a:xfrm>
              <a:off x="8681656" y="1386183"/>
              <a:ext cx="1036592" cy="0"/>
            </a:xfrm>
            <a:prstGeom prst="line">
              <a:avLst/>
            </a:prstGeom>
            <a:ln w="1905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521768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651232-C13F-5AB0-EF04-A9FF29BC2C11}"/>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CF4E623-65C0-8BC3-95E2-699313BCA97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8" imgW="360" imgH="360" progId="TCLayout.ActiveDocument.1">
                  <p:embed/>
                </p:oleObj>
              </mc:Choice>
              <mc:Fallback>
                <p:oleObj name="think-cell Folie" r:id="rId18" imgW="360" imgH="360" progId="TCLayout.ActiveDocument.1">
                  <p:embed/>
                  <p:pic>
                    <p:nvPicPr>
                      <p:cNvPr id="6" name="Objekt 5" hidden="1">
                        <a:extLst>
                          <a:ext uri="{FF2B5EF4-FFF2-40B4-BE49-F238E27FC236}">
                            <a16:creationId xmlns:a16="http://schemas.microsoft.com/office/drawing/2014/main" id="{3CF4E623-65C0-8BC3-95E2-699313BCA97B}"/>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ADBD5169-5E87-7C3A-DF14-583A8E8DA1E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12" name="Foliennummernplatzhalter 11">
            <a:extLst>
              <a:ext uri="{FF2B5EF4-FFF2-40B4-BE49-F238E27FC236}">
                <a16:creationId xmlns:a16="http://schemas.microsoft.com/office/drawing/2014/main" id="{56EFA575-EC1A-150F-C197-AAB3CCD291AA}"/>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322A94-3156-491B-AD20-567107C600A1}" type="slidenum">
              <a:rPr kumimoji="0" lang="de-DE" sz="800" b="0" i="0" u="none" strike="noStrike" kern="1200" cap="none" spc="0" normalizeH="0" baseline="0" noProof="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de-DE" sz="800" b="0" i="0" u="none" strike="noStrike" kern="1200" cap="none" spc="0" normalizeH="0" baseline="0" noProof="0">
              <a:ln>
                <a:noFill/>
              </a:ln>
              <a:solidFill>
                <a:srgbClr val="404040">
                  <a:tint val="75000"/>
                </a:srgbClr>
              </a:solidFill>
              <a:effectLst/>
              <a:uLnTx/>
              <a:uFillTx/>
              <a:latin typeface="Arial"/>
              <a:ea typeface="+mn-ea"/>
              <a:cs typeface="+mn-cs"/>
            </a:endParaRPr>
          </a:p>
        </p:txBody>
      </p:sp>
      <p:sp>
        <p:nvSpPr>
          <p:cNvPr id="2" name="Titel 1">
            <a:extLst>
              <a:ext uri="{FF2B5EF4-FFF2-40B4-BE49-F238E27FC236}">
                <a16:creationId xmlns:a16="http://schemas.microsoft.com/office/drawing/2014/main" id="{6246A42F-13B2-C310-8159-52054F5F56FE}"/>
              </a:ext>
            </a:extLst>
          </p:cNvPr>
          <p:cNvSpPr>
            <a:spLocks noGrp="1"/>
          </p:cNvSpPr>
          <p:nvPr>
            <p:ph type="title"/>
          </p:nvPr>
        </p:nvSpPr>
        <p:spPr/>
        <p:txBody>
          <a:bodyPr vert="horz"/>
          <a:lstStyle/>
          <a:p>
            <a:r>
              <a:rPr lang="de-DE"/>
              <a:t>Wie wird eine Pflegesatzverhandlung vorbereitet? Welche Unterlagen sind notwendig?</a:t>
            </a:r>
            <a:br>
              <a:rPr lang="de-DE"/>
            </a:br>
            <a:endParaRPr lang="de-DE"/>
          </a:p>
        </p:txBody>
      </p:sp>
      <p:sp>
        <p:nvSpPr>
          <p:cNvPr id="4" name="Textplatzhalter 3">
            <a:extLst>
              <a:ext uri="{FF2B5EF4-FFF2-40B4-BE49-F238E27FC236}">
                <a16:creationId xmlns:a16="http://schemas.microsoft.com/office/drawing/2014/main" id="{D754EB55-9146-DFCB-9C37-C252CFA3D7CC}"/>
              </a:ext>
            </a:extLst>
          </p:cNvPr>
          <p:cNvSpPr>
            <a:spLocks noGrp="1"/>
          </p:cNvSpPr>
          <p:nvPr>
            <p:ph type="body" sz="quarter" idx="13"/>
          </p:nvPr>
        </p:nvSpPr>
        <p:spPr/>
        <p:txBody>
          <a:bodyPr/>
          <a:lstStyle/>
          <a:p>
            <a:r>
              <a:rPr lang="de-DE">
                <a:ea typeface="+mj-lt"/>
                <a:cs typeface="+mj-lt"/>
              </a:rPr>
              <a:t>Datenqualität &amp; -verfügbarkeit</a:t>
            </a:r>
            <a:endParaRPr lang="de-DE"/>
          </a:p>
        </p:txBody>
      </p:sp>
      <p:sp>
        <p:nvSpPr>
          <p:cNvPr id="3" name="_Textbox_Standard_14pt_oben">
            <a:extLst>
              <a:ext uri="{FF2B5EF4-FFF2-40B4-BE49-F238E27FC236}">
                <a16:creationId xmlns:a16="http://schemas.microsoft.com/office/drawing/2014/main" id="{C09D9854-D92C-7816-449E-9D2DC75361F5}"/>
              </a:ext>
            </a:extLst>
          </p:cNvPr>
          <p:cNvSpPr/>
          <p:nvPr>
            <p:custDataLst>
              <p:tags r:id="rId4"/>
            </p:custDataLst>
          </p:nvPr>
        </p:nvSpPr>
        <p:spPr>
          <a:xfrm>
            <a:off x="345512" y="1557339"/>
            <a:ext cx="9216000" cy="4751386"/>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chemeClr val="l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t" anchorCtr="0" forceAA="0" compatLnSpc="1">
            <a:prstTxWarp prst="textNoShape">
              <a:avLst/>
            </a:prstTxWarp>
            <a:noAutofit/>
          </a:bodyPr>
          <a:lstStyle>
            <a:lvl1pPr marL="180000" indent="-180000" algn="l" defTabSz="914400" rtl="0" eaLnBrk="1" latinLnBrk="0" hangingPunct="1">
              <a:buClr>
                <a:schemeClr val="accent1"/>
              </a:buClr>
              <a:buFont typeface="Wingdings" panose="05000000000000000000" pitchFamily="2" charset="2"/>
              <a:buChar char="§"/>
            </a:lvl1pPr>
            <a:lvl2pPr marL="180000" indent="-180000" algn="l" defTabSz="914400" rtl="0" eaLnBrk="1" latinLnBrk="0" hangingPunct="1">
              <a:buClr>
                <a:schemeClr val="accent1"/>
              </a:buClr>
              <a:buFont typeface="Wingdings" panose="05000000000000000000" pitchFamily="2" charset="2"/>
              <a:buChar char="§"/>
            </a:lvl2pPr>
            <a:lvl3pPr marL="180000" indent="-180000" algn="l" defTabSz="914400" rtl="0" eaLnBrk="1" latinLnBrk="0" hangingPunct="1">
              <a:buClr>
                <a:schemeClr val="accent1"/>
              </a:buClr>
              <a:buFont typeface="Wingdings" panose="05000000000000000000" pitchFamily="2" charset="2"/>
              <a:buChar char="§"/>
            </a:lvl3pPr>
            <a:lvl4pPr marL="180000" indent="-180000" algn="l" defTabSz="914400" rtl="0" eaLnBrk="1" latinLnBrk="0" hangingPunct="1">
              <a:buClr>
                <a:schemeClr val="accent1"/>
              </a:buClr>
              <a:buFont typeface="Wingdings" panose="05000000000000000000" pitchFamily="2" charset="2"/>
              <a:buChar char="§"/>
            </a:lvl4pPr>
            <a:lvl5pPr marL="360000" indent="-180000" algn="l" defTabSz="914400" rtl="0" eaLnBrk="1" latinLnBrk="0" hangingPunct="1">
              <a:buClr>
                <a:schemeClr val="accent1"/>
              </a:buClr>
              <a:buFont typeface="Symbol" panose="05050102010706020507" pitchFamily="18" charset="2"/>
              <a:buChar char=""/>
            </a:lvl5pPr>
            <a:lvl6pPr marL="288000" indent="-288000" algn="l" defTabSz="914400" rtl="0" eaLnBrk="1" latinLnBrk="0" hangingPunct="1">
              <a:buClr>
                <a:schemeClr val="accent1"/>
              </a:buClr>
              <a:buFont typeface="Wingdings 3" panose="05040102010807070707" pitchFamily="18" charset="2"/>
              <a:buChar char=""/>
            </a:lvl6pPr>
            <a:lvl7pPr marL="288000" indent="-288000" algn="l" defTabSz="914400" rtl="0" eaLnBrk="1" latinLnBrk="0" hangingPunct="1">
              <a:buClr>
                <a:schemeClr val="accent1"/>
              </a:buClr>
              <a:buFont typeface="Wingdings 3" panose="05040102010807070707" pitchFamily="18" charset="2"/>
              <a:buChar char=""/>
            </a:lvl7pPr>
            <a:lvl8pPr marL="288000" indent="-288000" algn="l" defTabSz="914400" rtl="0" eaLnBrk="1" latinLnBrk="0" hangingPunct="1">
              <a:buClr>
                <a:schemeClr val="accent1"/>
              </a:buClr>
              <a:buFont typeface="Wingdings 3" panose="05040102010807070707" pitchFamily="18" charset="2"/>
              <a:buChar char=""/>
            </a:lvl8pPr>
            <a:lvl9pPr marL="288000" indent="-288000" algn="l" defTabSz="914400" rtl="0" eaLnBrk="1" latinLnBrk="0" hangingPunct="1">
              <a:buClr>
                <a:schemeClr val="accent1"/>
              </a:buClr>
              <a:buFont typeface="Wingdings 3" panose="05040102010807070707" pitchFamily="18" charset="2"/>
              <a:buChar char=""/>
            </a:lvl9pPr>
          </a:lstStyle>
          <a:p>
            <a:pPr marL="0" marR="0" lvl="0" indent="0" algn="l" defTabSz="914400" rtl="0" eaLnBrk="1" fontAlgn="auto" latinLnBrk="0" hangingPunct="1">
              <a:lnSpc>
                <a:spcPct val="100000"/>
              </a:lnSpc>
              <a:spcBef>
                <a:spcPts val="0"/>
              </a:spcBef>
              <a:spcAft>
                <a:spcPts val="300"/>
              </a:spcAft>
              <a:buClr>
                <a:srgbClr val="C72A34"/>
              </a:buClr>
              <a:buSzTx/>
              <a:buFont typeface="Wingdings" panose="05000000000000000000" pitchFamily="2" charset="2"/>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11" name="Pentagon 6">
            <a:extLst>
              <a:ext uri="{FF2B5EF4-FFF2-40B4-BE49-F238E27FC236}">
                <a16:creationId xmlns:a16="http://schemas.microsoft.com/office/drawing/2014/main" id="{25CBF70A-3849-4264-4BAF-B2C5EB5408AE}"/>
              </a:ext>
            </a:extLst>
          </p:cNvPr>
          <p:cNvSpPr/>
          <p:nvPr>
            <p:custDataLst>
              <p:tags r:id="rId5"/>
            </p:custDataLst>
          </p:nvPr>
        </p:nvSpPr>
        <p:spPr>
          <a:xfrm>
            <a:off x="957263" y="3010532"/>
            <a:ext cx="3492086" cy="3082764"/>
          </a:xfrm>
          <a:prstGeom prst="homePlate">
            <a:avLst>
              <a:gd name="adj" fmla="val 13929"/>
            </a:avLst>
          </a:prstGeom>
          <a:solidFill>
            <a:schemeClr val="accent2">
              <a:lumMod val="20000"/>
              <a:lumOff val="80000"/>
            </a:schemeClr>
          </a:solidFill>
          <a:ln w="12700">
            <a:solidFill>
              <a:schemeClr val="accent2">
                <a:lumMod val="20000"/>
                <a:lumOff val="8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179388" indent="-179388" algn="l" defTabSz="914400" rtl="0" eaLnBrk="1" latinLnBrk="0" hangingPunct="1">
              <a:buClr>
                <a:schemeClr val="accent1"/>
              </a:buClr>
              <a:buFont typeface="Wingdings" panose="05000000000000000000" pitchFamily="2" charset="2"/>
              <a:buChar char="§"/>
            </a:lvl1pPr>
            <a:lvl2pPr marL="179388" indent="-179388" algn="l" defTabSz="914400" rtl="0" eaLnBrk="1" latinLnBrk="0" hangingPunct="1">
              <a:buClr>
                <a:schemeClr val="accent1"/>
              </a:buClr>
              <a:buFont typeface="Wingdings" panose="05000000000000000000" pitchFamily="2" charset="2"/>
              <a:buChar char="§"/>
            </a:lvl2pPr>
            <a:lvl3pPr marL="358775" indent="-177800" algn="l" defTabSz="914400" rtl="0" eaLnBrk="1" latinLnBrk="0" hangingPunct="1">
              <a:buClr>
                <a:schemeClr val="accent1"/>
              </a:buClr>
              <a:buFont typeface="Symbol" panose="05050102010706020507" pitchFamily="18" charset="2"/>
              <a:buChar char="-"/>
            </a:lvl3pPr>
            <a:lvl4pPr marL="536575" indent="-179388" algn="l" defTabSz="914400" rtl="0" eaLnBrk="1" latinLnBrk="0" hangingPunct="1">
              <a:buClr>
                <a:schemeClr val="accent1"/>
              </a:buClr>
              <a:buFont typeface="Arial" panose="020B0604020202020204" pitchFamily="34" charset="0"/>
              <a:buChar char="•"/>
            </a:lvl4pPr>
            <a:lvl5pPr marL="2057400" indent="-228600" algn="l" defTabSz="914400" rtl="0" eaLnBrk="1" latinLnBrk="0" hangingPunct="1">
              <a:buClr>
                <a:schemeClr val="accent1"/>
              </a:buClr>
              <a:buFont typeface="Wingdings 3" panose="05040102010807070707" pitchFamily="18" charset="2"/>
              <a:buChar char=""/>
            </a:lvl5pPr>
            <a:lvl6pPr marL="2514600" indent="-228600" algn="l" defTabSz="914400" rtl="0" eaLnBrk="1" latinLnBrk="0" hangingPunct="1">
              <a:buClr>
                <a:schemeClr val="accent1"/>
              </a:buClr>
              <a:buFont typeface="Wingdings 3" panose="05040102010807070707" pitchFamily="18" charset="2"/>
              <a:buChar char=""/>
            </a:lvl6pPr>
            <a:lvl7pPr marL="2971800" indent="-228600" algn="l" defTabSz="914400" rtl="0" eaLnBrk="1" latinLnBrk="0" hangingPunct="1">
              <a:buClr>
                <a:schemeClr val="accent1"/>
              </a:buClr>
              <a:buFont typeface="Wingdings 3" panose="05040102010807070707" pitchFamily="18" charset="2"/>
              <a:buChar char=""/>
            </a:lvl7pPr>
            <a:lvl8pPr marL="3429000" indent="-228600" algn="l" defTabSz="914400" rtl="0" eaLnBrk="1" latinLnBrk="0" hangingPunct="1">
              <a:buClr>
                <a:schemeClr val="accent1"/>
              </a:buClr>
              <a:buFont typeface="Wingdings 3" panose="05040102010807070707" pitchFamily="18" charset="2"/>
              <a:buChar char=""/>
            </a:lvl8pPr>
            <a:lvl9pPr marL="3886200" indent="-228600" algn="l" defTabSz="914400" rtl="0" eaLnBrk="1" latinLnBrk="0" hangingPunct="1">
              <a:buClr>
                <a:schemeClr val="accent1"/>
              </a:buClr>
              <a:buFont typeface="Wingdings 3" panose="05040102010807070707" pitchFamily="18" charset="2"/>
              <a:buChar char=""/>
            </a:lvl9pPr>
          </a:lstStyle>
          <a:p>
            <a:pPr marL="179388" marR="0" lvl="0" indent="-179388"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endPar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179388" marR="0" lvl="0" indent="-179388"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endPar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179388" marR="0" lvl="0" indent="-179388"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r>
              <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estehende Verträge und Vereinbarungen</a:t>
            </a:r>
          </a:p>
          <a:p>
            <a:pPr marL="179388" marR="0" lvl="0" indent="-179388"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r>
              <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elegungsstatistik</a:t>
            </a:r>
          </a:p>
          <a:p>
            <a:pPr marL="179388" marR="0" lvl="0" indent="-179388"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r>
              <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Personal- und Gehaltslisten</a:t>
            </a:r>
          </a:p>
          <a:p>
            <a:pPr marL="179388" marR="0" lvl="0" indent="-179388"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r>
              <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Summen- und Saldenlisten</a:t>
            </a:r>
          </a:p>
          <a:p>
            <a:pPr marL="179388" marR="0" lvl="0" indent="-179388"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r>
              <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Wirtschaftsplanung</a:t>
            </a:r>
          </a:p>
          <a:p>
            <a:pPr marL="179388" marR="0" lvl="0" indent="-179388"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r>
              <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Dienstleistungsverträge</a:t>
            </a:r>
          </a:p>
          <a:p>
            <a:pPr marL="179388" marR="0" lvl="0" indent="-179388"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r>
              <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Kostenträgerstatistik</a:t>
            </a:r>
          </a:p>
          <a:p>
            <a:pPr marL="179388" marR="0" lvl="0" indent="-179388"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r>
              <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gf. weitere Unterlagen …</a:t>
            </a:r>
          </a:p>
          <a:p>
            <a:pPr marL="179388" marR="0" lvl="0" indent="-179388"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endPar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179388" marR="0" lvl="0" indent="-179388"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endPar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179388" marR="0" lvl="0" indent="-179388"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endPar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 name="TextBox 9">
            <a:extLst>
              <a:ext uri="{FF2B5EF4-FFF2-40B4-BE49-F238E27FC236}">
                <a16:creationId xmlns:a16="http://schemas.microsoft.com/office/drawing/2014/main" id="{E9856353-B440-B256-3481-0BEACF6D6BA6}"/>
              </a:ext>
            </a:extLst>
          </p:cNvPr>
          <p:cNvSpPr txBox="1">
            <a:spLocks/>
          </p:cNvSpPr>
          <p:nvPr>
            <p:custDataLst>
              <p:tags r:id="rId6"/>
            </p:custDataLst>
          </p:nvPr>
        </p:nvSpPr>
        <p:spPr>
          <a:xfrm>
            <a:off x="1713000" y="2848283"/>
            <a:ext cx="2124000" cy="324498"/>
          </a:xfrm>
          <a:prstGeom prst="rect">
            <a:avLst/>
          </a:prstGeom>
          <a:solidFill>
            <a:schemeClr val="accent4"/>
          </a:solidFill>
          <a:ln w="38100" cap="flat" cmpd="sng" algn="ctr">
            <a:solidFill>
              <a:schemeClr val="bg1"/>
            </a:solidFill>
            <a:prstDash val="solid"/>
            <a:round/>
            <a:headEnd type="none" w="med" len="med"/>
            <a:tailEnd type="none" w="med" len="med"/>
          </a:ln>
        </p:spPr>
        <p:txBody>
          <a:bodyPr wrap="square" lIns="0" tIns="36000" rIns="0" bIns="72000" rtlCol="0" anchor="ctr">
            <a:spAutoFit/>
          </a:bodyPr>
          <a:lstStyle>
            <a:defPPr>
              <a:defRPr lang="de-DE"/>
            </a:defPPr>
            <a:lvl1pPr>
              <a:buClr>
                <a:schemeClr val="tx1"/>
              </a:buClr>
              <a:buFont typeface="Wingdings 2" panose="05020102010507070707" pitchFamily="18" charset="2"/>
              <a:buNone/>
              <a:defRPr sz="1400" cap="all">
                <a:solidFill>
                  <a:schemeClr val="accent1"/>
                </a:solidFill>
                <a:latin typeface="Arial"/>
              </a:defRPr>
            </a:lvl1pPr>
          </a:lstStyle>
          <a:p>
            <a:pPr marL="0" marR="0" lvl="0" indent="0" algn="ctr" defTabSz="457200" rtl="0" eaLnBrk="1" fontAlgn="auto" latinLnBrk="0" hangingPunct="1">
              <a:lnSpc>
                <a:spcPct val="100000"/>
              </a:lnSpc>
              <a:spcBef>
                <a:spcPts val="0"/>
              </a:spcBef>
              <a:spcAft>
                <a:spcPts val="0"/>
              </a:spcAft>
              <a:buClr>
                <a:srgbClr val="404040"/>
              </a:buClr>
              <a:buSzTx/>
              <a:buFont typeface="Wingdings 2" panose="05020102010507070707" pitchFamily="18" charset="2"/>
              <a:buNone/>
              <a:tabLst/>
              <a:defRPr/>
            </a:pPr>
            <a:r>
              <a:rPr kumimoji="0" lang="de-DE" sz="1400" b="0" i="0" u="none" strike="noStrike" kern="1200" cap="all" spc="0" normalizeH="0" baseline="0" noProof="0">
                <a:ln>
                  <a:noFill/>
                </a:ln>
                <a:solidFill>
                  <a:srgbClr val="404040"/>
                </a:solidFill>
                <a:effectLst/>
                <a:uLnTx/>
                <a:uFillTx/>
                <a:latin typeface="Arial"/>
                <a:ea typeface="+mn-ea"/>
                <a:cs typeface="+mn-cs"/>
              </a:rPr>
              <a:t>Unterlagen</a:t>
            </a:r>
          </a:p>
        </p:txBody>
      </p:sp>
      <p:sp>
        <p:nvSpPr>
          <p:cNvPr id="14" name="Pentagon 6">
            <a:extLst>
              <a:ext uri="{FF2B5EF4-FFF2-40B4-BE49-F238E27FC236}">
                <a16:creationId xmlns:a16="http://schemas.microsoft.com/office/drawing/2014/main" id="{0CA0E40F-B397-37CE-8D0F-423AC270C982}"/>
              </a:ext>
            </a:extLst>
          </p:cNvPr>
          <p:cNvSpPr/>
          <p:nvPr>
            <p:custDataLst>
              <p:tags r:id="rId7"/>
            </p:custDataLst>
          </p:nvPr>
        </p:nvSpPr>
        <p:spPr>
          <a:xfrm flipH="1">
            <a:off x="5457000" y="3010532"/>
            <a:ext cx="3491739" cy="3082764"/>
          </a:xfrm>
          <a:prstGeom prst="homePlate">
            <a:avLst>
              <a:gd name="adj" fmla="val 13929"/>
            </a:avLst>
          </a:prstGeom>
          <a:solidFill>
            <a:schemeClr val="accent2">
              <a:lumMod val="20000"/>
              <a:lumOff val="80000"/>
            </a:schemeClr>
          </a:solidFill>
          <a:ln w="12700">
            <a:solidFill>
              <a:schemeClr val="accent2">
                <a:lumMod val="20000"/>
                <a:lumOff val="8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0" tIns="45720" rIns="90000" bIns="45720" numCol="1" spcCol="0" rtlCol="0" fromWordArt="0" anchor="t" anchorCtr="0" forceAA="0" compatLnSpc="1">
            <a:prstTxWarp prst="textNoShape">
              <a:avLst/>
            </a:prstTxWarp>
            <a:noAutofit/>
          </a:bodyPr>
          <a:lstStyle>
            <a:lvl1pPr marL="179388" indent="-179388" algn="l" defTabSz="914400" rtl="0" eaLnBrk="1" latinLnBrk="0" hangingPunct="1">
              <a:buClr>
                <a:schemeClr val="accent1"/>
              </a:buClr>
              <a:buFont typeface="Wingdings" panose="05000000000000000000" pitchFamily="2" charset="2"/>
              <a:buChar char="§"/>
            </a:lvl1pPr>
            <a:lvl2pPr marL="179388" indent="-179388" algn="l" defTabSz="914400" rtl="0" eaLnBrk="1" latinLnBrk="0" hangingPunct="1">
              <a:buClr>
                <a:schemeClr val="accent1"/>
              </a:buClr>
              <a:buFont typeface="Wingdings" panose="05000000000000000000" pitchFamily="2" charset="2"/>
              <a:buChar char="§"/>
            </a:lvl2pPr>
            <a:lvl3pPr marL="358775" indent="-177800" algn="l" defTabSz="914400" rtl="0" eaLnBrk="1" latinLnBrk="0" hangingPunct="1">
              <a:buClr>
                <a:schemeClr val="accent1"/>
              </a:buClr>
              <a:buFont typeface="Symbol" panose="05050102010706020507" pitchFamily="18" charset="2"/>
              <a:buChar char="-"/>
            </a:lvl3pPr>
            <a:lvl4pPr marL="536575" indent="-179388" algn="l" defTabSz="914400" rtl="0" eaLnBrk="1" latinLnBrk="0" hangingPunct="1">
              <a:buClr>
                <a:schemeClr val="accent1"/>
              </a:buClr>
              <a:buFont typeface="Arial" panose="020B0604020202020204" pitchFamily="34" charset="0"/>
              <a:buChar char="•"/>
            </a:lvl4pPr>
            <a:lvl5pPr marL="2057400" indent="-228600" algn="l" defTabSz="914400" rtl="0" eaLnBrk="1" latinLnBrk="0" hangingPunct="1">
              <a:buClr>
                <a:schemeClr val="accent1"/>
              </a:buClr>
              <a:buFont typeface="Wingdings 3" panose="05040102010807070707" pitchFamily="18" charset="2"/>
              <a:buChar char=""/>
            </a:lvl5pPr>
            <a:lvl6pPr marL="2514600" indent="-228600" algn="l" defTabSz="914400" rtl="0" eaLnBrk="1" latinLnBrk="0" hangingPunct="1">
              <a:buClr>
                <a:schemeClr val="accent1"/>
              </a:buClr>
              <a:buFont typeface="Wingdings 3" panose="05040102010807070707" pitchFamily="18" charset="2"/>
              <a:buChar char=""/>
            </a:lvl6pPr>
            <a:lvl7pPr marL="2971800" indent="-228600" algn="l" defTabSz="914400" rtl="0" eaLnBrk="1" latinLnBrk="0" hangingPunct="1">
              <a:buClr>
                <a:schemeClr val="accent1"/>
              </a:buClr>
              <a:buFont typeface="Wingdings 3" panose="05040102010807070707" pitchFamily="18" charset="2"/>
              <a:buChar char=""/>
            </a:lvl7pPr>
            <a:lvl8pPr marL="3429000" indent="-228600" algn="l" defTabSz="914400" rtl="0" eaLnBrk="1" latinLnBrk="0" hangingPunct="1">
              <a:buClr>
                <a:schemeClr val="accent1"/>
              </a:buClr>
              <a:buFont typeface="Wingdings 3" panose="05040102010807070707" pitchFamily="18" charset="2"/>
              <a:buChar char=""/>
            </a:lvl8pPr>
            <a:lvl9pPr marL="3886200" indent="-228600" algn="l" defTabSz="914400" rtl="0" eaLnBrk="1" latinLnBrk="0" hangingPunct="1">
              <a:buClr>
                <a:schemeClr val="accent1"/>
              </a:buClr>
              <a:buFont typeface="Wingdings 3" panose="05040102010807070707" pitchFamily="18" charset="2"/>
              <a:buChar char=""/>
            </a:lvl9pPr>
          </a:lstStyle>
          <a:p>
            <a:pPr marL="179388" marR="0" lvl="0" indent="-179388"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endPar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179388" marR="0" lvl="0" indent="-179388"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endPar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179388" marR="0" lvl="0" indent="-179388"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r>
              <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erechnung der prospektiven Belegungs- und Kostenstruktur unter Annahme künftiger Kostenentwicklungen</a:t>
            </a:r>
          </a:p>
          <a:p>
            <a:pPr marL="179388" marR="0" lvl="0" indent="-179388"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r>
              <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Prüfung zu erfüllender gesetzlicher oder heimrechtlicher Mindestvorgaben, bspw. Personalmengen oder Gehälter – </a:t>
            </a:r>
            <a:r>
              <a:rPr kumimoji="0" lang="de-DE"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retrospektiv und prospektiv!</a:t>
            </a:r>
          </a:p>
          <a:p>
            <a:pPr marL="179388" marR="0" lvl="0" indent="-179388"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r>
              <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ewertung der errechneten Kosten vor dem Hintergrund der Erfolgsaussichten</a:t>
            </a:r>
          </a:p>
        </p:txBody>
      </p:sp>
      <p:sp>
        <p:nvSpPr>
          <p:cNvPr id="18" name="TextBox 9">
            <a:extLst>
              <a:ext uri="{FF2B5EF4-FFF2-40B4-BE49-F238E27FC236}">
                <a16:creationId xmlns:a16="http://schemas.microsoft.com/office/drawing/2014/main" id="{612382DF-59D7-11AB-0D96-89B0CBCE5C39}"/>
              </a:ext>
            </a:extLst>
          </p:cNvPr>
          <p:cNvSpPr txBox="1">
            <a:spLocks/>
          </p:cNvSpPr>
          <p:nvPr>
            <p:custDataLst>
              <p:tags r:id="rId8"/>
            </p:custDataLst>
          </p:nvPr>
        </p:nvSpPr>
        <p:spPr>
          <a:xfrm>
            <a:off x="6105000" y="2837254"/>
            <a:ext cx="2124000" cy="324498"/>
          </a:xfrm>
          <a:prstGeom prst="rect">
            <a:avLst/>
          </a:prstGeom>
          <a:solidFill>
            <a:schemeClr val="accent4"/>
          </a:solidFill>
          <a:ln w="38100" cap="flat" cmpd="sng" algn="ctr">
            <a:solidFill>
              <a:schemeClr val="bg1"/>
            </a:solidFill>
            <a:prstDash val="solid"/>
            <a:round/>
            <a:headEnd type="none" w="med" len="med"/>
            <a:tailEnd type="none" w="med" len="med"/>
          </a:ln>
        </p:spPr>
        <p:txBody>
          <a:bodyPr wrap="square" lIns="0" tIns="36000" rIns="0" bIns="72000" rtlCol="0" anchor="ctr">
            <a:spAutoFit/>
          </a:bodyPr>
          <a:lstStyle>
            <a:defPPr>
              <a:defRPr lang="de-DE"/>
            </a:defPPr>
            <a:lvl1pPr algn="ctr">
              <a:buClr>
                <a:schemeClr val="tx1"/>
              </a:buClr>
              <a:buFont typeface="Wingdings 2" panose="05020102010507070707" pitchFamily="18" charset="2"/>
              <a:buNone/>
              <a:defRPr sz="1400" cap="all">
                <a:solidFill>
                  <a:schemeClr val="bg1"/>
                </a:solidFill>
                <a:latin typeface="Arial"/>
              </a:defRPr>
            </a:lvl1pPr>
          </a:lstStyle>
          <a:p>
            <a:pPr marL="0" marR="0" lvl="0" indent="0" algn="ctr" defTabSz="457200" rtl="0" eaLnBrk="1" fontAlgn="auto" latinLnBrk="0" hangingPunct="1">
              <a:lnSpc>
                <a:spcPct val="100000"/>
              </a:lnSpc>
              <a:spcBef>
                <a:spcPts val="0"/>
              </a:spcBef>
              <a:spcAft>
                <a:spcPts val="0"/>
              </a:spcAft>
              <a:buClr>
                <a:srgbClr val="404040"/>
              </a:buClr>
              <a:buSzTx/>
              <a:buFont typeface="Wingdings 2" panose="05020102010507070707" pitchFamily="18" charset="2"/>
              <a:buNone/>
              <a:tabLst/>
              <a:defRPr/>
            </a:pPr>
            <a:r>
              <a:rPr kumimoji="0" lang="de-DE" sz="1400" b="0" i="0" u="none" strike="noStrike" kern="1200" cap="all" spc="0" normalizeH="0" baseline="0" noProof="0">
                <a:ln>
                  <a:noFill/>
                </a:ln>
                <a:solidFill>
                  <a:srgbClr val="404040"/>
                </a:solidFill>
                <a:effectLst/>
                <a:uLnTx/>
                <a:uFillTx/>
                <a:latin typeface="Arial"/>
                <a:ea typeface="+mn-ea"/>
                <a:cs typeface="+mn-cs"/>
              </a:rPr>
              <a:t>Vorbereitung</a:t>
            </a:r>
          </a:p>
        </p:txBody>
      </p:sp>
      <p:sp>
        <p:nvSpPr>
          <p:cNvPr id="19" name="Ellipse 18">
            <a:extLst>
              <a:ext uri="{FF2B5EF4-FFF2-40B4-BE49-F238E27FC236}">
                <a16:creationId xmlns:a16="http://schemas.microsoft.com/office/drawing/2014/main" id="{7570DB02-B800-34EA-484B-1B985EB12033}"/>
              </a:ext>
            </a:extLst>
          </p:cNvPr>
          <p:cNvSpPr/>
          <p:nvPr>
            <p:custDataLst>
              <p:tags r:id="rId9"/>
            </p:custDataLst>
          </p:nvPr>
        </p:nvSpPr>
        <p:spPr>
          <a:xfrm>
            <a:off x="3791475" y="3351422"/>
            <a:ext cx="2304000" cy="2304000"/>
          </a:xfrm>
          <a:prstGeom prst="ellipse">
            <a:avLst/>
          </a:prstGeom>
          <a:solidFill>
            <a:schemeClr val="bg1"/>
          </a:solidFill>
          <a:ln w="12700">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marR="0" lvl="0" indent="-179388" algn="ctr" defTabSz="457200" rtl="0" eaLnBrk="1" fontAlgn="auto" latinLnBrk="0" hangingPunct="1">
              <a:lnSpc>
                <a:spcPct val="100000"/>
              </a:lnSpc>
              <a:spcBef>
                <a:spcPts val="0"/>
              </a:spcBef>
              <a:spcAft>
                <a:spcPts val="0"/>
              </a:spcAft>
              <a:buClr>
                <a:srgbClr val="404040"/>
              </a:buClr>
              <a:buSzPct val="100000"/>
              <a:buFont typeface="Wingdings 2" panose="05020102010507070707" pitchFamily="18" charset="2"/>
              <a:buChar char=""/>
              <a:tabLst/>
              <a:defRPr/>
            </a:pPr>
            <a:endParaRPr kumimoji="0" lang="de-DE" sz="1400" b="0" i="0" u="none" strike="noStrike" kern="1200" cap="none" spc="0" normalizeH="0" baseline="0" noProof="0" err="1">
              <a:ln>
                <a:noFill/>
              </a:ln>
              <a:solidFill>
                <a:srgbClr val="404040"/>
              </a:solidFill>
              <a:effectLst/>
              <a:uLnTx/>
              <a:uFillTx/>
              <a:latin typeface="Arial"/>
              <a:ea typeface="+mn-ea"/>
              <a:cs typeface="+mn-cs"/>
            </a:endParaRPr>
          </a:p>
        </p:txBody>
      </p:sp>
      <p:sp>
        <p:nvSpPr>
          <p:cNvPr id="20" name="Ellipse 19">
            <a:extLst>
              <a:ext uri="{FF2B5EF4-FFF2-40B4-BE49-F238E27FC236}">
                <a16:creationId xmlns:a16="http://schemas.microsoft.com/office/drawing/2014/main" id="{2BF57852-6656-1E3E-E518-19FCC0BD8032}"/>
              </a:ext>
            </a:extLst>
          </p:cNvPr>
          <p:cNvSpPr/>
          <p:nvPr>
            <p:custDataLst>
              <p:tags r:id="rId10"/>
            </p:custDataLst>
          </p:nvPr>
        </p:nvSpPr>
        <p:spPr>
          <a:xfrm>
            <a:off x="3935475" y="3495422"/>
            <a:ext cx="2016000" cy="2016000"/>
          </a:xfrm>
          <a:prstGeom prst="ellipse">
            <a:avLst/>
          </a:prstGeom>
          <a:solidFill>
            <a:schemeClr val="accent1"/>
          </a:solidFill>
          <a:ln w="12700">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prstClr val="white"/>
                </a:solidFill>
                <a:effectLst/>
                <a:uLnTx/>
                <a:uFillTx/>
                <a:latin typeface="Arial"/>
                <a:ea typeface="+mn-ea"/>
                <a:cs typeface="+mn-cs"/>
              </a:rPr>
              <a:t>Headline</a:t>
            </a:r>
            <a:br>
              <a:rPr kumimoji="0" lang="de-DE" sz="1400" b="1" i="0" u="none" strike="noStrike" kern="1200" cap="none" spc="0" normalizeH="0" baseline="0" noProof="0">
                <a:ln>
                  <a:noFill/>
                </a:ln>
                <a:solidFill>
                  <a:prstClr val="white"/>
                </a:solidFill>
                <a:effectLst/>
                <a:uLnTx/>
                <a:uFillTx/>
                <a:latin typeface="Arial"/>
                <a:ea typeface="+mn-ea"/>
                <a:cs typeface="+mn-cs"/>
              </a:rPr>
            </a:br>
            <a:r>
              <a:rPr kumimoji="0" lang="de-DE" sz="1400" b="1" i="0" u="none" strike="noStrike" kern="1200" cap="none" spc="0" normalizeH="0" baseline="0" noProof="0" err="1">
                <a:ln>
                  <a:noFill/>
                </a:ln>
                <a:solidFill>
                  <a:prstClr val="white"/>
                </a:solidFill>
                <a:effectLst/>
                <a:uLnTx/>
                <a:uFillTx/>
                <a:latin typeface="Arial"/>
                <a:ea typeface="+mn-ea"/>
                <a:cs typeface="+mn-cs"/>
              </a:rPr>
              <a:t>or</a:t>
            </a:r>
            <a:r>
              <a:rPr kumimoji="0" lang="de-DE" sz="1400" b="1" i="0" u="none" strike="noStrike" kern="1200" cap="none" spc="0" normalizeH="0" baseline="0" noProof="0">
                <a:ln>
                  <a:noFill/>
                </a:ln>
                <a:solidFill>
                  <a:prstClr val="white"/>
                </a:solidFill>
                <a:effectLst/>
                <a:uLnTx/>
                <a:uFillTx/>
                <a:latin typeface="Arial"/>
                <a:ea typeface="+mn-ea"/>
                <a:cs typeface="+mn-cs"/>
              </a:rPr>
              <a:t> Icon</a:t>
            </a:r>
          </a:p>
        </p:txBody>
      </p:sp>
      <p:sp>
        <p:nvSpPr>
          <p:cNvPr id="24" name="Rechteck 23">
            <a:extLst>
              <a:ext uri="{FF2B5EF4-FFF2-40B4-BE49-F238E27FC236}">
                <a16:creationId xmlns:a16="http://schemas.microsoft.com/office/drawing/2014/main" id="{A7FEB7EF-5C8D-39E5-E918-D0EA73EF85F5}"/>
              </a:ext>
            </a:extLst>
          </p:cNvPr>
          <p:cNvSpPr/>
          <p:nvPr>
            <p:custDataLst>
              <p:tags r:id="rId11"/>
            </p:custDataLst>
          </p:nvPr>
        </p:nvSpPr>
        <p:spPr>
          <a:xfrm>
            <a:off x="956557" y="1556793"/>
            <a:ext cx="7992182" cy="718943"/>
          </a:xfrm>
          <a:prstGeom prst="rect">
            <a:avLst/>
          </a:prstGeom>
          <a:solidFill>
            <a:schemeClr val="lt1"/>
          </a:solidFill>
          <a:ln w="38100" cap="flat" cmpd="sng" algn="ctr">
            <a:solidFill>
              <a:schemeClr val="dk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
                <a:srgbClr val="404040"/>
              </a:buClr>
              <a:buSzPct val="100000"/>
              <a:buFontTx/>
              <a:buNone/>
              <a:tabLst/>
              <a:defRPr/>
            </a:pPr>
            <a:r>
              <a:rPr kumimoji="0" lang="de-DE" sz="1400" b="1" i="0" u="none" strike="noStrike" kern="1200" cap="none" spc="0" normalizeH="0" baseline="0" noProof="0">
                <a:ln>
                  <a:noFill/>
                </a:ln>
                <a:solidFill>
                  <a:srgbClr val="000000"/>
                </a:solidFill>
                <a:effectLst/>
                <a:uLnTx/>
                <a:uFillTx/>
                <a:latin typeface="Arial" panose="020B0604020202020204" pitchFamily="34" charset="0"/>
                <a:ea typeface="+mn-ea"/>
                <a:cs typeface="+mn-cs"/>
              </a:rPr>
              <a:t>Grundsätzlich gilt: Die angebotenen Leistungen sollen angemessen und leistungsgerecht vergütet werden!</a:t>
            </a:r>
          </a:p>
        </p:txBody>
      </p:sp>
      <p:sp>
        <p:nvSpPr>
          <p:cNvPr id="25" name="Triangle blackberry">
            <a:extLst>
              <a:ext uri="{FF2B5EF4-FFF2-40B4-BE49-F238E27FC236}">
                <a16:creationId xmlns:a16="http://schemas.microsoft.com/office/drawing/2014/main" id="{01F4FEF9-224D-4AC9-4B2A-1C10887BF162}"/>
              </a:ext>
            </a:extLst>
          </p:cNvPr>
          <p:cNvSpPr/>
          <p:nvPr>
            <p:custDataLst>
              <p:tags r:id="rId12"/>
            </p:custDataLst>
          </p:nvPr>
        </p:nvSpPr>
        <p:spPr>
          <a:xfrm rot="10800000" flipH="1">
            <a:off x="3152400" y="2275735"/>
            <a:ext cx="3580625" cy="433184"/>
          </a:xfrm>
          <a:prstGeom prst="triangle">
            <a:avLst/>
          </a:prstGeom>
          <a:solidFill>
            <a:schemeClr val="dk2"/>
          </a:solidFill>
          <a:ln w="12700" cap="flat" cmpd="sng" algn="ctr">
            <a:solidFill>
              <a:schemeClr val="dk2"/>
            </a:solidFill>
            <a:prstDash val="solid"/>
            <a:round/>
            <a:headEnd type="none" w="med" len="med"/>
            <a:tailEnd type="none" w="med" len="med"/>
          </a:ln>
          <a:effectLst/>
          <a:extLst>
            <a:ext uri="{AF507438-7753-43E0-B8FC-AC1667EBCBE1}">
              <a14:hiddenEffects xmlns:a14="http://schemas.microsoft.com/office/drawing/2010/main">
                <a:effectLst>
                  <a:outerShdw blurRad="50800" dist="38100" dir="2700000" algn="tl" rotWithShape="0">
                    <a:prstClr val="black">
                      <a:alpha val="40000"/>
                    </a:prst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pic>
        <p:nvPicPr>
          <p:cNvPr id="26" name="Händeschütteln_Fläche_Hintergrund">
            <a:extLst>
              <a:ext uri="{FF2B5EF4-FFF2-40B4-BE49-F238E27FC236}">
                <a16:creationId xmlns:a16="http://schemas.microsoft.com/office/drawing/2014/main" id="{104F60AB-3C81-8346-08D2-C95AFB069BD8}"/>
              </a:ext>
            </a:extLst>
          </p:cNvPr>
          <p:cNvPicPr>
            <a:picLocks noChangeAspect="1"/>
          </p:cNvPicPr>
          <p:nvPr>
            <p:custDataLst>
              <p:tags r:id="rId13"/>
            </p:custDataLst>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330730" y="3891478"/>
            <a:ext cx="1223963" cy="1223963"/>
          </a:xfrm>
          <a:prstGeom prst="rect">
            <a:avLst/>
          </a:prstGeom>
        </p:spPr>
      </p:pic>
      <p:pic>
        <p:nvPicPr>
          <p:cNvPr id="27" name="Kugelschreiber_Kreis">
            <a:extLst>
              <a:ext uri="{FF2B5EF4-FFF2-40B4-BE49-F238E27FC236}">
                <a16:creationId xmlns:a16="http://schemas.microsoft.com/office/drawing/2014/main" id="{FDA2BAB1-9D12-9120-EA5E-77EA7F5E6263}"/>
              </a:ext>
            </a:extLst>
          </p:cNvPr>
          <p:cNvPicPr>
            <a:picLocks noChangeAspect="1"/>
          </p:cNvPicPr>
          <p:nvPr>
            <p:custDataLst>
              <p:tags r:id="rId14"/>
            </p:custDataLst>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56187" y="2729503"/>
            <a:ext cx="540000" cy="540000"/>
          </a:xfrm>
          <a:prstGeom prst="rect">
            <a:avLst/>
          </a:prstGeom>
        </p:spPr>
      </p:pic>
      <p:pic>
        <p:nvPicPr>
          <p:cNvPr id="28" name="Klemmbrett_Kreis">
            <a:extLst>
              <a:ext uri="{FF2B5EF4-FFF2-40B4-BE49-F238E27FC236}">
                <a16:creationId xmlns:a16="http://schemas.microsoft.com/office/drawing/2014/main" id="{906FC41C-22D5-628D-9E5D-7B9D5AEE920D}"/>
              </a:ext>
            </a:extLst>
          </p:cNvPr>
          <p:cNvPicPr>
            <a:picLocks noChangeAspect="1"/>
          </p:cNvPicPr>
          <p:nvPr>
            <p:custDataLst>
              <p:tags r:id="rId15"/>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345813" y="2729503"/>
            <a:ext cx="540000" cy="540000"/>
          </a:xfrm>
          <a:prstGeom prst="rect">
            <a:avLst/>
          </a:prstGeom>
        </p:spPr>
      </p:pic>
    </p:spTree>
    <p:custDataLst>
      <p:tags r:id="rId1"/>
    </p:custDataLst>
    <p:extLst>
      <p:ext uri="{BB962C8B-B14F-4D97-AF65-F5344CB8AC3E}">
        <p14:creationId xmlns:p14="http://schemas.microsoft.com/office/powerpoint/2010/main" val="1919019067"/>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0C616-273A-334F-4A26-5AAEF73E2F96}"/>
            </a:ext>
          </a:extLst>
        </p:cNvPr>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3F2418D-779D-5FEC-C0E5-2B1B591D7C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532" imgH="530" progId="TCLayout.ActiveDocument.1">
                  <p:embed/>
                </p:oleObj>
              </mc:Choice>
              <mc:Fallback>
                <p:oleObj name="think-cell Folie" r:id="rId6" imgW="532" imgH="530" progId="TCLayout.ActiveDocument.1">
                  <p:embed/>
                  <p:pic>
                    <p:nvPicPr>
                      <p:cNvPr id="8" name="Objekt 7" hidden="1">
                        <a:extLst>
                          <a:ext uri="{FF2B5EF4-FFF2-40B4-BE49-F238E27FC236}">
                            <a16:creationId xmlns:a16="http://schemas.microsoft.com/office/drawing/2014/main" id="{13F2418D-779D-5FEC-C0E5-2B1B591D7C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3C42E7E2-00F2-DCDE-CAB3-9252837FF3E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3" name="Title 2">
            <a:extLst>
              <a:ext uri="{FF2B5EF4-FFF2-40B4-BE49-F238E27FC236}">
                <a16:creationId xmlns:a16="http://schemas.microsoft.com/office/drawing/2014/main" id="{224E7882-D4A7-67E4-34EE-55532F800AE5}"/>
              </a:ext>
            </a:extLst>
          </p:cNvPr>
          <p:cNvSpPr>
            <a:spLocks noGrp="1"/>
          </p:cNvSpPr>
          <p:nvPr>
            <p:ph type="title"/>
          </p:nvPr>
        </p:nvSpPr>
        <p:spPr/>
        <p:txBody>
          <a:bodyPr vert="horz"/>
          <a:lstStyle/>
          <a:p>
            <a:r>
              <a:rPr lang="de-DE"/>
              <a:t>Wie sollte eine Pflegesatzverhandlung zeitlich und inhaltlich geplant werden?</a:t>
            </a:r>
            <a:br>
              <a:rPr lang="de-DE"/>
            </a:br>
            <a:endParaRPr lang="de-DE">
              <a:solidFill>
                <a:srgbClr val="C72A34"/>
              </a:solidFill>
            </a:endParaRPr>
          </a:p>
        </p:txBody>
      </p:sp>
      <p:sp>
        <p:nvSpPr>
          <p:cNvPr id="5" name="Textplatzhalter 4">
            <a:extLst>
              <a:ext uri="{FF2B5EF4-FFF2-40B4-BE49-F238E27FC236}">
                <a16:creationId xmlns:a16="http://schemas.microsoft.com/office/drawing/2014/main" id="{D9678BEA-66CE-837E-93BF-4FF0D0BE95EE}"/>
              </a:ext>
            </a:extLst>
          </p:cNvPr>
          <p:cNvSpPr>
            <a:spLocks noGrp="1"/>
          </p:cNvSpPr>
          <p:nvPr>
            <p:ph type="body" sz="quarter" idx="13"/>
          </p:nvPr>
        </p:nvSpPr>
        <p:spPr/>
        <p:txBody>
          <a:bodyPr/>
          <a:lstStyle/>
          <a:p>
            <a:r>
              <a:rPr lang="de-DE"/>
              <a:t>Datenqualität</a:t>
            </a:r>
            <a:r>
              <a:rPr lang="de-DE">
                <a:solidFill>
                  <a:srgbClr val="C72A34"/>
                </a:solidFill>
              </a:rPr>
              <a:t> </a:t>
            </a:r>
            <a:r>
              <a:rPr lang="de-DE"/>
              <a:t>&amp; -verfügbarkeit</a:t>
            </a:r>
          </a:p>
        </p:txBody>
      </p:sp>
      <p:sp>
        <p:nvSpPr>
          <p:cNvPr id="37" name="MIO_OBJECT3">
            <a:extLst>
              <a:ext uri="{FF2B5EF4-FFF2-40B4-BE49-F238E27FC236}">
                <a16:creationId xmlns:a16="http://schemas.microsoft.com/office/drawing/2014/main" id="{01EE7021-B147-6D40-80F7-55308B910DA5}"/>
              </a:ext>
            </a:extLst>
          </p:cNvPr>
          <p:cNvSpPr/>
          <p:nvPr/>
        </p:nvSpPr>
        <p:spPr>
          <a:xfrm>
            <a:off x="345512" y="3626558"/>
            <a:ext cx="1440000" cy="574701"/>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square" lIns="71988" tIns="45712" rIns="91424" bIns="45712" anchor="ctr" anchorCtr="1">
            <a:noAutofit/>
          </a:bodyPr>
          <a:lstStyle/>
          <a:p>
            <a:pPr marL="0" marR="0" lvl="0" indent="0" algn="ctr" defTabSz="457200" rtl="0" eaLnBrk="0" fontAlgn="auto" latinLnBrk="0" hangingPunct="0">
              <a:lnSpc>
                <a:spcPct val="100000"/>
              </a:lnSpc>
              <a:spcBef>
                <a:spcPts val="0"/>
              </a:spcBef>
              <a:spcAft>
                <a:spcPts val="417"/>
              </a:spcAft>
              <a:buClrTx/>
              <a:buSzTx/>
              <a:buFontTx/>
              <a:buNone/>
              <a:tabLst/>
              <a:defRPr/>
            </a:pPr>
            <a:r>
              <a:rPr kumimoji="0" lang="de-DE" sz="1400" b="0" i="0" u="none" strike="noStrike" kern="1200" cap="none" spc="0" normalizeH="0" baseline="0" noProof="0">
                <a:ln>
                  <a:noFill/>
                </a:ln>
                <a:solidFill>
                  <a:prstClr val="white"/>
                </a:solidFill>
                <a:effectLst/>
                <a:uLnTx/>
                <a:uFillTx/>
                <a:latin typeface="Arial" panose="020B0604020202020204" pitchFamily="34" charset="0"/>
                <a:ea typeface="+mn-ea"/>
                <a:cs typeface="+mn-cs"/>
              </a:rPr>
              <a:t>1. Schritt</a:t>
            </a:r>
          </a:p>
        </p:txBody>
      </p:sp>
      <p:sp>
        <p:nvSpPr>
          <p:cNvPr id="41" name="MIO_OBJECT3">
            <a:extLst>
              <a:ext uri="{FF2B5EF4-FFF2-40B4-BE49-F238E27FC236}">
                <a16:creationId xmlns:a16="http://schemas.microsoft.com/office/drawing/2014/main" id="{153E9963-655D-D668-AE36-8945F46F0B34}"/>
              </a:ext>
            </a:extLst>
          </p:cNvPr>
          <p:cNvSpPr/>
          <p:nvPr/>
        </p:nvSpPr>
        <p:spPr>
          <a:xfrm>
            <a:off x="1893815" y="3626558"/>
            <a:ext cx="1440000" cy="574701"/>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square" lIns="71988" tIns="45712" rIns="91424" bIns="45712" anchor="ctr" anchorCtr="1">
            <a:noAutofit/>
          </a:bodyPr>
          <a:lstStyle/>
          <a:p>
            <a:pPr marL="0" marR="0" lvl="0" indent="0" algn="ctr" defTabSz="457200" rtl="0" eaLnBrk="0" fontAlgn="auto" latinLnBrk="0" hangingPunct="0">
              <a:lnSpc>
                <a:spcPct val="100000"/>
              </a:lnSpc>
              <a:spcBef>
                <a:spcPts val="0"/>
              </a:spcBef>
              <a:spcAft>
                <a:spcPts val="417"/>
              </a:spcAft>
              <a:buClrTx/>
              <a:buSzTx/>
              <a:buFontTx/>
              <a:buNone/>
              <a:tabLst/>
              <a:defRPr/>
            </a:pPr>
            <a:r>
              <a:rPr kumimoji="0" lang="de-DE" sz="1400" b="0" i="0" u="none" strike="noStrike" kern="1200" cap="none" spc="0" normalizeH="0" baseline="0" noProof="0">
                <a:ln>
                  <a:noFill/>
                </a:ln>
                <a:solidFill>
                  <a:prstClr val="white"/>
                </a:solidFill>
                <a:effectLst/>
                <a:uLnTx/>
                <a:uFillTx/>
                <a:latin typeface="Arial" panose="020B0604020202020204" pitchFamily="34" charset="0"/>
                <a:ea typeface="+mn-ea"/>
                <a:cs typeface="+mn-cs"/>
              </a:rPr>
              <a:t>2. Schritt</a:t>
            </a:r>
          </a:p>
        </p:txBody>
      </p:sp>
      <p:sp>
        <p:nvSpPr>
          <p:cNvPr id="44" name="MIO_OBJECT3">
            <a:extLst>
              <a:ext uri="{FF2B5EF4-FFF2-40B4-BE49-F238E27FC236}">
                <a16:creationId xmlns:a16="http://schemas.microsoft.com/office/drawing/2014/main" id="{B1A4AA99-A534-9319-6188-B0BC31EB369E}"/>
              </a:ext>
            </a:extLst>
          </p:cNvPr>
          <p:cNvSpPr/>
          <p:nvPr/>
        </p:nvSpPr>
        <p:spPr>
          <a:xfrm>
            <a:off x="3441813" y="3626558"/>
            <a:ext cx="1440000" cy="574701"/>
          </a:xfrm>
          <a:prstGeom prst="rect">
            <a:avLst/>
          </a:prstGeom>
          <a:solidFill>
            <a:srgbClr val="E78A03"/>
          </a:solidFill>
          <a:ln>
            <a:headEnd/>
            <a:tailEnd/>
          </a:ln>
        </p:spPr>
        <p:style>
          <a:lnRef idx="1">
            <a:schemeClr val="accent3"/>
          </a:lnRef>
          <a:fillRef idx="3">
            <a:schemeClr val="accent3"/>
          </a:fillRef>
          <a:effectRef idx="2">
            <a:schemeClr val="accent3"/>
          </a:effectRef>
          <a:fontRef idx="minor">
            <a:schemeClr val="lt1"/>
          </a:fontRef>
        </p:style>
        <p:txBody>
          <a:bodyPr wrap="square" lIns="71988" tIns="45712" rIns="91424" bIns="45712" anchor="ctr" anchorCtr="1">
            <a:noAutofit/>
          </a:bodyPr>
          <a:lstStyle/>
          <a:p>
            <a:pPr marL="0" marR="0" lvl="0" indent="0" algn="ctr" defTabSz="457200" rtl="0" eaLnBrk="0" fontAlgn="auto" latinLnBrk="0" hangingPunct="0">
              <a:lnSpc>
                <a:spcPct val="100000"/>
              </a:lnSpc>
              <a:spcBef>
                <a:spcPts val="0"/>
              </a:spcBef>
              <a:spcAft>
                <a:spcPts val="417"/>
              </a:spcAft>
              <a:buClrTx/>
              <a:buSzTx/>
              <a:buFontTx/>
              <a:buNone/>
              <a:tabLst/>
              <a:defRPr/>
            </a:pPr>
            <a:r>
              <a:rPr kumimoji="0" lang="de-DE" sz="1400" b="0" i="0" u="none" strike="noStrike" kern="1200" cap="none" spc="0" normalizeH="0" baseline="0" noProof="0">
                <a:ln>
                  <a:noFill/>
                </a:ln>
                <a:solidFill>
                  <a:prstClr val="white"/>
                </a:solidFill>
                <a:effectLst/>
                <a:uLnTx/>
                <a:uFillTx/>
                <a:latin typeface="Arial" panose="020B0604020202020204" pitchFamily="34" charset="0"/>
                <a:ea typeface="+mn-ea"/>
                <a:cs typeface="+mn-cs"/>
              </a:rPr>
              <a:t>3. Schritt</a:t>
            </a:r>
          </a:p>
        </p:txBody>
      </p:sp>
      <p:sp>
        <p:nvSpPr>
          <p:cNvPr id="47" name="MIO_OBJECT3">
            <a:extLst>
              <a:ext uri="{FF2B5EF4-FFF2-40B4-BE49-F238E27FC236}">
                <a16:creationId xmlns:a16="http://schemas.microsoft.com/office/drawing/2014/main" id="{5E678984-44E6-EFDD-8196-21E00B875255}"/>
              </a:ext>
            </a:extLst>
          </p:cNvPr>
          <p:cNvSpPr/>
          <p:nvPr/>
        </p:nvSpPr>
        <p:spPr>
          <a:xfrm>
            <a:off x="4989816" y="3626558"/>
            <a:ext cx="1440000" cy="574701"/>
          </a:xfrm>
          <a:prstGeom prst="rect">
            <a:avLst/>
          </a:prstGeom>
          <a:solidFill>
            <a:srgbClr val="E78A03"/>
          </a:solidFill>
          <a:ln>
            <a:headEnd/>
            <a:tailEnd/>
          </a:ln>
        </p:spPr>
        <p:style>
          <a:lnRef idx="1">
            <a:schemeClr val="accent4"/>
          </a:lnRef>
          <a:fillRef idx="3">
            <a:schemeClr val="accent4"/>
          </a:fillRef>
          <a:effectRef idx="2">
            <a:schemeClr val="accent4"/>
          </a:effectRef>
          <a:fontRef idx="minor">
            <a:schemeClr val="lt1"/>
          </a:fontRef>
        </p:style>
        <p:txBody>
          <a:bodyPr wrap="square" lIns="71988" tIns="45712" rIns="91424" bIns="45712" anchor="ctr" anchorCtr="1">
            <a:noAutofit/>
          </a:bodyPr>
          <a:lstStyle/>
          <a:p>
            <a:pPr marL="0" marR="0" lvl="0" indent="0" algn="ctr" defTabSz="457200" rtl="0" eaLnBrk="0" fontAlgn="auto" latinLnBrk="0" hangingPunct="0">
              <a:lnSpc>
                <a:spcPct val="100000"/>
              </a:lnSpc>
              <a:spcBef>
                <a:spcPts val="0"/>
              </a:spcBef>
              <a:spcAft>
                <a:spcPts val="417"/>
              </a:spcAft>
              <a:buClrTx/>
              <a:buSzTx/>
              <a:buFontTx/>
              <a:buNone/>
              <a:tabLst/>
              <a:defRPr/>
            </a:pPr>
            <a:r>
              <a:rPr kumimoji="0" lang="de-DE" sz="1400" b="0" i="0" u="none" strike="noStrike" kern="1200" cap="none" spc="0" normalizeH="0" baseline="0" noProof="0">
                <a:ln>
                  <a:noFill/>
                </a:ln>
                <a:solidFill>
                  <a:prstClr val="white"/>
                </a:solidFill>
                <a:effectLst/>
                <a:uLnTx/>
                <a:uFillTx/>
                <a:latin typeface="Arial" panose="020B0604020202020204" pitchFamily="34" charset="0"/>
                <a:ea typeface="+mn-ea"/>
                <a:cs typeface="+mn-cs"/>
              </a:rPr>
              <a:t>4. Schritt</a:t>
            </a:r>
          </a:p>
        </p:txBody>
      </p:sp>
      <p:sp>
        <p:nvSpPr>
          <p:cNvPr id="51" name="MIO_OBJECT5">
            <a:extLst>
              <a:ext uri="{FF2B5EF4-FFF2-40B4-BE49-F238E27FC236}">
                <a16:creationId xmlns:a16="http://schemas.microsoft.com/office/drawing/2014/main" id="{DBA9565C-BF0B-D5E9-A4F2-C2421DF73521}"/>
              </a:ext>
            </a:extLst>
          </p:cNvPr>
          <p:cNvSpPr/>
          <p:nvPr/>
        </p:nvSpPr>
        <p:spPr>
          <a:xfrm>
            <a:off x="6537673" y="3626558"/>
            <a:ext cx="1440000" cy="574701"/>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wrap="square" lIns="71988" tIns="45712" rIns="91424" bIns="45712" anchor="ctr" anchorCtr="1">
            <a:noAutofit/>
          </a:bodyPr>
          <a:lstStyle/>
          <a:p>
            <a:pPr marL="0" marR="0" lvl="0" indent="0" algn="ctr" defTabSz="457200" rtl="0" eaLnBrk="0" fontAlgn="auto" latinLnBrk="0" hangingPunct="0">
              <a:lnSpc>
                <a:spcPct val="100000"/>
              </a:lnSpc>
              <a:spcBef>
                <a:spcPts val="0"/>
              </a:spcBef>
              <a:spcAft>
                <a:spcPts val="417"/>
              </a:spcAft>
              <a:buClrTx/>
              <a:buSzTx/>
              <a:buFontTx/>
              <a:buNone/>
              <a:tabLst/>
              <a:defRPr/>
            </a:pPr>
            <a:r>
              <a:rPr kumimoji="0" lang="de-DE" sz="1400" b="0" i="0" u="none" strike="noStrike" kern="1200" cap="none" spc="0" normalizeH="0" baseline="0" noProof="0">
                <a:ln>
                  <a:noFill/>
                </a:ln>
                <a:solidFill>
                  <a:prstClr val="white"/>
                </a:solidFill>
                <a:effectLst/>
                <a:uLnTx/>
                <a:uFillTx/>
                <a:latin typeface="Arial" panose="020B0604020202020204" pitchFamily="34" charset="0"/>
                <a:ea typeface="+mn-ea"/>
                <a:cs typeface="+mn-cs"/>
              </a:rPr>
              <a:t>5. Schritt</a:t>
            </a:r>
          </a:p>
        </p:txBody>
      </p:sp>
      <p:sp>
        <p:nvSpPr>
          <p:cNvPr id="52" name="MIO_OBJECT3">
            <a:extLst>
              <a:ext uri="{FF2B5EF4-FFF2-40B4-BE49-F238E27FC236}">
                <a16:creationId xmlns:a16="http://schemas.microsoft.com/office/drawing/2014/main" id="{232CC0D9-9BC4-76D8-9AD7-4F766CB7BDA6}"/>
              </a:ext>
            </a:extLst>
          </p:cNvPr>
          <p:cNvSpPr/>
          <p:nvPr/>
        </p:nvSpPr>
        <p:spPr>
          <a:xfrm>
            <a:off x="8085672" y="3626558"/>
            <a:ext cx="1440000" cy="574701"/>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wrap="square" lIns="71988" tIns="45712" rIns="91424" bIns="45712" anchor="ctr" anchorCtr="1">
            <a:noAutofit/>
          </a:bodyPr>
          <a:lstStyle/>
          <a:p>
            <a:pPr marL="0" marR="0" lvl="0" indent="0" algn="ctr" defTabSz="457200" rtl="0" eaLnBrk="0" fontAlgn="auto" latinLnBrk="0" hangingPunct="0">
              <a:lnSpc>
                <a:spcPct val="100000"/>
              </a:lnSpc>
              <a:spcBef>
                <a:spcPts val="0"/>
              </a:spcBef>
              <a:spcAft>
                <a:spcPts val="417"/>
              </a:spcAft>
              <a:buClrTx/>
              <a:buSzTx/>
              <a:buFontTx/>
              <a:buNone/>
              <a:tabLst/>
              <a:defRPr/>
            </a:pPr>
            <a:r>
              <a:rPr kumimoji="0" lang="de-DE" sz="1400" b="0" i="0" u="none" strike="noStrike" kern="1200" cap="none" spc="0" normalizeH="0" baseline="0" noProof="0">
                <a:ln>
                  <a:noFill/>
                </a:ln>
                <a:solidFill>
                  <a:prstClr val="white"/>
                </a:solidFill>
                <a:effectLst/>
                <a:uLnTx/>
                <a:uFillTx/>
                <a:latin typeface="Arial" panose="020B0604020202020204" pitchFamily="34" charset="0"/>
                <a:ea typeface="+mn-ea"/>
                <a:cs typeface="+mn-cs"/>
              </a:rPr>
              <a:t>6. Schritt</a:t>
            </a:r>
          </a:p>
        </p:txBody>
      </p:sp>
      <p:sp>
        <p:nvSpPr>
          <p:cNvPr id="53" name="MIO_OBJECT3">
            <a:extLst>
              <a:ext uri="{FF2B5EF4-FFF2-40B4-BE49-F238E27FC236}">
                <a16:creationId xmlns:a16="http://schemas.microsoft.com/office/drawing/2014/main" id="{F77D48F4-76B6-9F04-2BB2-83988A8298F4}"/>
              </a:ext>
            </a:extLst>
          </p:cNvPr>
          <p:cNvSpPr/>
          <p:nvPr/>
        </p:nvSpPr>
        <p:spPr>
          <a:xfrm>
            <a:off x="1029531" y="3549873"/>
            <a:ext cx="143984" cy="153253"/>
          </a:xfrm>
          <a:prstGeom prst="diamond">
            <a:avLst/>
          </a:prstGeom>
          <a:solidFill>
            <a:schemeClr val="accent5"/>
          </a:solidFill>
          <a:ln w="9525" algn="ctr">
            <a:noFill/>
            <a:miter lim="800000"/>
            <a:headEnd/>
            <a:tailEnd/>
          </a:ln>
        </p:spPr>
        <p:txBody>
          <a:bodyPr wrap="square" lIns="71988" tIns="45712" rIns="91424" bIns="45712" anchor="ctr" anchorCtr="1">
            <a:noAutofit/>
          </a:bodyPr>
          <a:lstStyle/>
          <a:p>
            <a:pPr marL="0" marR="0" lvl="0" indent="0" algn="ctr" defTabSz="457200" rtl="0" eaLnBrk="0" fontAlgn="auto" latinLnBrk="0" hangingPunct="0">
              <a:lnSpc>
                <a:spcPct val="100000"/>
              </a:lnSpc>
              <a:spcBef>
                <a:spcPts val="0"/>
              </a:spcBef>
              <a:spcAft>
                <a:spcPts val="417"/>
              </a:spcAft>
              <a:buClrTx/>
              <a:buSzTx/>
              <a:buFontTx/>
              <a:buNone/>
              <a:tabLst/>
              <a:defRPr/>
            </a:pPr>
            <a:endParaRPr kumimoji="0" lang="de-DE" sz="1400" b="0" i="0" u="none" strike="noStrike" kern="1200" cap="none" spc="0" normalizeH="0" baseline="0" noProof="0" err="1">
              <a:ln>
                <a:noFill/>
              </a:ln>
              <a:solidFill>
                <a:prstClr val="white"/>
              </a:solidFill>
              <a:effectLst/>
              <a:uLnTx/>
              <a:uFillTx/>
              <a:latin typeface="Arial" panose="020B0604020202020204" pitchFamily="34" charset="0"/>
              <a:ea typeface="+mn-ea"/>
              <a:cs typeface="+mn-cs"/>
            </a:endParaRPr>
          </a:p>
        </p:txBody>
      </p:sp>
      <p:cxnSp>
        <p:nvCxnSpPr>
          <p:cNvPr id="54" name="MIO_LINE">
            <a:extLst>
              <a:ext uri="{FF2B5EF4-FFF2-40B4-BE49-F238E27FC236}">
                <a16:creationId xmlns:a16="http://schemas.microsoft.com/office/drawing/2014/main" id="{691AC9E9-C43B-C67C-382E-5EEAD1A6AE9F}"/>
              </a:ext>
            </a:extLst>
          </p:cNvPr>
          <p:cNvCxnSpPr/>
          <p:nvPr/>
        </p:nvCxnSpPr>
        <p:spPr>
          <a:xfrm flipV="1">
            <a:off x="1101512" y="1557339"/>
            <a:ext cx="0" cy="1992294"/>
          </a:xfrm>
          <a:prstGeom prst="line">
            <a:avLst/>
          </a:prstGeom>
          <a:ln w="2222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55" name="MIO_OBJECT3">
            <a:extLst>
              <a:ext uri="{FF2B5EF4-FFF2-40B4-BE49-F238E27FC236}">
                <a16:creationId xmlns:a16="http://schemas.microsoft.com/office/drawing/2014/main" id="{76107674-DCCA-131B-EC20-031C157481DC}"/>
              </a:ext>
            </a:extLst>
          </p:cNvPr>
          <p:cNvSpPr/>
          <p:nvPr/>
        </p:nvSpPr>
        <p:spPr>
          <a:xfrm>
            <a:off x="4125771" y="3549873"/>
            <a:ext cx="143984" cy="153253"/>
          </a:xfrm>
          <a:prstGeom prst="diamond">
            <a:avLst/>
          </a:prstGeom>
          <a:solidFill>
            <a:schemeClr val="accent5"/>
          </a:solidFill>
          <a:ln w="9525" algn="ctr">
            <a:noFill/>
            <a:miter lim="800000"/>
            <a:headEnd/>
            <a:tailEnd/>
          </a:ln>
        </p:spPr>
        <p:txBody>
          <a:bodyPr wrap="square" lIns="71988" tIns="45712" rIns="91424" bIns="45712" anchor="ctr" anchorCtr="1">
            <a:noAutofit/>
          </a:bodyPr>
          <a:lstStyle/>
          <a:p>
            <a:pPr marL="0" marR="0" lvl="0" indent="0" algn="ctr" defTabSz="457200" rtl="0" eaLnBrk="0" fontAlgn="auto" latinLnBrk="0" hangingPunct="0">
              <a:lnSpc>
                <a:spcPct val="100000"/>
              </a:lnSpc>
              <a:spcBef>
                <a:spcPts val="0"/>
              </a:spcBef>
              <a:spcAft>
                <a:spcPts val="417"/>
              </a:spcAft>
              <a:buClrTx/>
              <a:buSzTx/>
              <a:buFontTx/>
              <a:buNone/>
              <a:tabLst/>
              <a:defRPr/>
            </a:pPr>
            <a:endParaRPr kumimoji="0" lang="de-DE" sz="1400" b="0" i="0" u="none" strike="noStrike" kern="1200" cap="none" spc="0" normalizeH="0" baseline="0" noProof="0" err="1">
              <a:ln>
                <a:noFill/>
              </a:ln>
              <a:solidFill>
                <a:prstClr val="white"/>
              </a:solidFill>
              <a:effectLst/>
              <a:uLnTx/>
              <a:uFillTx/>
              <a:latin typeface="Arial" panose="020B0604020202020204" pitchFamily="34" charset="0"/>
              <a:ea typeface="+mn-ea"/>
              <a:cs typeface="+mn-cs"/>
            </a:endParaRPr>
          </a:p>
        </p:txBody>
      </p:sp>
      <p:cxnSp>
        <p:nvCxnSpPr>
          <p:cNvPr id="56" name="MIO_LINE">
            <a:extLst>
              <a:ext uri="{FF2B5EF4-FFF2-40B4-BE49-F238E27FC236}">
                <a16:creationId xmlns:a16="http://schemas.microsoft.com/office/drawing/2014/main" id="{E2D0CB76-893A-1F91-558F-B3ECE54C959E}"/>
              </a:ext>
            </a:extLst>
          </p:cNvPr>
          <p:cNvCxnSpPr/>
          <p:nvPr/>
        </p:nvCxnSpPr>
        <p:spPr>
          <a:xfrm flipV="1">
            <a:off x="4197754" y="1557339"/>
            <a:ext cx="0" cy="1992294"/>
          </a:xfrm>
          <a:prstGeom prst="line">
            <a:avLst/>
          </a:prstGeom>
          <a:ln w="2222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63" name="MIO_OBJECT5">
            <a:extLst>
              <a:ext uri="{FF2B5EF4-FFF2-40B4-BE49-F238E27FC236}">
                <a16:creationId xmlns:a16="http://schemas.microsoft.com/office/drawing/2014/main" id="{13B2176C-812C-F1EC-64C1-95A1E82DF28E}"/>
              </a:ext>
            </a:extLst>
          </p:cNvPr>
          <p:cNvSpPr/>
          <p:nvPr/>
        </p:nvSpPr>
        <p:spPr>
          <a:xfrm>
            <a:off x="7221774" y="3549873"/>
            <a:ext cx="143984" cy="153253"/>
          </a:xfrm>
          <a:prstGeom prst="diamond">
            <a:avLst/>
          </a:prstGeom>
          <a:solidFill>
            <a:schemeClr val="accent5"/>
          </a:solidFill>
          <a:ln w="9525" algn="ctr">
            <a:noFill/>
            <a:miter lim="800000"/>
            <a:headEnd/>
            <a:tailEnd/>
          </a:ln>
        </p:spPr>
        <p:txBody>
          <a:bodyPr wrap="square" lIns="71988" tIns="45712" rIns="91424" bIns="45712" anchor="ctr" anchorCtr="1">
            <a:noAutofit/>
          </a:bodyPr>
          <a:lstStyle/>
          <a:p>
            <a:pPr marL="0" marR="0" lvl="0" indent="0" algn="ctr" defTabSz="457200" rtl="0" eaLnBrk="0" fontAlgn="auto" latinLnBrk="0" hangingPunct="0">
              <a:lnSpc>
                <a:spcPct val="100000"/>
              </a:lnSpc>
              <a:spcBef>
                <a:spcPts val="0"/>
              </a:spcBef>
              <a:spcAft>
                <a:spcPts val="417"/>
              </a:spcAft>
              <a:buClrTx/>
              <a:buSzTx/>
              <a:buFontTx/>
              <a:buNone/>
              <a:tabLst/>
              <a:defRPr/>
            </a:pPr>
            <a:endParaRPr kumimoji="0" lang="de-DE" sz="1400" b="0" i="0" u="none" strike="noStrike" kern="1200" cap="none" spc="0" normalizeH="0" baseline="0" noProof="0" err="1">
              <a:ln>
                <a:noFill/>
              </a:ln>
              <a:solidFill>
                <a:prstClr val="white"/>
              </a:solidFill>
              <a:effectLst/>
              <a:uLnTx/>
              <a:uFillTx/>
              <a:latin typeface="Arial" panose="020B0604020202020204" pitchFamily="34" charset="0"/>
              <a:ea typeface="+mn-ea"/>
              <a:cs typeface="+mn-cs"/>
            </a:endParaRPr>
          </a:p>
        </p:txBody>
      </p:sp>
      <p:cxnSp>
        <p:nvCxnSpPr>
          <p:cNvPr id="64" name="MIO_LINE">
            <a:extLst>
              <a:ext uri="{FF2B5EF4-FFF2-40B4-BE49-F238E27FC236}">
                <a16:creationId xmlns:a16="http://schemas.microsoft.com/office/drawing/2014/main" id="{0FE32EB0-F1A2-F9CF-35C1-1A4E74B30176}"/>
              </a:ext>
            </a:extLst>
          </p:cNvPr>
          <p:cNvCxnSpPr/>
          <p:nvPr/>
        </p:nvCxnSpPr>
        <p:spPr>
          <a:xfrm flipV="1">
            <a:off x="7293753" y="1557339"/>
            <a:ext cx="0" cy="1992294"/>
          </a:xfrm>
          <a:prstGeom prst="line">
            <a:avLst/>
          </a:prstGeom>
          <a:ln w="2222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68" name="MIO_OBJECT3">
            <a:extLst>
              <a:ext uri="{FF2B5EF4-FFF2-40B4-BE49-F238E27FC236}">
                <a16:creationId xmlns:a16="http://schemas.microsoft.com/office/drawing/2014/main" id="{E29EC0E0-D571-70E7-79AC-6B6192C7F47C}"/>
              </a:ext>
            </a:extLst>
          </p:cNvPr>
          <p:cNvSpPr/>
          <p:nvPr/>
        </p:nvSpPr>
        <p:spPr>
          <a:xfrm>
            <a:off x="2541511" y="4124621"/>
            <a:ext cx="143984" cy="153253"/>
          </a:xfrm>
          <a:prstGeom prst="diamond">
            <a:avLst/>
          </a:prstGeom>
          <a:solidFill>
            <a:schemeClr val="accent5"/>
          </a:solidFill>
          <a:ln w="9525" algn="ctr">
            <a:noFill/>
            <a:miter lim="800000"/>
            <a:headEnd/>
            <a:tailEnd/>
          </a:ln>
        </p:spPr>
        <p:txBody>
          <a:bodyPr wrap="square" lIns="71988" tIns="45712" rIns="91424" bIns="45712" anchor="ctr" anchorCtr="1">
            <a:noAutofit/>
          </a:bodyPr>
          <a:lstStyle/>
          <a:p>
            <a:pPr marL="0" marR="0" lvl="0" indent="0" algn="ctr" defTabSz="457200" rtl="0" eaLnBrk="0" fontAlgn="auto" latinLnBrk="0" hangingPunct="0">
              <a:lnSpc>
                <a:spcPct val="100000"/>
              </a:lnSpc>
              <a:spcBef>
                <a:spcPts val="0"/>
              </a:spcBef>
              <a:spcAft>
                <a:spcPts val="417"/>
              </a:spcAft>
              <a:buClrTx/>
              <a:buSzTx/>
              <a:buFontTx/>
              <a:buNone/>
              <a:tabLst/>
              <a:defRPr/>
            </a:pPr>
            <a:endParaRPr kumimoji="0" lang="de-DE" sz="1400" b="0" i="0" u="none" strike="noStrike" kern="1200" cap="none" spc="0" normalizeH="0" baseline="0" noProof="0" err="1">
              <a:ln>
                <a:noFill/>
              </a:ln>
              <a:solidFill>
                <a:prstClr val="white"/>
              </a:solidFill>
              <a:effectLst/>
              <a:uLnTx/>
              <a:uFillTx/>
              <a:latin typeface="Arial" panose="020B0604020202020204" pitchFamily="34" charset="0"/>
              <a:ea typeface="+mn-ea"/>
              <a:cs typeface="+mn-cs"/>
            </a:endParaRPr>
          </a:p>
        </p:txBody>
      </p:sp>
      <p:cxnSp>
        <p:nvCxnSpPr>
          <p:cNvPr id="69" name="MIO_LINE">
            <a:extLst>
              <a:ext uri="{FF2B5EF4-FFF2-40B4-BE49-F238E27FC236}">
                <a16:creationId xmlns:a16="http://schemas.microsoft.com/office/drawing/2014/main" id="{ECF28A42-A0B3-7864-695E-6D2A86A42759}"/>
              </a:ext>
            </a:extLst>
          </p:cNvPr>
          <p:cNvCxnSpPr/>
          <p:nvPr/>
        </p:nvCxnSpPr>
        <p:spPr>
          <a:xfrm flipV="1">
            <a:off x="2613495" y="4277892"/>
            <a:ext cx="0" cy="2030607"/>
          </a:xfrm>
          <a:prstGeom prst="line">
            <a:avLst/>
          </a:prstGeom>
          <a:ln w="2222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70" name="MIO_OBJECT3">
            <a:extLst>
              <a:ext uri="{FF2B5EF4-FFF2-40B4-BE49-F238E27FC236}">
                <a16:creationId xmlns:a16="http://schemas.microsoft.com/office/drawing/2014/main" id="{0A1C8414-936D-34CB-5D6D-6F5F12B76898}"/>
              </a:ext>
            </a:extLst>
          </p:cNvPr>
          <p:cNvSpPr/>
          <p:nvPr/>
        </p:nvSpPr>
        <p:spPr>
          <a:xfrm>
            <a:off x="5745513" y="4118683"/>
            <a:ext cx="143984" cy="153253"/>
          </a:xfrm>
          <a:prstGeom prst="diamond">
            <a:avLst/>
          </a:prstGeom>
          <a:solidFill>
            <a:schemeClr val="accent5"/>
          </a:solidFill>
          <a:ln w="9525" algn="ctr">
            <a:noFill/>
            <a:miter lim="800000"/>
            <a:headEnd/>
            <a:tailEnd/>
          </a:ln>
        </p:spPr>
        <p:txBody>
          <a:bodyPr wrap="square" lIns="71988" tIns="45712" rIns="91424" bIns="45712" anchor="ctr" anchorCtr="1">
            <a:noAutofit/>
          </a:bodyPr>
          <a:lstStyle/>
          <a:p>
            <a:pPr marL="0" marR="0" lvl="0" indent="0" algn="ctr" defTabSz="457200" rtl="0" eaLnBrk="0" fontAlgn="auto" latinLnBrk="0" hangingPunct="0">
              <a:lnSpc>
                <a:spcPct val="100000"/>
              </a:lnSpc>
              <a:spcBef>
                <a:spcPts val="0"/>
              </a:spcBef>
              <a:spcAft>
                <a:spcPts val="417"/>
              </a:spcAft>
              <a:buClrTx/>
              <a:buSzTx/>
              <a:buFontTx/>
              <a:buNone/>
              <a:tabLst/>
              <a:defRPr/>
            </a:pPr>
            <a:endParaRPr kumimoji="0" lang="de-DE" sz="1400" b="0" i="0" u="none" strike="noStrike" kern="1200" cap="none" spc="0" normalizeH="0" baseline="0" noProof="0" err="1">
              <a:ln>
                <a:noFill/>
              </a:ln>
              <a:solidFill>
                <a:prstClr val="white"/>
              </a:solidFill>
              <a:effectLst/>
              <a:uLnTx/>
              <a:uFillTx/>
              <a:latin typeface="Arial" panose="020B0604020202020204" pitchFamily="34" charset="0"/>
              <a:ea typeface="+mn-ea"/>
              <a:cs typeface="+mn-cs"/>
            </a:endParaRPr>
          </a:p>
        </p:txBody>
      </p:sp>
      <p:cxnSp>
        <p:nvCxnSpPr>
          <p:cNvPr id="71" name="MIO_LINE">
            <a:extLst>
              <a:ext uri="{FF2B5EF4-FFF2-40B4-BE49-F238E27FC236}">
                <a16:creationId xmlns:a16="http://schemas.microsoft.com/office/drawing/2014/main" id="{BF0565ED-1927-FE22-41AD-148857A5B8E6}"/>
              </a:ext>
            </a:extLst>
          </p:cNvPr>
          <p:cNvCxnSpPr/>
          <p:nvPr/>
        </p:nvCxnSpPr>
        <p:spPr>
          <a:xfrm flipV="1">
            <a:off x="5817096" y="4277892"/>
            <a:ext cx="0" cy="2030607"/>
          </a:xfrm>
          <a:prstGeom prst="line">
            <a:avLst/>
          </a:prstGeom>
          <a:ln w="2222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72" name="MIO_OBJECT3">
            <a:extLst>
              <a:ext uri="{FF2B5EF4-FFF2-40B4-BE49-F238E27FC236}">
                <a16:creationId xmlns:a16="http://schemas.microsoft.com/office/drawing/2014/main" id="{8FB2DDC3-30F4-6E1F-07DA-35E699F3E355}"/>
              </a:ext>
            </a:extLst>
          </p:cNvPr>
          <p:cNvSpPr/>
          <p:nvPr/>
        </p:nvSpPr>
        <p:spPr>
          <a:xfrm>
            <a:off x="8989894" y="4118683"/>
            <a:ext cx="143984" cy="153253"/>
          </a:xfrm>
          <a:prstGeom prst="diamond">
            <a:avLst/>
          </a:prstGeom>
          <a:solidFill>
            <a:schemeClr val="accent5"/>
          </a:solidFill>
          <a:ln w="9525" algn="ctr">
            <a:noFill/>
            <a:miter lim="800000"/>
            <a:headEnd/>
            <a:tailEnd/>
          </a:ln>
        </p:spPr>
        <p:txBody>
          <a:bodyPr wrap="square" lIns="71988" tIns="45712" rIns="91424" bIns="45712" anchor="ctr" anchorCtr="1">
            <a:noAutofit/>
          </a:bodyPr>
          <a:lstStyle/>
          <a:p>
            <a:pPr marL="0" marR="0" lvl="0" indent="0" algn="ctr" defTabSz="457200" rtl="0" eaLnBrk="0" fontAlgn="auto" latinLnBrk="0" hangingPunct="0">
              <a:lnSpc>
                <a:spcPct val="100000"/>
              </a:lnSpc>
              <a:spcBef>
                <a:spcPts val="0"/>
              </a:spcBef>
              <a:spcAft>
                <a:spcPts val="417"/>
              </a:spcAft>
              <a:buClrTx/>
              <a:buSzTx/>
              <a:buFontTx/>
              <a:buNone/>
              <a:tabLst/>
              <a:defRPr/>
            </a:pPr>
            <a:endParaRPr kumimoji="0" lang="de-DE" sz="1400" b="0" i="0" u="none" strike="noStrike" kern="1200" cap="none" spc="0" normalizeH="0" baseline="0" noProof="0" err="1">
              <a:ln>
                <a:noFill/>
              </a:ln>
              <a:solidFill>
                <a:prstClr val="white"/>
              </a:solidFill>
              <a:effectLst/>
              <a:uLnTx/>
              <a:uFillTx/>
              <a:latin typeface="Arial" panose="020B0604020202020204" pitchFamily="34" charset="0"/>
              <a:ea typeface="+mn-ea"/>
              <a:cs typeface="+mn-cs"/>
            </a:endParaRPr>
          </a:p>
        </p:txBody>
      </p:sp>
      <p:cxnSp>
        <p:nvCxnSpPr>
          <p:cNvPr id="73" name="MIO_LINE">
            <a:extLst>
              <a:ext uri="{FF2B5EF4-FFF2-40B4-BE49-F238E27FC236}">
                <a16:creationId xmlns:a16="http://schemas.microsoft.com/office/drawing/2014/main" id="{4F3ACABB-130B-A43F-BA9A-DC99F0FFB31F}"/>
              </a:ext>
            </a:extLst>
          </p:cNvPr>
          <p:cNvCxnSpPr/>
          <p:nvPr/>
        </p:nvCxnSpPr>
        <p:spPr>
          <a:xfrm flipV="1">
            <a:off x="9061886" y="4277892"/>
            <a:ext cx="0" cy="2030607"/>
          </a:xfrm>
          <a:prstGeom prst="line">
            <a:avLst/>
          </a:prstGeom>
          <a:ln w="2222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74" name="MIO_TEXTBOX_HEADER">
            <a:extLst>
              <a:ext uri="{FF2B5EF4-FFF2-40B4-BE49-F238E27FC236}">
                <a16:creationId xmlns:a16="http://schemas.microsoft.com/office/drawing/2014/main" id="{99DCF0F1-7ECF-46D3-BFAF-1AF39A8ABB75}"/>
              </a:ext>
            </a:extLst>
          </p:cNvPr>
          <p:cNvSpPr/>
          <p:nvPr/>
        </p:nvSpPr>
        <p:spPr>
          <a:xfrm>
            <a:off x="1173514" y="1557340"/>
            <a:ext cx="2160000" cy="360000"/>
          </a:xfrm>
          <a:prstGeom prst="rect">
            <a:avLst/>
          </a:prstGeom>
          <a:ln/>
        </p:spPr>
        <p:style>
          <a:lnRef idx="0">
            <a:schemeClr val="accent6"/>
          </a:lnRef>
          <a:fillRef idx="3">
            <a:schemeClr val="accent6"/>
          </a:fillRef>
          <a:effectRef idx="3">
            <a:schemeClr val="accent6"/>
          </a:effectRef>
          <a:fontRef idx="minor">
            <a:schemeClr val="lt1"/>
          </a:fontRef>
        </p:style>
        <p:txBody>
          <a:bodyPr lIns="72000" tIns="72000" rIns="72000" bIns="72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white"/>
                </a:solidFill>
                <a:effectLst/>
                <a:uLnTx/>
                <a:uFillTx/>
                <a:latin typeface="Arial" panose="020B0604020202020204" pitchFamily="34" charset="0"/>
                <a:ea typeface="+mn-ea"/>
                <a:cs typeface="+mn-cs"/>
              </a:rPr>
              <a:t>Zu wann sollen neue Pflegesätze gelten?</a:t>
            </a:r>
          </a:p>
        </p:txBody>
      </p:sp>
      <p:sp>
        <p:nvSpPr>
          <p:cNvPr id="75" name="MIO_TEXTBOX_HEADER">
            <a:extLst>
              <a:ext uri="{FF2B5EF4-FFF2-40B4-BE49-F238E27FC236}">
                <a16:creationId xmlns:a16="http://schemas.microsoft.com/office/drawing/2014/main" id="{0F651F33-FC7A-34E6-F6F0-1B33CF568A09}"/>
              </a:ext>
            </a:extLst>
          </p:cNvPr>
          <p:cNvSpPr/>
          <p:nvPr/>
        </p:nvSpPr>
        <p:spPr>
          <a:xfrm>
            <a:off x="4269511" y="1557340"/>
            <a:ext cx="2160000" cy="360000"/>
          </a:xfrm>
          <a:prstGeom prst="rect">
            <a:avLst/>
          </a:prstGeom>
          <a:solidFill>
            <a:srgbClr val="E78A03"/>
          </a:solidFill>
          <a:ln/>
        </p:spPr>
        <p:style>
          <a:lnRef idx="0">
            <a:schemeClr val="accent3"/>
          </a:lnRef>
          <a:fillRef idx="3">
            <a:schemeClr val="accent3"/>
          </a:fillRef>
          <a:effectRef idx="3">
            <a:schemeClr val="accent3"/>
          </a:effectRef>
          <a:fontRef idx="minor">
            <a:schemeClr val="lt1"/>
          </a:fontRef>
        </p:style>
        <p:txBody>
          <a:bodyPr lIns="72000" tIns="72000" rIns="72000" bIns="72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white"/>
                </a:solidFill>
                <a:effectLst/>
                <a:uLnTx/>
                <a:uFillTx/>
                <a:latin typeface="Arial" panose="020B0604020202020204" pitchFamily="34" charset="0"/>
                <a:ea typeface="+mn-ea"/>
                <a:cs typeface="+mn-cs"/>
              </a:rPr>
              <a:t>Kalkulation der neuen Pflegesätze</a:t>
            </a:r>
          </a:p>
        </p:txBody>
      </p:sp>
      <p:sp>
        <p:nvSpPr>
          <p:cNvPr id="76" name="MIO_TEXTBOX_HEADER">
            <a:extLst>
              <a:ext uri="{FF2B5EF4-FFF2-40B4-BE49-F238E27FC236}">
                <a16:creationId xmlns:a16="http://schemas.microsoft.com/office/drawing/2014/main" id="{8D18C8DA-0ED1-B826-77A8-038009F28967}"/>
              </a:ext>
            </a:extLst>
          </p:cNvPr>
          <p:cNvSpPr/>
          <p:nvPr/>
        </p:nvSpPr>
        <p:spPr>
          <a:xfrm>
            <a:off x="7365756" y="1557340"/>
            <a:ext cx="2160000" cy="360000"/>
          </a:xfrm>
          <a:prstGeom prst="rect">
            <a:avLst/>
          </a:prstGeom>
          <a:ln/>
        </p:spPr>
        <p:style>
          <a:lnRef idx="0">
            <a:schemeClr val="accent1"/>
          </a:lnRef>
          <a:fillRef idx="3">
            <a:schemeClr val="accent1"/>
          </a:fillRef>
          <a:effectRef idx="3">
            <a:schemeClr val="accent1"/>
          </a:effectRef>
          <a:fontRef idx="minor">
            <a:schemeClr val="lt1"/>
          </a:fontRef>
        </p:style>
        <p:txBody>
          <a:bodyPr lIns="72000" tIns="72000" rIns="72000" bIns="72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white"/>
                </a:solidFill>
                <a:effectLst/>
                <a:uLnTx/>
                <a:uFillTx/>
                <a:latin typeface="Arial" panose="020B0604020202020204" pitchFamily="34" charset="0"/>
                <a:ea typeface="+mn-ea"/>
                <a:cs typeface="+mn-cs"/>
              </a:rPr>
              <a:t>Einreichung</a:t>
            </a:r>
          </a:p>
        </p:txBody>
      </p:sp>
      <p:sp>
        <p:nvSpPr>
          <p:cNvPr id="77" name="MIO_TEXTBOX_HEADER">
            <a:extLst>
              <a:ext uri="{FF2B5EF4-FFF2-40B4-BE49-F238E27FC236}">
                <a16:creationId xmlns:a16="http://schemas.microsoft.com/office/drawing/2014/main" id="{3BA80569-009F-C26D-43C8-A1ECB46432D2}"/>
              </a:ext>
            </a:extLst>
          </p:cNvPr>
          <p:cNvSpPr/>
          <p:nvPr/>
        </p:nvSpPr>
        <p:spPr>
          <a:xfrm>
            <a:off x="345515" y="5949320"/>
            <a:ext cx="2232000" cy="360000"/>
          </a:xfrm>
          <a:prstGeom prst="rect">
            <a:avLst/>
          </a:prstGeom>
          <a:ln/>
        </p:spPr>
        <p:style>
          <a:lnRef idx="0">
            <a:schemeClr val="accent6"/>
          </a:lnRef>
          <a:fillRef idx="3">
            <a:schemeClr val="accent6"/>
          </a:fillRef>
          <a:effectRef idx="3">
            <a:schemeClr val="accent6"/>
          </a:effectRef>
          <a:fontRef idx="minor">
            <a:schemeClr val="lt1"/>
          </a:fontRef>
        </p:style>
        <p:txBody>
          <a:bodyPr lIns="72000" tIns="72000" rIns="72000" bIns="72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white"/>
                </a:solidFill>
                <a:effectLst/>
                <a:uLnTx/>
                <a:uFillTx/>
                <a:latin typeface="Arial" panose="020B0604020202020204" pitchFamily="34" charset="0"/>
                <a:ea typeface="+mn-ea"/>
                <a:cs typeface="+mn-cs"/>
              </a:rPr>
              <a:t>Prüfung notwendiger Unterlagen</a:t>
            </a:r>
          </a:p>
        </p:txBody>
      </p:sp>
      <p:sp>
        <p:nvSpPr>
          <p:cNvPr id="78" name="MIO_TEXTBOX_HEADER">
            <a:extLst>
              <a:ext uri="{FF2B5EF4-FFF2-40B4-BE49-F238E27FC236}">
                <a16:creationId xmlns:a16="http://schemas.microsoft.com/office/drawing/2014/main" id="{47B7B7D2-246C-7FED-CE78-9A8998FCD6C5}"/>
              </a:ext>
            </a:extLst>
          </p:cNvPr>
          <p:cNvSpPr/>
          <p:nvPr/>
        </p:nvSpPr>
        <p:spPr>
          <a:xfrm>
            <a:off x="3441513" y="5949320"/>
            <a:ext cx="2339984" cy="360000"/>
          </a:xfrm>
          <a:prstGeom prst="rect">
            <a:avLst/>
          </a:prstGeom>
          <a:solidFill>
            <a:srgbClr val="E78A03"/>
          </a:solidFill>
          <a:ln/>
        </p:spPr>
        <p:style>
          <a:lnRef idx="0">
            <a:schemeClr val="accent4"/>
          </a:lnRef>
          <a:fillRef idx="3">
            <a:schemeClr val="accent4"/>
          </a:fillRef>
          <a:effectRef idx="3">
            <a:schemeClr val="accent4"/>
          </a:effectRef>
          <a:fontRef idx="minor">
            <a:schemeClr val="lt1"/>
          </a:fontRef>
        </p:style>
        <p:txBody>
          <a:bodyPr lIns="72000" tIns="72000" rIns="72000" bIns="72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white"/>
                </a:solidFill>
                <a:effectLst/>
                <a:uLnTx/>
                <a:uFillTx/>
                <a:latin typeface="Arial" panose="020B0604020202020204" pitchFamily="34" charset="0"/>
                <a:ea typeface="+mn-ea"/>
                <a:cs typeface="+mn-cs"/>
              </a:rPr>
              <a:t>Bewertung der errechneten Pflegesätze</a:t>
            </a:r>
          </a:p>
        </p:txBody>
      </p:sp>
      <p:sp>
        <p:nvSpPr>
          <p:cNvPr id="79" name="MIO_TEXTBOX_HEADER">
            <a:extLst>
              <a:ext uri="{FF2B5EF4-FFF2-40B4-BE49-F238E27FC236}">
                <a16:creationId xmlns:a16="http://schemas.microsoft.com/office/drawing/2014/main" id="{60021337-5724-047B-0C50-AD3B9E9E441E}"/>
              </a:ext>
            </a:extLst>
          </p:cNvPr>
          <p:cNvSpPr/>
          <p:nvPr/>
        </p:nvSpPr>
        <p:spPr>
          <a:xfrm>
            <a:off x="6537508" y="5949320"/>
            <a:ext cx="2483183" cy="360000"/>
          </a:xfrm>
          <a:prstGeom prst="rect">
            <a:avLst/>
          </a:prstGeom>
          <a:ln/>
        </p:spPr>
        <p:style>
          <a:lnRef idx="0">
            <a:schemeClr val="accent1"/>
          </a:lnRef>
          <a:fillRef idx="3">
            <a:schemeClr val="accent1"/>
          </a:fillRef>
          <a:effectRef idx="3">
            <a:schemeClr val="accent1"/>
          </a:effectRef>
          <a:fontRef idx="minor">
            <a:schemeClr val="lt1"/>
          </a:fontRef>
        </p:style>
        <p:txBody>
          <a:bodyPr lIns="72000" tIns="72000" rIns="72000" bIns="72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white"/>
                </a:solidFill>
                <a:effectLst/>
                <a:uLnTx/>
                <a:uFillTx/>
                <a:latin typeface="Arial" panose="020B0604020202020204" pitchFamily="34" charset="0"/>
                <a:ea typeface="+mn-ea"/>
                <a:cs typeface="+mn-cs"/>
              </a:rPr>
              <a:t>Verhandlung</a:t>
            </a:r>
          </a:p>
        </p:txBody>
      </p:sp>
      <p:sp>
        <p:nvSpPr>
          <p:cNvPr id="80" name="MIO_TEXTBOX_BODY">
            <a:extLst>
              <a:ext uri="{FF2B5EF4-FFF2-40B4-BE49-F238E27FC236}">
                <a16:creationId xmlns:a16="http://schemas.microsoft.com/office/drawing/2014/main" id="{02FBB5D2-AD00-3DC0-A2DD-C182D0ABB93F}"/>
              </a:ext>
            </a:extLst>
          </p:cNvPr>
          <p:cNvSpPr txBox="1">
            <a:spLocks/>
          </p:cNvSpPr>
          <p:nvPr/>
        </p:nvSpPr>
        <p:spPr>
          <a:xfrm>
            <a:off x="1173514" y="1989008"/>
            <a:ext cx="2160000" cy="1512000"/>
          </a:xfrm>
          <a:prstGeom prst="rect">
            <a:avLst/>
          </a:prstGeom>
          <a:solidFill>
            <a:schemeClr val="bg2"/>
          </a:solidFill>
          <a:ln w="12700">
            <a:solidFill>
              <a:schemeClr val="accent5"/>
            </a:solidFill>
          </a:ln>
          <a:effectLst/>
        </p:spPr>
        <p:txBody>
          <a:bodyPr vert="horz" lIns="72000" tIns="72000" rIns="72000" bIns="72000" rtlCol="0">
            <a:noAutofit/>
          </a:bodyPr>
          <a:lstStyle>
            <a:defPPr>
              <a:defRPr lang="en-US"/>
            </a:defPPr>
            <a:lvl1pPr marL="180000" indent="-180000" defTabSz="914400">
              <a:spcBef>
                <a:spcPts val="0"/>
              </a:spcBef>
              <a:spcAft>
                <a:spcPts val="300"/>
              </a:spcAft>
              <a:buClr>
                <a:schemeClr val="accent1"/>
              </a:buClr>
              <a:buFont typeface="Wingdings" pitchFamily="2" charset="2"/>
              <a:buChar char="§"/>
              <a:defRPr sz="1400">
                <a:cs typeface="Arial" pitchFamily="34" charset="0"/>
              </a:defRPr>
            </a:lvl1pPr>
            <a:lvl2pPr marL="446088" indent="-166688" defTabSz="914400">
              <a:spcBef>
                <a:spcPts val="0"/>
              </a:spcBef>
              <a:spcAft>
                <a:spcPts val="300"/>
              </a:spcAft>
              <a:buClr>
                <a:schemeClr val="accent6"/>
              </a:buClr>
              <a:buFont typeface="Arial" pitchFamily="34" charset="0"/>
              <a:buChar char="–"/>
              <a:defRPr sz="1600">
                <a:latin typeface="Swis721 Mio" pitchFamily="34" charset="0"/>
                <a:cs typeface="Arial" pitchFamily="34" charset="0"/>
              </a:defRPr>
            </a:lvl2pPr>
            <a:lvl3pPr marL="804863" indent="-160338" defTabSz="914400">
              <a:spcBef>
                <a:spcPts val="0"/>
              </a:spcBef>
              <a:spcAft>
                <a:spcPts val="300"/>
              </a:spcAft>
              <a:buClr>
                <a:schemeClr val="accent6"/>
              </a:buClr>
              <a:buFont typeface="Wingdings" pitchFamily="2" charset="2"/>
              <a:buChar char="§"/>
              <a:defRPr sz="1400">
                <a:latin typeface="Swis721 Mio" pitchFamily="34" charset="0"/>
                <a:cs typeface="Arial" pitchFamily="34" charset="0"/>
              </a:defRPr>
            </a:lvl3pPr>
            <a:lvl4pPr marL="180000" lvl="3" indent="-180000" defTabSz="914400">
              <a:spcBef>
                <a:spcPts val="600"/>
              </a:spcBef>
              <a:spcAft>
                <a:spcPts val="300"/>
              </a:spcAft>
              <a:buClr>
                <a:srgbClr val="C72A34"/>
              </a:buClr>
              <a:buFont typeface="Wingdings" panose="05000000000000000000" pitchFamily="2" charset="2"/>
              <a:buChar char="§"/>
              <a:defRPr sz="1400">
                <a:solidFill>
                  <a:srgbClr val="404040"/>
                </a:solidFill>
                <a:latin typeface="Swis721 Mio" pitchFamily="34" charset="0"/>
                <a:cs typeface="Arial" pitchFamily="34" charset="0"/>
              </a:defRPr>
            </a:lvl4pPr>
            <a:lvl5pPr marL="1343025" indent="-144463" defTabSz="914400">
              <a:spcBef>
                <a:spcPts val="0"/>
              </a:spcBef>
              <a:spcAft>
                <a:spcPts val="300"/>
              </a:spcAft>
              <a:buClr>
                <a:schemeClr val="accent6"/>
              </a:buClr>
              <a:buFont typeface="Arial" pitchFamily="34" charset="0"/>
              <a:buChar char="»"/>
              <a:defRPr sz="1400">
                <a:latin typeface="Swis721 Mio" pitchFamily="34" charset="0"/>
                <a:cs typeface="Arial" pitchFamily="34" charset="0"/>
              </a:defRPr>
            </a:lvl5pPr>
            <a:lvl6pPr indent="0" defTabSz="914400">
              <a:spcBef>
                <a:spcPct val="20000"/>
              </a:spcBef>
              <a:buFont typeface="Arial" pitchFamily="34" charset="0"/>
              <a:buNone/>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indent="0" defTabSz="914400">
              <a:spcBef>
                <a:spcPct val="20000"/>
              </a:spcBef>
              <a:buFont typeface="Arial" pitchFamily="34" charset="0"/>
              <a:buNone/>
              <a:defRPr sz="2000"/>
            </a:lvl9pPr>
          </a:lstStyle>
          <a:p>
            <a:pPr marL="180000" marR="0" lvl="0" indent="-180000" algn="l" defTabSz="914400" rtl="0" eaLnBrk="1" fontAlgn="auto" latinLnBrk="0" hangingPunct="1">
              <a:lnSpc>
                <a:spcPct val="100000"/>
              </a:lnSpc>
              <a:spcBef>
                <a:spcPts val="0"/>
              </a:spcBef>
              <a:spcAft>
                <a:spcPts val="300"/>
              </a:spcAft>
              <a:buClr>
                <a:srgbClr val="C72A34"/>
              </a:buClr>
              <a:buSzTx/>
              <a:buFont typeface="Wingdings" pitchFamily="2" charset="2"/>
              <a:buChar char="§"/>
              <a:tabLst/>
              <a:defRPr/>
            </a:pPr>
            <a:r>
              <a:rPr kumimoji="0" lang="de-DE" sz="1200" b="0" i="0" u="none" strike="noStrike" kern="1200" cap="none" spc="0" normalizeH="0" baseline="0" noProof="0">
                <a:ln>
                  <a:noFill/>
                </a:ln>
                <a:solidFill>
                  <a:srgbClr val="404040"/>
                </a:solidFill>
                <a:effectLst/>
                <a:uLnTx/>
                <a:uFillTx/>
                <a:latin typeface="Arial"/>
                <a:ea typeface="+mn-ea"/>
                <a:cs typeface="Arial" pitchFamily="34" charset="0"/>
              </a:rPr>
              <a:t>Prüfung anhand der geltenden Vergütungsvereinbarung, zu wann ein Aufruf nächstmöglich erfolgen kann</a:t>
            </a:r>
          </a:p>
        </p:txBody>
      </p:sp>
      <p:sp>
        <p:nvSpPr>
          <p:cNvPr id="81" name="MIO_TEXTBOX_BODY">
            <a:extLst>
              <a:ext uri="{FF2B5EF4-FFF2-40B4-BE49-F238E27FC236}">
                <a16:creationId xmlns:a16="http://schemas.microsoft.com/office/drawing/2014/main" id="{5CBD02CA-BC07-A92F-5DDD-9C6BDDE1E427}"/>
              </a:ext>
            </a:extLst>
          </p:cNvPr>
          <p:cNvSpPr txBox="1">
            <a:spLocks/>
          </p:cNvSpPr>
          <p:nvPr/>
        </p:nvSpPr>
        <p:spPr>
          <a:xfrm>
            <a:off x="4269755" y="1989008"/>
            <a:ext cx="2160000" cy="1512000"/>
          </a:xfrm>
          <a:prstGeom prst="rect">
            <a:avLst/>
          </a:prstGeom>
          <a:solidFill>
            <a:schemeClr val="bg2"/>
          </a:solidFill>
          <a:ln w="12700">
            <a:solidFill>
              <a:schemeClr val="accent5"/>
            </a:solidFill>
          </a:ln>
          <a:effectLst/>
        </p:spPr>
        <p:txBody>
          <a:bodyPr vert="horz" lIns="72000" tIns="72000" rIns="72000" bIns="72000" rtlCol="0">
            <a:noAutofit/>
          </a:bodyPr>
          <a:lstStyle>
            <a:defPPr>
              <a:defRPr lang="en-US"/>
            </a:defPPr>
            <a:lvl1pPr marL="180000" indent="-180000" defTabSz="914400">
              <a:spcBef>
                <a:spcPts val="0"/>
              </a:spcBef>
              <a:spcAft>
                <a:spcPts val="300"/>
              </a:spcAft>
              <a:buClr>
                <a:schemeClr val="accent1"/>
              </a:buClr>
              <a:buFont typeface="Wingdings" pitchFamily="2" charset="2"/>
              <a:buChar char="§"/>
              <a:defRPr sz="1400">
                <a:cs typeface="Arial" pitchFamily="34" charset="0"/>
              </a:defRPr>
            </a:lvl1pPr>
            <a:lvl2pPr marL="446088" indent="-166688" defTabSz="914400">
              <a:spcBef>
                <a:spcPts val="0"/>
              </a:spcBef>
              <a:spcAft>
                <a:spcPts val="300"/>
              </a:spcAft>
              <a:buClr>
                <a:schemeClr val="accent6"/>
              </a:buClr>
              <a:buFont typeface="Arial" pitchFamily="34" charset="0"/>
              <a:buChar char="–"/>
              <a:defRPr sz="1600">
                <a:latin typeface="Swis721 Mio" pitchFamily="34" charset="0"/>
                <a:cs typeface="Arial" pitchFamily="34" charset="0"/>
              </a:defRPr>
            </a:lvl2pPr>
            <a:lvl3pPr marL="804863" indent="-160338" defTabSz="914400">
              <a:spcBef>
                <a:spcPts val="0"/>
              </a:spcBef>
              <a:spcAft>
                <a:spcPts val="300"/>
              </a:spcAft>
              <a:buClr>
                <a:schemeClr val="accent6"/>
              </a:buClr>
              <a:buFont typeface="Wingdings" pitchFamily="2" charset="2"/>
              <a:buChar char="§"/>
              <a:defRPr sz="1400">
                <a:latin typeface="Swis721 Mio" pitchFamily="34" charset="0"/>
                <a:cs typeface="Arial" pitchFamily="34" charset="0"/>
              </a:defRPr>
            </a:lvl3pPr>
            <a:lvl4pPr marL="180000" lvl="3" indent="-180000" defTabSz="914400">
              <a:spcBef>
                <a:spcPts val="600"/>
              </a:spcBef>
              <a:spcAft>
                <a:spcPts val="300"/>
              </a:spcAft>
              <a:buClr>
                <a:srgbClr val="C72A34"/>
              </a:buClr>
              <a:buFont typeface="Wingdings" panose="05000000000000000000" pitchFamily="2" charset="2"/>
              <a:buChar char="§"/>
              <a:defRPr sz="1400">
                <a:solidFill>
                  <a:srgbClr val="404040"/>
                </a:solidFill>
                <a:latin typeface="Swis721 Mio" pitchFamily="34" charset="0"/>
                <a:cs typeface="Arial" pitchFamily="34" charset="0"/>
              </a:defRPr>
            </a:lvl4pPr>
            <a:lvl5pPr marL="1343025" indent="-144463" defTabSz="914400">
              <a:spcBef>
                <a:spcPts val="0"/>
              </a:spcBef>
              <a:spcAft>
                <a:spcPts val="300"/>
              </a:spcAft>
              <a:buClr>
                <a:schemeClr val="accent6"/>
              </a:buClr>
              <a:buFont typeface="Arial" pitchFamily="34" charset="0"/>
              <a:buChar char="»"/>
              <a:defRPr sz="1400">
                <a:latin typeface="Swis721 Mio" pitchFamily="34" charset="0"/>
                <a:cs typeface="Arial" pitchFamily="34" charset="0"/>
              </a:defRPr>
            </a:lvl5pPr>
            <a:lvl6pPr indent="0" defTabSz="914400">
              <a:spcBef>
                <a:spcPct val="20000"/>
              </a:spcBef>
              <a:buFont typeface="Arial" pitchFamily="34" charset="0"/>
              <a:buNone/>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indent="0" defTabSz="914400">
              <a:spcBef>
                <a:spcPct val="20000"/>
              </a:spcBef>
              <a:buFont typeface="Arial" pitchFamily="34" charset="0"/>
              <a:buNone/>
              <a:defRPr sz="2000"/>
            </a:lvl9pPr>
          </a:lstStyle>
          <a:p>
            <a:pPr marL="180000" marR="0" lvl="0" indent="-180000" algn="l" defTabSz="914400" rtl="0" eaLnBrk="1" fontAlgn="auto" latinLnBrk="0" hangingPunct="1">
              <a:lnSpc>
                <a:spcPct val="100000"/>
              </a:lnSpc>
              <a:spcBef>
                <a:spcPts val="0"/>
              </a:spcBef>
              <a:spcAft>
                <a:spcPts val="300"/>
              </a:spcAft>
              <a:buClr>
                <a:srgbClr val="C72A34"/>
              </a:buClr>
              <a:buSzTx/>
              <a:buFont typeface="Wingdings" pitchFamily="2" charset="2"/>
              <a:buChar char="§"/>
              <a:tabLst/>
              <a:defRPr/>
            </a:pPr>
            <a:r>
              <a:rPr kumimoji="0" lang="de-DE" sz="1200" b="0" i="0" u="none" strike="noStrike" kern="1200" cap="none" spc="0" normalizeH="0" baseline="0" noProof="0">
                <a:ln>
                  <a:noFill/>
                </a:ln>
                <a:solidFill>
                  <a:srgbClr val="404040"/>
                </a:solidFill>
                <a:effectLst/>
                <a:uLnTx/>
                <a:uFillTx/>
                <a:latin typeface="Arial"/>
                <a:ea typeface="+mn-ea"/>
                <a:cs typeface="Arial" pitchFamily="34" charset="0"/>
              </a:rPr>
              <a:t>Berechnung der prospektiven Belegungs- und Kostenstruktur, insbesondere Personal- und Sachkosten</a:t>
            </a:r>
          </a:p>
          <a:p>
            <a:pPr marL="0" marR="0" lvl="0" indent="0" algn="l" defTabSz="914400" rtl="0" eaLnBrk="1" fontAlgn="auto" latinLnBrk="0" hangingPunct="1">
              <a:lnSpc>
                <a:spcPct val="100000"/>
              </a:lnSpc>
              <a:spcBef>
                <a:spcPts val="0"/>
              </a:spcBef>
              <a:spcAft>
                <a:spcPts val="300"/>
              </a:spcAft>
              <a:buClr>
                <a:srgbClr val="C72A34"/>
              </a:buClr>
              <a:buSzTx/>
              <a:buFont typeface="Wingdings" pitchFamily="2" charset="2"/>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Arial" pitchFamily="34" charset="0"/>
            </a:endParaRPr>
          </a:p>
        </p:txBody>
      </p:sp>
      <p:sp>
        <p:nvSpPr>
          <p:cNvPr id="82" name="MIO_TEXTBOX_BODY">
            <a:extLst>
              <a:ext uri="{FF2B5EF4-FFF2-40B4-BE49-F238E27FC236}">
                <a16:creationId xmlns:a16="http://schemas.microsoft.com/office/drawing/2014/main" id="{E9D5C4AE-BD93-3436-1FE6-602385F151BF}"/>
              </a:ext>
            </a:extLst>
          </p:cNvPr>
          <p:cNvSpPr txBox="1">
            <a:spLocks/>
          </p:cNvSpPr>
          <p:nvPr/>
        </p:nvSpPr>
        <p:spPr>
          <a:xfrm>
            <a:off x="7365756" y="1989008"/>
            <a:ext cx="2160000" cy="1512000"/>
          </a:xfrm>
          <a:prstGeom prst="rect">
            <a:avLst/>
          </a:prstGeom>
          <a:solidFill>
            <a:schemeClr val="bg2"/>
          </a:solidFill>
          <a:ln w="12700">
            <a:solidFill>
              <a:schemeClr val="accent5"/>
            </a:solidFill>
          </a:ln>
          <a:effectLst/>
        </p:spPr>
        <p:txBody>
          <a:bodyPr vert="horz" lIns="72000" tIns="72000" rIns="72000" bIns="72000" rtlCol="0">
            <a:noAutofit/>
          </a:bodyPr>
          <a:lstStyle>
            <a:defPPr>
              <a:defRPr lang="en-US"/>
            </a:defPPr>
            <a:lvl1pPr marL="180000" indent="-180000" defTabSz="914400">
              <a:spcBef>
                <a:spcPts val="0"/>
              </a:spcBef>
              <a:spcAft>
                <a:spcPts val="300"/>
              </a:spcAft>
              <a:buClr>
                <a:schemeClr val="accent1"/>
              </a:buClr>
              <a:buFont typeface="Wingdings" pitchFamily="2" charset="2"/>
              <a:buChar char="§"/>
              <a:defRPr sz="1400">
                <a:cs typeface="Arial" pitchFamily="34" charset="0"/>
              </a:defRPr>
            </a:lvl1pPr>
            <a:lvl2pPr marL="446088" indent="-166688" defTabSz="914400">
              <a:spcBef>
                <a:spcPts val="0"/>
              </a:spcBef>
              <a:spcAft>
                <a:spcPts val="300"/>
              </a:spcAft>
              <a:buClr>
                <a:schemeClr val="accent6"/>
              </a:buClr>
              <a:buFont typeface="Arial" pitchFamily="34" charset="0"/>
              <a:buChar char="–"/>
              <a:defRPr sz="1600">
                <a:latin typeface="Swis721 Mio" pitchFamily="34" charset="0"/>
                <a:cs typeface="Arial" pitchFamily="34" charset="0"/>
              </a:defRPr>
            </a:lvl2pPr>
            <a:lvl3pPr marL="804863" indent="-160338" defTabSz="914400">
              <a:spcBef>
                <a:spcPts val="0"/>
              </a:spcBef>
              <a:spcAft>
                <a:spcPts val="300"/>
              </a:spcAft>
              <a:buClr>
                <a:schemeClr val="accent6"/>
              </a:buClr>
              <a:buFont typeface="Wingdings" pitchFamily="2" charset="2"/>
              <a:buChar char="§"/>
              <a:defRPr sz="1400">
                <a:latin typeface="Swis721 Mio" pitchFamily="34" charset="0"/>
                <a:cs typeface="Arial" pitchFamily="34" charset="0"/>
              </a:defRPr>
            </a:lvl3pPr>
            <a:lvl4pPr marL="180000" lvl="3" indent="-180000" defTabSz="914400">
              <a:spcBef>
                <a:spcPts val="600"/>
              </a:spcBef>
              <a:spcAft>
                <a:spcPts val="300"/>
              </a:spcAft>
              <a:buClr>
                <a:srgbClr val="C72A34"/>
              </a:buClr>
              <a:buFont typeface="Wingdings" panose="05000000000000000000" pitchFamily="2" charset="2"/>
              <a:buChar char="§"/>
              <a:defRPr sz="1400">
                <a:solidFill>
                  <a:srgbClr val="404040"/>
                </a:solidFill>
                <a:latin typeface="Swis721 Mio" pitchFamily="34" charset="0"/>
                <a:cs typeface="Arial" pitchFamily="34" charset="0"/>
              </a:defRPr>
            </a:lvl4pPr>
            <a:lvl5pPr marL="1343025" indent="-144463" defTabSz="914400">
              <a:spcBef>
                <a:spcPts val="0"/>
              </a:spcBef>
              <a:spcAft>
                <a:spcPts val="300"/>
              </a:spcAft>
              <a:buClr>
                <a:schemeClr val="accent6"/>
              </a:buClr>
              <a:buFont typeface="Arial" pitchFamily="34" charset="0"/>
              <a:buChar char="»"/>
              <a:defRPr sz="1400">
                <a:latin typeface="Swis721 Mio" pitchFamily="34" charset="0"/>
                <a:cs typeface="Arial" pitchFamily="34" charset="0"/>
              </a:defRPr>
            </a:lvl5pPr>
            <a:lvl6pPr indent="0" defTabSz="914400">
              <a:spcBef>
                <a:spcPct val="20000"/>
              </a:spcBef>
              <a:buFont typeface="Arial" pitchFamily="34" charset="0"/>
              <a:buNone/>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indent="0" defTabSz="914400">
              <a:spcBef>
                <a:spcPct val="20000"/>
              </a:spcBef>
              <a:buFont typeface="Arial" pitchFamily="34" charset="0"/>
              <a:buNone/>
              <a:defRPr sz="2000"/>
            </a:lvl9pPr>
          </a:lstStyle>
          <a:p>
            <a:pPr marL="180000" marR="0" lvl="0" indent="-180000" algn="l" defTabSz="914400" rtl="0" eaLnBrk="1" fontAlgn="auto" latinLnBrk="0" hangingPunct="1">
              <a:lnSpc>
                <a:spcPct val="100000"/>
              </a:lnSpc>
              <a:spcBef>
                <a:spcPts val="0"/>
              </a:spcBef>
              <a:spcAft>
                <a:spcPts val="300"/>
              </a:spcAft>
              <a:buClr>
                <a:srgbClr val="C72A34"/>
              </a:buClr>
              <a:buSzTx/>
              <a:buFont typeface="Wingdings" pitchFamily="2" charset="2"/>
              <a:buChar char="§"/>
              <a:tabLst/>
              <a:defRPr/>
            </a:pPr>
            <a:r>
              <a:rPr kumimoji="0" lang="de-DE" sz="1200" b="0" i="0" u="none" strike="noStrike" kern="1200" cap="none" spc="0" normalizeH="0" baseline="0" noProof="0">
                <a:ln>
                  <a:noFill/>
                </a:ln>
                <a:solidFill>
                  <a:srgbClr val="404040"/>
                </a:solidFill>
                <a:effectLst/>
                <a:uLnTx/>
                <a:uFillTx/>
                <a:latin typeface="Arial"/>
                <a:ea typeface="+mn-ea"/>
                <a:cs typeface="Arial" pitchFamily="34" charset="0"/>
              </a:rPr>
              <a:t>Fristgerechte Einreichung des finalen Antrags bei den zuständigen Stellen</a:t>
            </a:r>
          </a:p>
          <a:p>
            <a:pPr marL="180000" marR="0" lvl="0" indent="-180000" algn="l" defTabSz="914400" rtl="0" eaLnBrk="1" fontAlgn="auto" latinLnBrk="0" hangingPunct="1">
              <a:lnSpc>
                <a:spcPct val="100000"/>
              </a:lnSpc>
              <a:spcBef>
                <a:spcPts val="0"/>
              </a:spcBef>
              <a:spcAft>
                <a:spcPts val="300"/>
              </a:spcAft>
              <a:buClr>
                <a:srgbClr val="C72A34"/>
              </a:buClr>
              <a:buSzTx/>
              <a:buFont typeface="Wingdings" pitchFamily="2" charset="2"/>
              <a:buChar char="§"/>
              <a:tabLst/>
              <a:defRPr/>
            </a:pPr>
            <a:r>
              <a:rPr kumimoji="0" lang="de-DE" sz="1200" b="0" i="0" u="none" strike="noStrike" kern="1200" cap="none" spc="0" normalizeH="0" baseline="0" noProof="0">
                <a:ln>
                  <a:noFill/>
                </a:ln>
                <a:solidFill>
                  <a:srgbClr val="404040"/>
                </a:solidFill>
                <a:effectLst/>
                <a:uLnTx/>
                <a:uFillTx/>
                <a:latin typeface="Arial"/>
                <a:ea typeface="+mn-ea"/>
                <a:cs typeface="Arial" pitchFamily="34" charset="0"/>
              </a:rPr>
              <a:t>Erstellung des Ankündigungsschreibens an die Bewohner:innen gemäß WBVG</a:t>
            </a:r>
          </a:p>
        </p:txBody>
      </p:sp>
      <p:sp>
        <p:nvSpPr>
          <p:cNvPr id="83" name="MIO_TEXTBOX_BODY">
            <a:extLst>
              <a:ext uri="{FF2B5EF4-FFF2-40B4-BE49-F238E27FC236}">
                <a16:creationId xmlns:a16="http://schemas.microsoft.com/office/drawing/2014/main" id="{4ABB4F13-5EE6-8DE7-E8E9-B251EB4A275C}"/>
              </a:ext>
            </a:extLst>
          </p:cNvPr>
          <p:cNvSpPr txBox="1">
            <a:spLocks/>
          </p:cNvSpPr>
          <p:nvPr/>
        </p:nvSpPr>
        <p:spPr>
          <a:xfrm>
            <a:off x="345515" y="4354738"/>
            <a:ext cx="2232000" cy="1512000"/>
          </a:xfrm>
          <a:prstGeom prst="rect">
            <a:avLst/>
          </a:prstGeom>
          <a:solidFill>
            <a:schemeClr val="bg2"/>
          </a:solidFill>
          <a:ln w="12700">
            <a:solidFill>
              <a:schemeClr val="accent5"/>
            </a:solidFill>
          </a:ln>
          <a:effectLst/>
        </p:spPr>
        <p:txBody>
          <a:bodyPr vert="horz" lIns="72000" tIns="72000" rIns="72000" bIns="72000" rtlCol="0">
            <a:noAutofit/>
          </a:bodyPr>
          <a:lstStyle>
            <a:defPPr>
              <a:defRPr lang="en-US"/>
            </a:defPPr>
            <a:lvl1pPr marL="180000" indent="-180000" defTabSz="914400">
              <a:spcBef>
                <a:spcPts val="0"/>
              </a:spcBef>
              <a:spcAft>
                <a:spcPts val="300"/>
              </a:spcAft>
              <a:buClr>
                <a:schemeClr val="accent1"/>
              </a:buClr>
              <a:buFont typeface="Wingdings" pitchFamily="2" charset="2"/>
              <a:buChar char="§"/>
              <a:defRPr sz="1400">
                <a:cs typeface="Arial" pitchFamily="34" charset="0"/>
              </a:defRPr>
            </a:lvl1pPr>
            <a:lvl2pPr marL="446088" indent="-166688" defTabSz="914400">
              <a:spcBef>
                <a:spcPts val="0"/>
              </a:spcBef>
              <a:spcAft>
                <a:spcPts val="300"/>
              </a:spcAft>
              <a:buClr>
                <a:schemeClr val="accent6"/>
              </a:buClr>
              <a:buFont typeface="Arial" pitchFamily="34" charset="0"/>
              <a:buChar char="–"/>
              <a:defRPr sz="1600">
                <a:latin typeface="Swis721 Mio" pitchFamily="34" charset="0"/>
                <a:cs typeface="Arial" pitchFamily="34" charset="0"/>
              </a:defRPr>
            </a:lvl2pPr>
            <a:lvl3pPr marL="804863" indent="-160338" defTabSz="914400">
              <a:spcBef>
                <a:spcPts val="0"/>
              </a:spcBef>
              <a:spcAft>
                <a:spcPts val="300"/>
              </a:spcAft>
              <a:buClr>
                <a:schemeClr val="accent6"/>
              </a:buClr>
              <a:buFont typeface="Wingdings" pitchFamily="2" charset="2"/>
              <a:buChar char="§"/>
              <a:defRPr sz="1400">
                <a:latin typeface="Swis721 Mio" pitchFamily="34" charset="0"/>
                <a:cs typeface="Arial" pitchFamily="34" charset="0"/>
              </a:defRPr>
            </a:lvl3pPr>
            <a:lvl4pPr marL="180000" lvl="3" indent="-180000" defTabSz="914400">
              <a:spcBef>
                <a:spcPts val="600"/>
              </a:spcBef>
              <a:spcAft>
                <a:spcPts val="300"/>
              </a:spcAft>
              <a:buClr>
                <a:srgbClr val="C72A34"/>
              </a:buClr>
              <a:buFont typeface="Wingdings" panose="05000000000000000000" pitchFamily="2" charset="2"/>
              <a:buChar char="§"/>
              <a:defRPr sz="1400">
                <a:solidFill>
                  <a:srgbClr val="404040"/>
                </a:solidFill>
                <a:latin typeface="Swis721 Mio" pitchFamily="34" charset="0"/>
                <a:cs typeface="Arial" pitchFamily="34" charset="0"/>
              </a:defRPr>
            </a:lvl4pPr>
            <a:lvl5pPr marL="1343025" indent="-144463" defTabSz="914400">
              <a:spcBef>
                <a:spcPts val="0"/>
              </a:spcBef>
              <a:spcAft>
                <a:spcPts val="300"/>
              </a:spcAft>
              <a:buClr>
                <a:schemeClr val="accent6"/>
              </a:buClr>
              <a:buFont typeface="Arial" pitchFamily="34" charset="0"/>
              <a:buChar char="»"/>
              <a:defRPr sz="1400">
                <a:latin typeface="Swis721 Mio" pitchFamily="34" charset="0"/>
                <a:cs typeface="Arial" pitchFamily="34" charset="0"/>
              </a:defRPr>
            </a:lvl5pPr>
            <a:lvl6pPr indent="0" defTabSz="914400">
              <a:spcBef>
                <a:spcPct val="20000"/>
              </a:spcBef>
              <a:buFont typeface="Arial" pitchFamily="34" charset="0"/>
              <a:buNone/>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indent="0" defTabSz="914400">
              <a:spcBef>
                <a:spcPct val="20000"/>
              </a:spcBef>
              <a:buFont typeface="Arial" pitchFamily="34" charset="0"/>
              <a:buNone/>
              <a:defRPr sz="2000"/>
            </a:lvl9pPr>
          </a:lstStyle>
          <a:p>
            <a:pPr marL="180000" marR="0" lvl="0" indent="-180000" algn="l" defTabSz="914400" rtl="0" eaLnBrk="1" fontAlgn="auto" latinLnBrk="0" hangingPunct="1">
              <a:lnSpc>
                <a:spcPct val="100000"/>
              </a:lnSpc>
              <a:spcBef>
                <a:spcPts val="0"/>
              </a:spcBef>
              <a:spcAft>
                <a:spcPts val="300"/>
              </a:spcAft>
              <a:buClr>
                <a:srgbClr val="C72A34"/>
              </a:buClr>
              <a:buSzTx/>
              <a:buFont typeface="Wingdings" pitchFamily="2" charset="2"/>
              <a:buChar char="§"/>
              <a:tabLst/>
              <a:defRPr/>
            </a:pPr>
            <a:r>
              <a:rPr kumimoji="0" lang="de-DE" sz="1200" b="0" i="0" u="none" strike="noStrike" kern="1200" cap="none" spc="0" normalizeH="0" baseline="0" noProof="0">
                <a:ln>
                  <a:noFill/>
                </a:ln>
                <a:solidFill>
                  <a:srgbClr val="404040"/>
                </a:solidFill>
                <a:effectLst/>
                <a:uLnTx/>
                <a:uFillTx/>
                <a:latin typeface="Arial"/>
                <a:ea typeface="+mn-ea"/>
                <a:cs typeface="Arial" pitchFamily="34" charset="0"/>
              </a:rPr>
              <a:t>Prüfung, welche Unterlagen zur Pflegesatzkalkulation benötigt werden und ob bzw. bis wann diese vorliegen</a:t>
            </a:r>
          </a:p>
        </p:txBody>
      </p:sp>
      <p:sp>
        <p:nvSpPr>
          <p:cNvPr id="84" name="MIO_TEXTBOX_BODY">
            <a:extLst>
              <a:ext uri="{FF2B5EF4-FFF2-40B4-BE49-F238E27FC236}">
                <a16:creationId xmlns:a16="http://schemas.microsoft.com/office/drawing/2014/main" id="{FFA51626-BD4F-D08E-3A1C-1134394E4F0F}"/>
              </a:ext>
            </a:extLst>
          </p:cNvPr>
          <p:cNvSpPr txBox="1">
            <a:spLocks/>
          </p:cNvSpPr>
          <p:nvPr/>
        </p:nvSpPr>
        <p:spPr>
          <a:xfrm>
            <a:off x="3441512" y="4354738"/>
            <a:ext cx="2339985" cy="1512000"/>
          </a:xfrm>
          <a:prstGeom prst="rect">
            <a:avLst/>
          </a:prstGeom>
          <a:solidFill>
            <a:schemeClr val="bg2"/>
          </a:solidFill>
          <a:ln w="12700">
            <a:solidFill>
              <a:schemeClr val="accent5"/>
            </a:solidFill>
          </a:ln>
          <a:effectLst/>
        </p:spPr>
        <p:txBody>
          <a:bodyPr vert="horz" lIns="72000" tIns="72000" rIns="72000" bIns="72000" rtlCol="0">
            <a:noAutofit/>
          </a:bodyPr>
          <a:lstStyle>
            <a:defPPr>
              <a:defRPr lang="en-US"/>
            </a:defPPr>
            <a:lvl1pPr marL="180000" indent="-180000" defTabSz="914400">
              <a:spcBef>
                <a:spcPts val="0"/>
              </a:spcBef>
              <a:spcAft>
                <a:spcPts val="300"/>
              </a:spcAft>
              <a:buClr>
                <a:schemeClr val="accent1"/>
              </a:buClr>
              <a:buFont typeface="Wingdings" pitchFamily="2" charset="2"/>
              <a:buChar char="§"/>
              <a:defRPr sz="1400">
                <a:cs typeface="Arial" pitchFamily="34" charset="0"/>
              </a:defRPr>
            </a:lvl1pPr>
            <a:lvl2pPr marL="446088" indent="-166688" defTabSz="914400">
              <a:spcBef>
                <a:spcPts val="0"/>
              </a:spcBef>
              <a:spcAft>
                <a:spcPts val="300"/>
              </a:spcAft>
              <a:buClr>
                <a:schemeClr val="accent6"/>
              </a:buClr>
              <a:buFont typeface="Arial" pitchFamily="34" charset="0"/>
              <a:buChar char="–"/>
              <a:defRPr sz="1600">
                <a:latin typeface="Swis721 Mio" pitchFamily="34" charset="0"/>
                <a:cs typeface="Arial" pitchFamily="34" charset="0"/>
              </a:defRPr>
            </a:lvl2pPr>
            <a:lvl3pPr marL="804863" indent="-160338" defTabSz="914400">
              <a:spcBef>
                <a:spcPts val="0"/>
              </a:spcBef>
              <a:spcAft>
                <a:spcPts val="300"/>
              </a:spcAft>
              <a:buClr>
                <a:schemeClr val="accent6"/>
              </a:buClr>
              <a:buFont typeface="Wingdings" pitchFamily="2" charset="2"/>
              <a:buChar char="§"/>
              <a:defRPr sz="1400">
                <a:latin typeface="Swis721 Mio" pitchFamily="34" charset="0"/>
                <a:cs typeface="Arial" pitchFamily="34" charset="0"/>
              </a:defRPr>
            </a:lvl3pPr>
            <a:lvl4pPr marL="180000" lvl="3" indent="-180000" defTabSz="914400">
              <a:spcBef>
                <a:spcPts val="600"/>
              </a:spcBef>
              <a:spcAft>
                <a:spcPts val="300"/>
              </a:spcAft>
              <a:buClr>
                <a:srgbClr val="C72A34"/>
              </a:buClr>
              <a:buFont typeface="Wingdings" panose="05000000000000000000" pitchFamily="2" charset="2"/>
              <a:buChar char="§"/>
              <a:defRPr sz="1400">
                <a:solidFill>
                  <a:srgbClr val="404040"/>
                </a:solidFill>
                <a:latin typeface="Swis721 Mio" pitchFamily="34" charset="0"/>
                <a:cs typeface="Arial" pitchFamily="34" charset="0"/>
              </a:defRPr>
            </a:lvl4pPr>
            <a:lvl5pPr marL="1343025" indent="-144463" defTabSz="914400">
              <a:spcBef>
                <a:spcPts val="0"/>
              </a:spcBef>
              <a:spcAft>
                <a:spcPts val="300"/>
              </a:spcAft>
              <a:buClr>
                <a:schemeClr val="accent6"/>
              </a:buClr>
              <a:buFont typeface="Arial" pitchFamily="34" charset="0"/>
              <a:buChar char="»"/>
              <a:defRPr sz="1400">
                <a:latin typeface="Swis721 Mio" pitchFamily="34" charset="0"/>
                <a:cs typeface="Arial" pitchFamily="34" charset="0"/>
              </a:defRPr>
            </a:lvl5pPr>
            <a:lvl6pPr indent="0" defTabSz="914400">
              <a:spcBef>
                <a:spcPct val="20000"/>
              </a:spcBef>
              <a:buFont typeface="Arial" pitchFamily="34" charset="0"/>
              <a:buNone/>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indent="0" defTabSz="914400">
              <a:spcBef>
                <a:spcPct val="20000"/>
              </a:spcBef>
              <a:buFont typeface="Arial" pitchFamily="34" charset="0"/>
              <a:buNone/>
              <a:defRPr sz="2000"/>
            </a:lvl9pPr>
          </a:lstStyle>
          <a:p>
            <a:pPr marL="180000" marR="0" lvl="0" indent="-180000" algn="l" defTabSz="914400" rtl="0" eaLnBrk="1" fontAlgn="auto" latinLnBrk="0" hangingPunct="1">
              <a:lnSpc>
                <a:spcPct val="100000"/>
              </a:lnSpc>
              <a:spcBef>
                <a:spcPts val="0"/>
              </a:spcBef>
              <a:spcAft>
                <a:spcPts val="300"/>
              </a:spcAft>
              <a:buClr>
                <a:srgbClr val="C72A34"/>
              </a:buClr>
              <a:buSzTx/>
              <a:buFont typeface="Wingdings" pitchFamily="2" charset="2"/>
              <a:buChar char="§"/>
              <a:tabLst/>
              <a:defRPr/>
            </a:pPr>
            <a:r>
              <a:rPr kumimoji="0" lang="de-DE" sz="1100" b="0" i="0" u="none" strike="noStrike" kern="1200" cap="none" spc="0" normalizeH="0" baseline="0" noProof="0">
                <a:ln>
                  <a:noFill/>
                </a:ln>
                <a:solidFill>
                  <a:srgbClr val="404040"/>
                </a:solidFill>
                <a:effectLst/>
                <a:uLnTx/>
                <a:uFillTx/>
                <a:latin typeface="Arial"/>
                <a:ea typeface="+mn-ea"/>
                <a:cs typeface="Arial" pitchFamily="34" charset="0"/>
              </a:rPr>
              <a:t>Sind alle gesetzlichen und heimrechtlichen Anforderungen berücksichtigt?</a:t>
            </a:r>
          </a:p>
          <a:p>
            <a:pPr marL="180000" marR="0" lvl="0" indent="-180000" algn="l" defTabSz="914400" rtl="0" eaLnBrk="1" fontAlgn="auto" latinLnBrk="0" hangingPunct="1">
              <a:lnSpc>
                <a:spcPct val="100000"/>
              </a:lnSpc>
              <a:spcBef>
                <a:spcPts val="0"/>
              </a:spcBef>
              <a:spcAft>
                <a:spcPts val="300"/>
              </a:spcAft>
              <a:buClr>
                <a:srgbClr val="C72A34"/>
              </a:buClr>
              <a:buSzTx/>
              <a:buFont typeface="Wingdings" pitchFamily="2" charset="2"/>
              <a:buChar char="§"/>
              <a:tabLst/>
              <a:defRPr/>
            </a:pPr>
            <a:r>
              <a:rPr kumimoji="0" lang="de-DE" sz="1100" b="0" i="0" u="none" strike="noStrike" kern="1200" cap="none" spc="0" normalizeH="0" baseline="0" noProof="0">
                <a:ln>
                  <a:noFill/>
                </a:ln>
                <a:solidFill>
                  <a:srgbClr val="404040"/>
                </a:solidFill>
                <a:effectLst/>
                <a:uLnTx/>
                <a:uFillTx/>
                <a:latin typeface="Arial"/>
                <a:ea typeface="+mn-ea"/>
                <a:cs typeface="Arial" pitchFamily="34" charset="0"/>
              </a:rPr>
              <a:t>Sind die errechneten Pflegesätze kostendeckend und realistisch? </a:t>
            </a:r>
          </a:p>
          <a:p>
            <a:pPr marL="180000" marR="0" lvl="0" indent="-180000" algn="l" defTabSz="914400" rtl="0" eaLnBrk="1" fontAlgn="auto" latinLnBrk="0" hangingPunct="1">
              <a:lnSpc>
                <a:spcPct val="100000"/>
              </a:lnSpc>
              <a:spcBef>
                <a:spcPts val="0"/>
              </a:spcBef>
              <a:spcAft>
                <a:spcPts val="300"/>
              </a:spcAft>
              <a:buClr>
                <a:srgbClr val="C72A34"/>
              </a:buClr>
              <a:buSzTx/>
              <a:buFont typeface="Wingdings" pitchFamily="2" charset="2"/>
              <a:buChar char="§"/>
              <a:tabLst/>
              <a:defRPr/>
            </a:pPr>
            <a:r>
              <a:rPr kumimoji="0" lang="de-DE" sz="1100" b="0" i="0" u="none" strike="noStrike" kern="1200" cap="none" spc="0" normalizeH="0" baseline="0" noProof="0">
                <a:ln>
                  <a:noFill/>
                </a:ln>
                <a:solidFill>
                  <a:srgbClr val="404040"/>
                </a:solidFill>
                <a:effectLst/>
                <a:uLnTx/>
                <a:uFillTx/>
                <a:latin typeface="Arial"/>
                <a:ea typeface="+mn-ea"/>
                <a:cs typeface="Arial" pitchFamily="34" charset="0"/>
              </a:rPr>
              <a:t>Wie sind die Erfolgsaussichten? Sind Anpassungen erforderlich?</a:t>
            </a:r>
          </a:p>
        </p:txBody>
      </p:sp>
      <p:sp>
        <p:nvSpPr>
          <p:cNvPr id="85" name="MIO_TEXTBOX_BODY">
            <a:extLst>
              <a:ext uri="{FF2B5EF4-FFF2-40B4-BE49-F238E27FC236}">
                <a16:creationId xmlns:a16="http://schemas.microsoft.com/office/drawing/2014/main" id="{43F3F920-1853-63F5-156C-44A21E5540F1}"/>
              </a:ext>
            </a:extLst>
          </p:cNvPr>
          <p:cNvSpPr txBox="1">
            <a:spLocks/>
          </p:cNvSpPr>
          <p:nvPr/>
        </p:nvSpPr>
        <p:spPr>
          <a:xfrm>
            <a:off x="6537507" y="4354742"/>
            <a:ext cx="2483189" cy="1512000"/>
          </a:xfrm>
          <a:prstGeom prst="rect">
            <a:avLst/>
          </a:prstGeom>
          <a:solidFill>
            <a:schemeClr val="bg2"/>
          </a:solidFill>
          <a:ln w="12700">
            <a:solidFill>
              <a:schemeClr val="accent5"/>
            </a:solidFill>
          </a:ln>
          <a:effectLst/>
        </p:spPr>
        <p:txBody>
          <a:bodyPr vert="horz" lIns="72000" tIns="72000" rIns="72000" bIns="72000" rtlCol="0">
            <a:noAutofit/>
          </a:bodyPr>
          <a:lstStyle>
            <a:defPPr>
              <a:defRPr lang="en-US"/>
            </a:defPPr>
            <a:lvl1pPr marL="180000" indent="-180000" defTabSz="914400">
              <a:spcBef>
                <a:spcPts val="0"/>
              </a:spcBef>
              <a:spcAft>
                <a:spcPts val="300"/>
              </a:spcAft>
              <a:buClr>
                <a:schemeClr val="accent1"/>
              </a:buClr>
              <a:buFont typeface="Wingdings" pitchFamily="2" charset="2"/>
              <a:buChar char="§"/>
              <a:defRPr sz="1400">
                <a:cs typeface="Arial" pitchFamily="34" charset="0"/>
              </a:defRPr>
            </a:lvl1pPr>
            <a:lvl2pPr marL="446088" indent="-166688" defTabSz="914400">
              <a:spcBef>
                <a:spcPts val="0"/>
              </a:spcBef>
              <a:spcAft>
                <a:spcPts val="300"/>
              </a:spcAft>
              <a:buClr>
                <a:schemeClr val="accent6"/>
              </a:buClr>
              <a:buFont typeface="Arial" pitchFamily="34" charset="0"/>
              <a:buChar char="–"/>
              <a:defRPr sz="1600">
                <a:latin typeface="Swis721 Mio" pitchFamily="34" charset="0"/>
                <a:cs typeface="Arial" pitchFamily="34" charset="0"/>
              </a:defRPr>
            </a:lvl2pPr>
            <a:lvl3pPr marL="804863" indent="-160338" defTabSz="914400">
              <a:spcBef>
                <a:spcPts val="0"/>
              </a:spcBef>
              <a:spcAft>
                <a:spcPts val="300"/>
              </a:spcAft>
              <a:buClr>
                <a:schemeClr val="accent6"/>
              </a:buClr>
              <a:buFont typeface="Wingdings" pitchFamily="2" charset="2"/>
              <a:buChar char="§"/>
              <a:defRPr sz="1400">
                <a:latin typeface="Swis721 Mio" pitchFamily="34" charset="0"/>
                <a:cs typeface="Arial" pitchFamily="34" charset="0"/>
              </a:defRPr>
            </a:lvl3pPr>
            <a:lvl4pPr marL="180000" lvl="3" indent="-180000" defTabSz="914400">
              <a:spcBef>
                <a:spcPts val="600"/>
              </a:spcBef>
              <a:spcAft>
                <a:spcPts val="300"/>
              </a:spcAft>
              <a:buClr>
                <a:srgbClr val="C72A34"/>
              </a:buClr>
              <a:buFont typeface="Wingdings" panose="05000000000000000000" pitchFamily="2" charset="2"/>
              <a:buChar char="§"/>
              <a:defRPr sz="1400">
                <a:solidFill>
                  <a:srgbClr val="404040"/>
                </a:solidFill>
                <a:latin typeface="Swis721 Mio" pitchFamily="34" charset="0"/>
                <a:cs typeface="Arial" pitchFamily="34" charset="0"/>
              </a:defRPr>
            </a:lvl4pPr>
            <a:lvl5pPr marL="1343025" indent="-144463" defTabSz="914400">
              <a:spcBef>
                <a:spcPts val="0"/>
              </a:spcBef>
              <a:spcAft>
                <a:spcPts val="300"/>
              </a:spcAft>
              <a:buClr>
                <a:schemeClr val="accent6"/>
              </a:buClr>
              <a:buFont typeface="Arial" pitchFamily="34" charset="0"/>
              <a:buChar char="»"/>
              <a:defRPr sz="1400">
                <a:latin typeface="Swis721 Mio" pitchFamily="34" charset="0"/>
                <a:cs typeface="Arial" pitchFamily="34" charset="0"/>
              </a:defRPr>
            </a:lvl5pPr>
            <a:lvl6pPr indent="0" defTabSz="914400">
              <a:spcBef>
                <a:spcPct val="20000"/>
              </a:spcBef>
              <a:buFont typeface="Arial" pitchFamily="34" charset="0"/>
              <a:buNone/>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indent="0" defTabSz="914400">
              <a:spcBef>
                <a:spcPct val="20000"/>
              </a:spcBef>
              <a:buFont typeface="Arial" pitchFamily="34" charset="0"/>
              <a:buNone/>
              <a:defRPr sz="2000"/>
            </a:lvl9pPr>
          </a:lstStyle>
          <a:p>
            <a:pPr marL="180000" marR="0" lvl="0" indent="-180000" algn="l" defTabSz="914400" rtl="0" eaLnBrk="1" fontAlgn="auto" latinLnBrk="0" hangingPunct="1">
              <a:lnSpc>
                <a:spcPct val="100000"/>
              </a:lnSpc>
              <a:spcBef>
                <a:spcPts val="0"/>
              </a:spcBef>
              <a:spcAft>
                <a:spcPts val="300"/>
              </a:spcAft>
              <a:buClr>
                <a:srgbClr val="C72A34"/>
              </a:buClr>
              <a:buSzTx/>
              <a:buFont typeface="Wingdings" pitchFamily="2" charset="2"/>
              <a:buChar char="§"/>
              <a:tabLst/>
              <a:defRPr/>
            </a:pPr>
            <a:r>
              <a:rPr kumimoji="0" lang="de-DE" sz="1100" b="0" i="0" u="none" strike="noStrike" kern="1200" cap="none" spc="0" normalizeH="0" baseline="0" noProof="0">
                <a:ln>
                  <a:noFill/>
                </a:ln>
                <a:solidFill>
                  <a:srgbClr val="404040"/>
                </a:solidFill>
                <a:effectLst/>
                <a:uLnTx/>
                <a:uFillTx/>
                <a:latin typeface="Arial"/>
                <a:ea typeface="+mn-ea"/>
                <a:cs typeface="Arial" pitchFamily="34" charset="0"/>
              </a:rPr>
              <a:t>Ggf. müssen Rückfragen im Rahmen der Verhandlung unter Vorlage von Nachweisen beantwortet werden</a:t>
            </a:r>
          </a:p>
          <a:p>
            <a:pPr marL="180000" marR="0" lvl="0" indent="-180000" algn="l" defTabSz="914400" rtl="0" eaLnBrk="1" fontAlgn="auto" latinLnBrk="0" hangingPunct="1">
              <a:lnSpc>
                <a:spcPct val="100000"/>
              </a:lnSpc>
              <a:spcBef>
                <a:spcPts val="0"/>
              </a:spcBef>
              <a:spcAft>
                <a:spcPts val="300"/>
              </a:spcAft>
              <a:buClr>
                <a:srgbClr val="C72A34"/>
              </a:buClr>
              <a:buSzTx/>
              <a:buFont typeface="Wingdings" pitchFamily="2" charset="2"/>
              <a:buChar char="§"/>
              <a:tabLst/>
              <a:defRPr/>
            </a:pPr>
            <a:r>
              <a:rPr kumimoji="0" lang="de-DE" sz="1100" b="0" i="0" u="none" strike="noStrike" kern="1200" cap="none" spc="0" normalizeH="0" baseline="0" noProof="0">
                <a:ln>
                  <a:noFill/>
                </a:ln>
                <a:solidFill>
                  <a:srgbClr val="404040"/>
                </a:solidFill>
                <a:effectLst/>
                <a:uLnTx/>
                <a:uFillTx/>
                <a:latin typeface="Arial"/>
                <a:ea typeface="+mn-ea"/>
                <a:cs typeface="Arial" pitchFamily="34" charset="0"/>
              </a:rPr>
              <a:t>Ist die Stellung eines fristwahrenden Schiedsstellenantrags wegen Verzögerungen erforderlich?</a:t>
            </a:r>
          </a:p>
        </p:txBody>
      </p:sp>
      <p:sp>
        <p:nvSpPr>
          <p:cNvPr id="4" name="Foliennummernplatzhalter 3">
            <a:extLst>
              <a:ext uri="{FF2B5EF4-FFF2-40B4-BE49-F238E27FC236}">
                <a16:creationId xmlns:a16="http://schemas.microsoft.com/office/drawing/2014/main" id="{21E0C53A-C786-5E29-0371-474C2403332A}"/>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322A94-3156-491B-AD20-567107C600A1}" type="slidenum">
              <a:rPr kumimoji="0" lang="de-DE"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de-DE" sz="800" b="0" i="0" u="none" strike="noStrike" kern="1200" cap="none" spc="0" normalizeH="0" baseline="0" noProof="0">
              <a:ln>
                <a:noFill/>
              </a:ln>
              <a:solidFill>
                <a:srgbClr val="404040">
                  <a:tint val="75000"/>
                </a:srgbClr>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817626110"/>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04A023-EA38-A5FD-2063-C36F7B5FBCA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DFC3455-1FE8-2E55-490D-771C9DAAB2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60" imgH="360" progId="TCLayout.ActiveDocument.1">
                  <p:embed/>
                </p:oleObj>
              </mc:Choice>
              <mc:Fallback>
                <p:oleObj name="think-cell Folie" r:id="rId15" imgW="360" imgH="360" progId="TCLayout.ActiveDocument.1">
                  <p:embed/>
                  <p:pic>
                    <p:nvPicPr>
                      <p:cNvPr id="6" name="Objekt 5" hidden="1">
                        <a:extLst>
                          <a:ext uri="{FF2B5EF4-FFF2-40B4-BE49-F238E27FC236}">
                            <a16:creationId xmlns:a16="http://schemas.microsoft.com/office/drawing/2014/main" id="{CDFC3455-1FE8-2E55-490D-771C9DAAB29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D81340ED-ABDD-C9DF-4CDC-1058005EE3A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2" name="Titel 1">
            <a:extLst>
              <a:ext uri="{FF2B5EF4-FFF2-40B4-BE49-F238E27FC236}">
                <a16:creationId xmlns:a16="http://schemas.microsoft.com/office/drawing/2014/main" id="{84E55F93-F7BD-DF81-C8E7-192D068B03CC}"/>
              </a:ext>
            </a:extLst>
          </p:cNvPr>
          <p:cNvSpPr>
            <a:spLocks noGrp="1"/>
          </p:cNvSpPr>
          <p:nvPr>
            <p:ph type="title"/>
          </p:nvPr>
        </p:nvSpPr>
        <p:spPr/>
        <p:txBody>
          <a:bodyPr vert="horz"/>
          <a:lstStyle/>
          <a:p>
            <a:r>
              <a:rPr lang="de-DE" dirty="0"/>
              <a:t>Abgrenzung von Kosten des Eigenpersonals, zentraler Dienstleistung und Fremddienstleistungen</a:t>
            </a:r>
          </a:p>
        </p:txBody>
      </p:sp>
      <p:sp>
        <p:nvSpPr>
          <p:cNvPr id="12" name="Foliennummernplatzhalter 11">
            <a:extLst>
              <a:ext uri="{FF2B5EF4-FFF2-40B4-BE49-F238E27FC236}">
                <a16:creationId xmlns:a16="http://schemas.microsoft.com/office/drawing/2014/main" id="{826A82BB-F7B0-5650-3CAE-31818E93F0D7}"/>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322A94-3156-491B-AD20-567107C600A1}" type="slidenum">
              <a:rPr kumimoji="0" lang="de-DE" sz="800" b="0" i="0" u="none" strike="noStrike" kern="1200" cap="none" spc="0" normalizeH="0" baseline="0" noProof="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800" b="0" i="0" u="none" strike="noStrike" kern="1200" cap="none" spc="0" normalizeH="0" baseline="0" noProof="0" dirty="0">
              <a:ln>
                <a:noFill/>
              </a:ln>
              <a:solidFill>
                <a:srgbClr val="404040">
                  <a:tint val="75000"/>
                </a:srgbClr>
              </a:solidFill>
              <a:effectLst/>
              <a:uLnTx/>
              <a:uFillTx/>
              <a:latin typeface="Arial"/>
              <a:ea typeface="+mn-ea"/>
              <a:cs typeface="+mn-cs"/>
            </a:endParaRPr>
          </a:p>
        </p:txBody>
      </p:sp>
      <p:sp>
        <p:nvSpPr>
          <p:cNvPr id="3" name="Textplatzhalter 2">
            <a:extLst>
              <a:ext uri="{FF2B5EF4-FFF2-40B4-BE49-F238E27FC236}">
                <a16:creationId xmlns:a16="http://schemas.microsoft.com/office/drawing/2014/main" id="{534C9D57-2E34-90EA-E7AF-4156E7BAB051}"/>
              </a:ext>
            </a:extLst>
          </p:cNvPr>
          <p:cNvSpPr>
            <a:spLocks noGrp="1"/>
          </p:cNvSpPr>
          <p:nvPr>
            <p:ph type="body" sz="quarter" idx="14"/>
          </p:nvPr>
        </p:nvSpPr>
        <p:spPr/>
        <p:txBody>
          <a:bodyPr/>
          <a:lstStyle/>
          <a:p>
            <a:r>
              <a:rPr lang="de-DE" dirty="0"/>
              <a:t>Differenzierung von Personal- und Sachkosten sowie Umrechnung der erbrachten Leistungen</a:t>
            </a:r>
          </a:p>
        </p:txBody>
      </p:sp>
      <p:grpSp>
        <p:nvGrpSpPr>
          <p:cNvPr id="15" name="Schnittmenge_1">
            <a:extLst>
              <a:ext uri="{FF2B5EF4-FFF2-40B4-BE49-F238E27FC236}">
                <a16:creationId xmlns:a16="http://schemas.microsoft.com/office/drawing/2014/main" id="{4FF60F91-EA11-0CFB-DF97-FA72D7936F59}"/>
              </a:ext>
            </a:extLst>
          </p:cNvPr>
          <p:cNvGrpSpPr>
            <a:grpSpLocks/>
          </p:cNvGrpSpPr>
          <p:nvPr>
            <p:custDataLst>
              <p:tags r:id="rId4"/>
            </p:custDataLst>
          </p:nvPr>
        </p:nvGrpSpPr>
        <p:grpSpPr>
          <a:xfrm>
            <a:off x="345512" y="1914623"/>
            <a:ext cx="9216002" cy="1226345"/>
            <a:chOff x="345512" y="1914623"/>
            <a:chExt cx="9216002" cy="3530601"/>
          </a:xfrm>
        </p:grpSpPr>
        <p:sp>
          <p:nvSpPr>
            <p:cNvPr id="7" name="MIO_OBJECT4">
              <a:extLst>
                <a:ext uri="{FF2B5EF4-FFF2-40B4-BE49-F238E27FC236}">
                  <a16:creationId xmlns:a16="http://schemas.microsoft.com/office/drawing/2014/main" id="{50DCD269-4BA6-690C-4E78-1E832AA68AF5}"/>
                </a:ext>
              </a:extLst>
            </p:cNvPr>
            <p:cNvSpPr>
              <a:spLocks noChangeArrowheads="1"/>
            </p:cNvSpPr>
            <p:nvPr>
              <p:custDataLst>
                <p:tags r:id="rId8"/>
              </p:custDataLst>
            </p:nvPr>
          </p:nvSpPr>
          <p:spPr bwMode="gray">
            <a:xfrm>
              <a:off x="345512" y="1914623"/>
              <a:ext cx="3507198" cy="3530601"/>
            </a:xfrm>
            <a:prstGeom prst="ellipse">
              <a:avLst/>
            </a:prstGeom>
            <a:solidFill>
              <a:schemeClr val="accent4"/>
            </a:solidFill>
            <a:ln w="9525" algn="ctr">
              <a:noFill/>
              <a:miter lim="800000"/>
              <a:headEnd/>
              <a:tailEnd/>
            </a:ln>
          </p:spPr>
          <p:txBody>
            <a:bodyPr wrap="square" lIns="71988" tIns="45712" rIns="91424" bIns="45712" anchor="ctr" anchorCtr="1">
              <a:noAutofit/>
            </a:bodyPr>
            <a:lstStyle/>
            <a:p>
              <a:pPr marL="0" marR="0" lvl="0" indent="0" algn="ctr" defTabSz="457200" rtl="0" eaLnBrk="0" fontAlgn="auto" latinLnBrk="0" hangingPunct="0">
                <a:lnSpc>
                  <a:spcPct val="100000"/>
                </a:lnSpc>
                <a:spcBef>
                  <a:spcPts val="0"/>
                </a:spcBef>
                <a:spcAft>
                  <a:spcPts val="417"/>
                </a:spcAft>
                <a:buClrTx/>
                <a:buSzTx/>
                <a:buFontTx/>
                <a:buNone/>
                <a:tabLst/>
                <a:defRPr/>
              </a:pPr>
              <a:r>
                <a:rPr kumimoji="0" lang="de-DE" sz="1600" b="0" i="0" u="none" strike="noStrike" kern="1200" cap="none" spc="0" normalizeH="0" baseline="0" noProof="0" dirty="0">
                  <a:ln>
                    <a:noFill/>
                  </a:ln>
                  <a:solidFill>
                    <a:srgbClr val="404040"/>
                  </a:solidFill>
                  <a:effectLst/>
                  <a:uLnTx/>
                  <a:uFillTx/>
                  <a:latin typeface="Arial" panose="020B0604020202020204" pitchFamily="34" charset="0"/>
                  <a:ea typeface="+mn-ea"/>
                  <a:cs typeface="+mn-cs"/>
                </a:rPr>
                <a:t>Eigenleistung</a:t>
              </a:r>
            </a:p>
          </p:txBody>
        </p:sp>
        <p:sp>
          <p:nvSpPr>
            <p:cNvPr id="8" name="MIO_OBJECT4">
              <a:extLst>
                <a:ext uri="{FF2B5EF4-FFF2-40B4-BE49-F238E27FC236}">
                  <a16:creationId xmlns:a16="http://schemas.microsoft.com/office/drawing/2014/main" id="{E229F625-2559-B979-71B4-4B602C6B22A6}"/>
                </a:ext>
              </a:extLst>
            </p:cNvPr>
            <p:cNvSpPr>
              <a:spLocks noChangeArrowheads="1"/>
            </p:cNvSpPr>
            <p:nvPr>
              <p:custDataLst>
                <p:tags r:id="rId9"/>
              </p:custDataLst>
            </p:nvPr>
          </p:nvSpPr>
          <p:spPr bwMode="gray">
            <a:xfrm>
              <a:off x="3202814" y="1914623"/>
              <a:ext cx="3507198" cy="3530601"/>
            </a:xfrm>
            <a:prstGeom prst="ellipse">
              <a:avLst/>
            </a:prstGeom>
            <a:solidFill>
              <a:schemeClr val="accent4"/>
            </a:solidFill>
            <a:ln w="9525" algn="ctr">
              <a:noFill/>
              <a:miter lim="800000"/>
              <a:headEnd/>
              <a:tailEnd/>
            </a:ln>
          </p:spPr>
          <p:txBody>
            <a:bodyPr wrap="square" lIns="71988" tIns="45712" rIns="91424" bIns="45712" anchor="ctr" anchorCtr="1">
              <a:noAutofit/>
            </a:bodyPr>
            <a:lstStyle/>
            <a:p>
              <a:pPr marL="0" marR="0" lvl="0" indent="0" algn="ctr" defTabSz="457200" rtl="0" eaLnBrk="0" fontAlgn="auto" latinLnBrk="0" hangingPunct="0">
                <a:lnSpc>
                  <a:spcPct val="100000"/>
                </a:lnSpc>
                <a:spcBef>
                  <a:spcPts val="0"/>
                </a:spcBef>
                <a:spcAft>
                  <a:spcPts val="417"/>
                </a:spcAft>
                <a:buClrTx/>
                <a:buSzTx/>
                <a:buFontTx/>
                <a:buNone/>
                <a:tabLst/>
                <a:defRPr/>
              </a:pPr>
              <a:r>
                <a:rPr kumimoji="0" lang="de-DE" sz="1600" b="0" i="0" u="none" strike="noStrike" kern="1200" cap="none" spc="0" normalizeH="0" baseline="0" noProof="0" dirty="0">
                  <a:ln>
                    <a:noFill/>
                  </a:ln>
                  <a:solidFill>
                    <a:srgbClr val="404040"/>
                  </a:solidFill>
                  <a:effectLst/>
                  <a:uLnTx/>
                  <a:uFillTx/>
                  <a:latin typeface="Arial" panose="020B0604020202020204" pitchFamily="34" charset="0"/>
                  <a:ea typeface="+mn-ea"/>
                  <a:cs typeface="+mn-cs"/>
                </a:rPr>
                <a:t>Zentrale Dienstleistung</a:t>
              </a:r>
            </a:p>
          </p:txBody>
        </p:sp>
        <p:sp>
          <p:nvSpPr>
            <p:cNvPr id="9" name="MIO_OBJECT4">
              <a:extLst>
                <a:ext uri="{FF2B5EF4-FFF2-40B4-BE49-F238E27FC236}">
                  <a16:creationId xmlns:a16="http://schemas.microsoft.com/office/drawing/2014/main" id="{D09C9F34-5D3A-16BF-6228-556A19C5073F}"/>
                </a:ext>
              </a:extLst>
            </p:cNvPr>
            <p:cNvSpPr>
              <a:spLocks noChangeArrowheads="1"/>
            </p:cNvSpPr>
            <p:nvPr>
              <p:custDataLst>
                <p:tags r:id="rId10"/>
              </p:custDataLst>
            </p:nvPr>
          </p:nvSpPr>
          <p:spPr bwMode="gray">
            <a:xfrm>
              <a:off x="6054316" y="1914623"/>
              <a:ext cx="3507198" cy="3530601"/>
            </a:xfrm>
            <a:prstGeom prst="ellipse">
              <a:avLst/>
            </a:prstGeom>
            <a:solidFill>
              <a:schemeClr val="accent4"/>
            </a:solidFill>
            <a:ln w="9525" algn="ctr">
              <a:noFill/>
              <a:miter lim="800000"/>
              <a:headEnd/>
              <a:tailEnd/>
            </a:ln>
          </p:spPr>
          <p:txBody>
            <a:bodyPr wrap="square" lIns="71988" tIns="45712" rIns="91424" bIns="45712" anchor="ctr" anchorCtr="1">
              <a:noAutofit/>
            </a:bodyPr>
            <a:lstStyle/>
            <a:p>
              <a:pPr marL="0" marR="0" lvl="0" indent="0" algn="ctr" defTabSz="457200" rtl="0" eaLnBrk="0" fontAlgn="auto" latinLnBrk="0" hangingPunct="0">
                <a:lnSpc>
                  <a:spcPct val="100000"/>
                </a:lnSpc>
                <a:spcBef>
                  <a:spcPts val="0"/>
                </a:spcBef>
                <a:spcAft>
                  <a:spcPts val="417"/>
                </a:spcAft>
                <a:buClrTx/>
                <a:buSzTx/>
                <a:buFontTx/>
                <a:buNone/>
                <a:tabLst/>
                <a:defRPr/>
              </a:pPr>
              <a:r>
                <a:rPr kumimoji="0" lang="de-DE" sz="1600" b="0" i="0" u="none" strike="noStrike" kern="1200" cap="none" spc="0" normalizeH="0" baseline="0" noProof="0" dirty="0">
                  <a:ln>
                    <a:noFill/>
                  </a:ln>
                  <a:solidFill>
                    <a:srgbClr val="404040"/>
                  </a:solidFill>
                  <a:effectLst/>
                  <a:uLnTx/>
                  <a:uFillTx/>
                  <a:latin typeface="Arial" panose="020B0604020202020204" pitchFamily="34" charset="0"/>
                  <a:ea typeface="+mn-ea"/>
                  <a:cs typeface="+mn-cs"/>
                </a:rPr>
                <a:t>Fremdleistung</a:t>
              </a:r>
            </a:p>
          </p:txBody>
        </p:sp>
        <p:sp>
          <p:nvSpPr>
            <p:cNvPr id="10" name="MIO_OBJECT3">
              <a:extLst>
                <a:ext uri="{FF2B5EF4-FFF2-40B4-BE49-F238E27FC236}">
                  <a16:creationId xmlns:a16="http://schemas.microsoft.com/office/drawing/2014/main" id="{A56FF15B-636A-1ED5-4919-534E1B05EB99}"/>
                </a:ext>
              </a:extLst>
            </p:cNvPr>
            <p:cNvSpPr>
              <a:spLocks noChangeArrowheads="1"/>
            </p:cNvSpPr>
            <p:nvPr>
              <p:custDataLst>
                <p:tags r:id="rId11"/>
              </p:custDataLst>
            </p:nvPr>
          </p:nvSpPr>
          <p:spPr bwMode="gray">
            <a:xfrm>
              <a:off x="3202816" y="2658651"/>
              <a:ext cx="649897" cy="2042546"/>
            </a:xfrm>
            <a:custGeom>
              <a:avLst/>
              <a:gdLst/>
              <a:ahLst/>
              <a:cxnLst/>
              <a:rect l="l" t="t" r="r" b="b"/>
              <a:pathLst>
                <a:path w="533675" h="1666156">
                  <a:moveTo>
                    <a:pt x="266838" y="0"/>
                  </a:moveTo>
                  <a:cubicBezTo>
                    <a:pt x="435243" y="234567"/>
                    <a:pt x="533675" y="522328"/>
                    <a:pt x="533675" y="833078"/>
                  </a:cubicBezTo>
                  <a:cubicBezTo>
                    <a:pt x="533675" y="1143829"/>
                    <a:pt x="435243" y="1431589"/>
                    <a:pt x="266838" y="1666156"/>
                  </a:cubicBezTo>
                  <a:cubicBezTo>
                    <a:pt x="98432" y="1431589"/>
                    <a:pt x="0" y="1143829"/>
                    <a:pt x="0" y="833078"/>
                  </a:cubicBezTo>
                  <a:cubicBezTo>
                    <a:pt x="0" y="522328"/>
                    <a:pt x="98432" y="234567"/>
                    <a:pt x="266838" y="0"/>
                  </a:cubicBezTo>
                  <a:close/>
                </a:path>
              </a:pathLst>
            </a:custGeom>
            <a:solidFill>
              <a:schemeClr val="accent2"/>
            </a:solidFill>
            <a:ln w="9525" algn="ctr">
              <a:noFill/>
              <a:miter lim="800000"/>
              <a:headEnd/>
              <a:tailEnd/>
            </a:ln>
          </p:spPr>
          <p:txBody>
            <a:bodyPr wrap="square" lIns="71988" tIns="45712" rIns="91424" bIns="45712" anchor="ctr" anchorCtr="1">
              <a:noAutofit/>
            </a:bodyPr>
            <a:lstStyle/>
            <a:p>
              <a:pPr marL="0" marR="0" lvl="0" indent="0" algn="ctr" defTabSz="457200" rtl="0" eaLnBrk="0" fontAlgn="auto" latinLnBrk="0" hangingPunct="0">
                <a:lnSpc>
                  <a:spcPct val="100000"/>
                </a:lnSpc>
                <a:spcBef>
                  <a:spcPts val="0"/>
                </a:spcBef>
                <a:spcAft>
                  <a:spcPts val="417"/>
                </a:spcAft>
                <a:buClrTx/>
                <a:buSzTx/>
                <a:buFontTx/>
                <a:buNone/>
                <a:tabLst/>
                <a:defRPr/>
              </a:pPr>
              <a:endParaRPr kumimoji="0" lang="de-DE" sz="16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4" name="MIO_OBJECT3">
              <a:extLst>
                <a:ext uri="{FF2B5EF4-FFF2-40B4-BE49-F238E27FC236}">
                  <a16:creationId xmlns:a16="http://schemas.microsoft.com/office/drawing/2014/main" id="{A4152669-4395-E8FD-CD0D-165084D22A68}"/>
                </a:ext>
              </a:extLst>
            </p:cNvPr>
            <p:cNvSpPr>
              <a:spLocks noChangeArrowheads="1"/>
            </p:cNvSpPr>
            <p:nvPr>
              <p:custDataLst>
                <p:tags r:id="rId12"/>
              </p:custDataLst>
            </p:nvPr>
          </p:nvSpPr>
          <p:spPr bwMode="gray">
            <a:xfrm>
              <a:off x="6054316" y="2654748"/>
              <a:ext cx="655698" cy="2050354"/>
            </a:xfrm>
            <a:custGeom>
              <a:avLst/>
              <a:gdLst/>
              <a:ahLst/>
              <a:cxnLst/>
              <a:rect l="l" t="t" r="r" b="b"/>
              <a:pathLst>
                <a:path w="538438" h="1672525">
                  <a:moveTo>
                    <a:pt x="269219" y="0"/>
                  </a:moveTo>
                  <a:cubicBezTo>
                    <a:pt x="439100" y="235108"/>
                    <a:pt x="538438" y="524084"/>
                    <a:pt x="538438" y="836262"/>
                  </a:cubicBezTo>
                  <a:cubicBezTo>
                    <a:pt x="538438" y="1148440"/>
                    <a:pt x="439100" y="1437416"/>
                    <a:pt x="269219" y="1672525"/>
                  </a:cubicBezTo>
                  <a:cubicBezTo>
                    <a:pt x="99339" y="1437416"/>
                    <a:pt x="0" y="1148440"/>
                    <a:pt x="0" y="836262"/>
                  </a:cubicBezTo>
                  <a:cubicBezTo>
                    <a:pt x="0" y="524084"/>
                    <a:pt x="99339" y="235108"/>
                    <a:pt x="269219" y="0"/>
                  </a:cubicBezTo>
                  <a:close/>
                </a:path>
              </a:pathLst>
            </a:custGeom>
            <a:solidFill>
              <a:schemeClr val="accent2"/>
            </a:solidFill>
            <a:ln w="9525" algn="ctr">
              <a:noFill/>
              <a:miter lim="800000"/>
              <a:headEnd/>
              <a:tailEnd/>
            </a:ln>
          </p:spPr>
          <p:txBody>
            <a:bodyPr wrap="square" lIns="71988" tIns="45712" rIns="91424" bIns="45712" anchor="ctr" anchorCtr="1">
              <a:noAutofit/>
            </a:bodyPr>
            <a:lstStyle/>
            <a:p>
              <a:pPr marL="0" marR="0" lvl="0" indent="0" algn="ctr" defTabSz="457200" rtl="0" eaLnBrk="0" fontAlgn="auto" latinLnBrk="0" hangingPunct="0">
                <a:lnSpc>
                  <a:spcPct val="100000"/>
                </a:lnSpc>
                <a:spcBef>
                  <a:spcPts val="0"/>
                </a:spcBef>
                <a:spcAft>
                  <a:spcPts val="417"/>
                </a:spcAft>
                <a:buClrTx/>
                <a:buSzTx/>
                <a:buFontTx/>
                <a:buNone/>
                <a:tabLst/>
                <a:defRPr/>
              </a:pPr>
              <a:endParaRPr kumimoji="0" lang="de-DE" sz="16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sp>
        <p:nvSpPr>
          <p:cNvPr id="18" name="Textbox 2_rosa">
            <a:extLst>
              <a:ext uri="{FF2B5EF4-FFF2-40B4-BE49-F238E27FC236}">
                <a16:creationId xmlns:a16="http://schemas.microsoft.com/office/drawing/2014/main" id="{B313C1D1-A22A-C995-37E2-09F4886E3FEE}"/>
              </a:ext>
            </a:extLst>
          </p:cNvPr>
          <p:cNvSpPr/>
          <p:nvPr>
            <p:custDataLst>
              <p:tags r:id="rId5"/>
            </p:custDataLst>
          </p:nvPr>
        </p:nvSpPr>
        <p:spPr>
          <a:xfrm>
            <a:off x="3538177" y="3428999"/>
            <a:ext cx="2952000" cy="28797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 rIns="91440" bIns="45720" numCol="1" spcCol="0" rtlCol="0" fromWordArt="0" anchor="t" anchorCtr="0" forceAA="0" compatLnSpc="1">
            <a:prstTxWarp prst="textNoShape">
              <a:avLst/>
            </a:prstTxWarp>
            <a:noAutofit/>
          </a:bodyPr>
          <a:lstStyle>
            <a:lvl1pPr>
              <a:buClr>
                <a:schemeClr val="accent1"/>
              </a:buClr>
              <a:buFont typeface="Wingdings" panose="05000000000000000000" pitchFamily="2" charset="2"/>
              <a:buChar char="§"/>
            </a:lvl1pPr>
            <a:lvl2pPr>
              <a:buClr>
                <a:schemeClr val="accent1"/>
              </a:buClr>
              <a:buFont typeface="Wingdings" panose="05000000000000000000" pitchFamily="2" charset="2"/>
              <a:buChar char="§"/>
            </a:lvl2pPr>
            <a:lvl3pPr>
              <a:buClr>
                <a:schemeClr val="accent1"/>
              </a:buClr>
              <a:buFont typeface="Symbol" panose="05050102010706020507" pitchFamily="18" charset="2"/>
              <a:buChar char="-"/>
            </a:lvl3pPr>
            <a:lvl4pPr>
              <a:buClr>
                <a:schemeClr val="accent1"/>
              </a:buClr>
              <a:buFont typeface="Arial" panose="020B0604020202020204" pitchFamily="34" charset="0"/>
              <a:buChar char="•"/>
            </a:lvl4pPr>
            <a:lvl5pPr>
              <a:buClr>
                <a:schemeClr val="accent1"/>
              </a:buClr>
              <a:buFont typeface="Wingdings 3" panose="05040102010807070707" pitchFamily="18" charset="2"/>
              <a:buChar char=""/>
            </a:lvl5pPr>
            <a:lvl6pPr>
              <a:buClr>
                <a:schemeClr val="accent1"/>
              </a:buClr>
              <a:buFont typeface="Wingdings 3" panose="05040102010807070707" pitchFamily="18" charset="2"/>
              <a:buChar char=""/>
            </a:lvl6pPr>
            <a:lvl7pPr>
              <a:buClr>
                <a:schemeClr val="accent1"/>
              </a:buClr>
              <a:buFont typeface="Wingdings 3" panose="05040102010807070707" pitchFamily="18" charset="2"/>
              <a:buChar char=""/>
            </a:lvl7pPr>
            <a:lvl8pPr>
              <a:buClr>
                <a:schemeClr val="accent1"/>
              </a:buClr>
              <a:buFont typeface="Wingdings 3" panose="05040102010807070707" pitchFamily="18" charset="2"/>
              <a:buChar char=""/>
            </a:lvl8pPr>
            <a:lvl9pPr>
              <a:buClr>
                <a:schemeClr val="accent1"/>
              </a:buClr>
              <a:buFont typeface="Wingdings 3" panose="05040102010807070707" pitchFamily="18" charset="2"/>
              <a:buChar char=""/>
            </a:lvl9pPr>
          </a:lstStyle>
          <a:p>
            <a:pPr marL="0" marR="0" lvl="3" indent="0" algn="ctr" defTabSz="914400" rtl="0" eaLnBrk="1" fontAlgn="auto" latinLnBrk="0" hangingPunct="1">
              <a:lnSpc>
                <a:spcPct val="100000"/>
              </a:lnSpc>
              <a:spcBef>
                <a:spcPts val="0"/>
              </a:spcBef>
              <a:spcAft>
                <a:spcPts val="600"/>
              </a:spcAft>
              <a:buClr>
                <a:srgbClr val="C72A34"/>
              </a:buClr>
              <a:buSzTx/>
              <a:buFont typeface="Arial" panose="020B0604020202020204" pitchFamily="34" charset="0"/>
              <a:buNone/>
              <a:tabLst/>
              <a:defRPr/>
            </a:pPr>
            <a:r>
              <a:rPr kumimoji="0" lang="de-DE" sz="1400" b="1" i="0" u="none" strike="noStrike" kern="1200" cap="none" spc="0" normalizeH="0" baseline="0" noProof="0" dirty="0">
                <a:ln>
                  <a:noFill/>
                </a:ln>
                <a:solidFill>
                  <a:srgbClr val="C72A34"/>
                </a:solidFill>
                <a:effectLst/>
                <a:uLnTx/>
                <a:uFillTx/>
                <a:latin typeface="Arial"/>
                <a:ea typeface="+mn-ea"/>
                <a:cs typeface="+mn-cs"/>
              </a:rPr>
              <a:t>Vollständig oder teilweise ausgegliedert?</a:t>
            </a:r>
            <a:endParaRPr kumimoji="0" lang="de-DE" sz="1400" b="0" i="0" u="none" strike="noStrike" kern="1200" cap="none" spc="0" normalizeH="0" baseline="0" noProof="0" dirty="0">
              <a:ln>
                <a:noFill/>
              </a:ln>
              <a:solidFill>
                <a:srgbClr val="404040"/>
              </a:solidFill>
              <a:effectLst/>
              <a:uLnTx/>
              <a:uFillTx/>
              <a:latin typeface="Arial"/>
              <a:ea typeface="+mn-ea"/>
              <a:cs typeface="+mn-cs"/>
            </a:endParaRPr>
          </a:p>
          <a:p>
            <a:pPr marL="285750" marR="0" lvl="3" indent="-285750"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r>
              <a:rPr kumimoji="0" lang="de-DE" sz="1400" b="0" i="0" u="none" strike="noStrike" kern="1200" cap="none" spc="0" normalizeH="0" baseline="0" noProof="0" dirty="0">
                <a:ln>
                  <a:noFill/>
                </a:ln>
                <a:solidFill>
                  <a:srgbClr val="404040"/>
                </a:solidFill>
                <a:effectLst/>
                <a:uLnTx/>
                <a:uFillTx/>
                <a:latin typeface="Arial"/>
                <a:ea typeface="+mn-ea"/>
                <a:cs typeface="+mn-cs"/>
              </a:rPr>
              <a:t>Ermittlung der Personalmenge anhand der eingesetzten Zeit, ggf. zzgl. des Eigenpersonals</a:t>
            </a:r>
          </a:p>
          <a:p>
            <a:pPr marL="285750" marR="0" lvl="3" indent="-285750"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r>
              <a:rPr kumimoji="0" lang="de-DE" sz="1400" b="0" i="0" u="none" strike="noStrike" kern="1200" cap="none" spc="0" normalizeH="0" baseline="0" noProof="0" dirty="0">
                <a:ln>
                  <a:noFill/>
                </a:ln>
                <a:solidFill>
                  <a:srgbClr val="404040"/>
                </a:solidFill>
                <a:effectLst/>
                <a:uLnTx/>
                <a:uFillTx/>
                <a:latin typeface="Arial"/>
                <a:ea typeface="+mn-ea"/>
                <a:cs typeface="+mn-cs"/>
              </a:rPr>
              <a:t>Ermittlung der Personalkosten aus der Buchhaltung (bspw. Umlage) abzgl. etwaiger im Preis enthaltener Sachkosten</a:t>
            </a:r>
          </a:p>
          <a:p>
            <a:pPr marL="285750" marR="0" lvl="3" indent="-285750" algn="l" defTabSz="914400" rtl="0" eaLnBrk="1" fontAlgn="auto" latinLnBrk="0" hangingPunct="1">
              <a:lnSpc>
                <a:spcPct val="100000"/>
              </a:lnSpc>
              <a:spcBef>
                <a:spcPts val="0"/>
              </a:spcBef>
              <a:spcAft>
                <a:spcPts val="0"/>
              </a:spcAft>
              <a:buClr>
                <a:srgbClr val="C72A34"/>
              </a:buClr>
              <a:buSzTx/>
              <a:buFont typeface="Wingdings" panose="05000000000000000000" pitchFamily="2" charset="2"/>
              <a:buChar char="§"/>
              <a:tabLst/>
              <a:defRPr/>
            </a:pPr>
            <a:r>
              <a:rPr kumimoji="0" lang="de-DE" sz="1400" b="1" i="0" u="none" strike="noStrike" kern="1200" cap="none" spc="0" normalizeH="0" baseline="0" noProof="0" dirty="0">
                <a:ln>
                  <a:noFill/>
                </a:ln>
                <a:solidFill>
                  <a:srgbClr val="404040"/>
                </a:solidFill>
                <a:effectLst/>
                <a:uLnTx/>
                <a:uFillTx/>
                <a:latin typeface="Arial"/>
                <a:ea typeface="+mn-ea"/>
                <a:cs typeface="+mn-cs"/>
              </a:rPr>
              <a:t>Wie erfolgt die Ermittlung der weiterberechneten Umlage?</a:t>
            </a:r>
          </a:p>
        </p:txBody>
      </p:sp>
      <p:sp>
        <p:nvSpPr>
          <p:cNvPr id="19" name="Textbox 1_outline grau">
            <a:extLst>
              <a:ext uri="{FF2B5EF4-FFF2-40B4-BE49-F238E27FC236}">
                <a16:creationId xmlns:a16="http://schemas.microsoft.com/office/drawing/2014/main" id="{DCDEAB62-5D6B-1611-6169-1543F8F44507}"/>
              </a:ext>
            </a:extLst>
          </p:cNvPr>
          <p:cNvSpPr/>
          <p:nvPr>
            <p:custDataLst>
              <p:tags r:id="rId6"/>
            </p:custDataLst>
          </p:nvPr>
        </p:nvSpPr>
        <p:spPr>
          <a:xfrm>
            <a:off x="586177" y="3428999"/>
            <a:ext cx="2952000" cy="2879725"/>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180000" indent="-180000" algn="l" defTabSz="914400" rtl="0" eaLnBrk="1" latinLnBrk="0" hangingPunct="1">
              <a:buClr>
                <a:schemeClr val="accent1"/>
              </a:buClr>
              <a:buFont typeface="Wingdings" panose="05000000000000000000" pitchFamily="2" charset="2"/>
              <a:buChar char="§"/>
            </a:lvl1pPr>
            <a:lvl2pPr marL="180000" indent="-180000" algn="l" defTabSz="914400" rtl="0" eaLnBrk="1" latinLnBrk="0" hangingPunct="1">
              <a:buClr>
                <a:schemeClr val="accent1"/>
              </a:buClr>
              <a:buFont typeface="Wingdings" panose="05000000000000000000" pitchFamily="2" charset="2"/>
              <a:buChar char="§"/>
            </a:lvl2pPr>
            <a:lvl3pPr marL="180000" indent="-180000" algn="l" defTabSz="914400" rtl="0" eaLnBrk="1" latinLnBrk="0" hangingPunct="1">
              <a:buClr>
                <a:schemeClr val="accent1"/>
              </a:buClr>
              <a:buFont typeface="Symbol" panose="05050102010706020507" pitchFamily="18" charset="2"/>
              <a:buChar char="-"/>
            </a:lvl3pPr>
            <a:lvl4pPr marL="180000" indent="-180000" algn="l" defTabSz="914400" rtl="0" eaLnBrk="1" latinLnBrk="0" hangingPunct="1">
              <a:buClr>
                <a:schemeClr val="accent1"/>
              </a:buClr>
              <a:buFont typeface="Arial" panose="020B0604020202020204" pitchFamily="34" charset="0"/>
              <a:buChar char="•"/>
            </a:lvl4pPr>
            <a:lvl5pPr marL="360000" indent="-180000" algn="l" defTabSz="914400" rtl="0" eaLnBrk="1" latinLnBrk="0" hangingPunct="1">
              <a:buClr>
                <a:schemeClr val="accent1"/>
              </a:buClr>
              <a:buFont typeface="Wingdings 3" panose="05040102010807070707" pitchFamily="18" charset="2"/>
              <a:buChar char=""/>
            </a:lvl5pPr>
            <a:lvl6pPr marL="288000" indent="-288000" algn="l" defTabSz="914400" rtl="0" eaLnBrk="1" latinLnBrk="0" hangingPunct="1">
              <a:buClr>
                <a:schemeClr val="accent1"/>
              </a:buClr>
              <a:buFont typeface="Wingdings 3" panose="05040102010807070707" pitchFamily="18" charset="2"/>
              <a:buChar char=""/>
            </a:lvl6pPr>
            <a:lvl7pPr marL="288000" indent="-288000" algn="l" defTabSz="914400" rtl="0" eaLnBrk="1" latinLnBrk="0" hangingPunct="1">
              <a:buClr>
                <a:schemeClr val="accent1"/>
              </a:buClr>
              <a:buFont typeface="Wingdings 3" panose="05040102010807070707" pitchFamily="18" charset="2"/>
              <a:buChar char=""/>
            </a:lvl7pPr>
            <a:lvl8pPr marL="288000" indent="-288000" algn="l" defTabSz="914400" rtl="0" eaLnBrk="1" latinLnBrk="0" hangingPunct="1">
              <a:buClr>
                <a:schemeClr val="accent1"/>
              </a:buClr>
              <a:buFont typeface="Wingdings 3" panose="05040102010807070707" pitchFamily="18" charset="2"/>
              <a:buChar char=""/>
            </a:lvl8pPr>
            <a:lvl9pPr marL="288000" indent="-288000" algn="l" defTabSz="914400" rtl="0" eaLnBrk="1" latinLnBrk="0" hangingPunct="1">
              <a:buClr>
                <a:schemeClr val="accent1"/>
              </a:buClr>
              <a:buFont typeface="Wingdings 3" panose="05040102010807070707" pitchFamily="18" charset="2"/>
              <a:buChar char=""/>
            </a:lvl9pPr>
          </a:lstStyle>
          <a:p>
            <a:pPr marL="180000" marR="0" lvl="0" indent="-180000"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r>
              <a:rPr kumimoji="0" lang="de-DE" sz="1400" b="0" i="0" u="none" strike="noStrike" kern="1200" cap="none" spc="0" normalizeH="0" baseline="0" noProof="0" dirty="0">
                <a:ln>
                  <a:noFill/>
                </a:ln>
                <a:solidFill>
                  <a:srgbClr val="404040"/>
                </a:solidFill>
                <a:effectLst/>
                <a:uLnTx/>
                <a:uFillTx/>
                <a:latin typeface="Arial"/>
                <a:ea typeface="+mn-ea"/>
                <a:cs typeface="+mn-cs"/>
              </a:rPr>
              <a:t>Ermittlung der eingesetzten und einzusetzenden Personalmenge anhand von Personalschlüsseln</a:t>
            </a:r>
          </a:p>
          <a:p>
            <a:pPr marL="180000" marR="0" lvl="0" indent="-180000" algn="l" defTabSz="914400" rtl="0" eaLnBrk="1" fontAlgn="auto" latinLnBrk="0" hangingPunct="1">
              <a:lnSpc>
                <a:spcPct val="100000"/>
              </a:lnSpc>
              <a:spcBef>
                <a:spcPts val="0"/>
              </a:spcBef>
              <a:spcAft>
                <a:spcPts val="600"/>
              </a:spcAft>
              <a:buClr>
                <a:srgbClr val="C72A34"/>
              </a:buClr>
              <a:buSzTx/>
              <a:buFont typeface="Wingdings" panose="05000000000000000000" pitchFamily="2" charset="2"/>
              <a:buChar char="§"/>
              <a:tabLst/>
              <a:defRPr/>
            </a:pPr>
            <a:r>
              <a:rPr kumimoji="0" lang="de-DE" sz="1400" b="0" i="0" u="none" strike="noStrike" kern="1200" cap="none" spc="0" normalizeH="0" baseline="0" noProof="0" dirty="0">
                <a:ln>
                  <a:noFill/>
                </a:ln>
                <a:solidFill>
                  <a:srgbClr val="404040"/>
                </a:solidFill>
                <a:effectLst/>
                <a:uLnTx/>
                <a:uFillTx/>
                <a:latin typeface="Arial"/>
                <a:ea typeface="+mn-ea"/>
                <a:cs typeface="+mn-cs"/>
              </a:rPr>
              <a:t>Ermittlung der Personalkosten aus der Lohnbuchhaltung, ggf. unter Hinzurechnung der Personalnebenkosten aus der Buchhaltung</a:t>
            </a:r>
          </a:p>
          <a:p>
            <a:pPr marL="180000" marR="0" lvl="0" indent="-180000" algn="l" defTabSz="914400" rtl="0" eaLnBrk="1" fontAlgn="auto" latinLnBrk="0" hangingPunct="1">
              <a:lnSpc>
                <a:spcPct val="100000"/>
              </a:lnSpc>
              <a:spcBef>
                <a:spcPts val="0"/>
              </a:spcBef>
              <a:spcAft>
                <a:spcPts val="0"/>
              </a:spcAft>
              <a:buClr>
                <a:srgbClr val="C72A34"/>
              </a:buClr>
              <a:buSzTx/>
              <a:buFont typeface="Wingdings" panose="05000000000000000000" pitchFamily="2" charset="2"/>
              <a:buChar char="§"/>
              <a:tabLst/>
              <a:defRPr/>
            </a:pPr>
            <a:r>
              <a:rPr kumimoji="0" lang="de-DE" sz="1400" b="0" i="0" u="none" strike="noStrike" kern="1200" cap="none" spc="0" normalizeH="0" baseline="0" noProof="0" dirty="0">
                <a:ln>
                  <a:noFill/>
                </a:ln>
                <a:solidFill>
                  <a:srgbClr val="404040"/>
                </a:solidFill>
                <a:effectLst/>
                <a:uLnTx/>
                <a:uFillTx/>
                <a:latin typeface="Arial"/>
                <a:ea typeface="+mn-ea"/>
                <a:cs typeface="+mn-cs"/>
              </a:rPr>
              <a:t>Sachkosten sind der Buchhaltung zu entnehmen</a:t>
            </a:r>
          </a:p>
          <a:p>
            <a:pPr marL="180000" marR="0" lvl="0" indent="-180000" algn="l" defTabSz="914400" rtl="0" eaLnBrk="1" fontAlgn="auto" latinLnBrk="0" hangingPunct="1">
              <a:lnSpc>
                <a:spcPct val="100000"/>
              </a:lnSpc>
              <a:spcBef>
                <a:spcPts val="0"/>
              </a:spcBef>
              <a:spcAft>
                <a:spcPts val="0"/>
              </a:spcAft>
              <a:buClr>
                <a:srgbClr val="C72A34"/>
              </a:buClr>
              <a:buSzTx/>
              <a:buFont typeface="Wingdings" panose="05000000000000000000" pitchFamily="2" charset="2"/>
              <a:buChar char="§"/>
              <a:tabLst/>
              <a:defRPr/>
            </a:pPr>
            <a:endParaRPr kumimoji="0" lang="de-DE" sz="1400" b="0" i="0" u="none" strike="noStrike" kern="1200" cap="none" spc="0" normalizeH="0" baseline="0" noProof="0" dirty="0">
              <a:ln>
                <a:noFill/>
              </a:ln>
              <a:solidFill>
                <a:srgbClr val="404040"/>
              </a:solidFill>
              <a:effectLst/>
              <a:uLnTx/>
              <a:uFillTx/>
              <a:latin typeface="Arial"/>
              <a:ea typeface="+mn-ea"/>
              <a:cs typeface="+mn-cs"/>
            </a:endParaRPr>
          </a:p>
        </p:txBody>
      </p:sp>
      <p:sp>
        <p:nvSpPr>
          <p:cNvPr id="20" name="Textbox 1_outline grau">
            <a:extLst>
              <a:ext uri="{FF2B5EF4-FFF2-40B4-BE49-F238E27FC236}">
                <a16:creationId xmlns:a16="http://schemas.microsoft.com/office/drawing/2014/main" id="{7F87AB56-835F-8558-8A45-2547B50FDB23}"/>
              </a:ext>
            </a:extLst>
          </p:cNvPr>
          <p:cNvSpPr/>
          <p:nvPr>
            <p:custDataLst>
              <p:tags r:id="rId7"/>
            </p:custDataLst>
          </p:nvPr>
        </p:nvSpPr>
        <p:spPr>
          <a:xfrm>
            <a:off x="6490177" y="3429000"/>
            <a:ext cx="2952000" cy="2879724"/>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180000" indent="-180000" algn="l" defTabSz="914400" rtl="0" eaLnBrk="1" latinLnBrk="0" hangingPunct="1">
              <a:buClr>
                <a:schemeClr val="accent1"/>
              </a:buClr>
              <a:buFont typeface="Wingdings" panose="05000000000000000000" pitchFamily="2" charset="2"/>
              <a:buChar char="§"/>
            </a:lvl1pPr>
            <a:lvl2pPr marL="180000" indent="-180000" algn="l" defTabSz="914400" rtl="0" eaLnBrk="1" latinLnBrk="0" hangingPunct="1">
              <a:buClr>
                <a:schemeClr val="accent1"/>
              </a:buClr>
              <a:buFont typeface="Wingdings" panose="05000000000000000000" pitchFamily="2" charset="2"/>
              <a:buChar char="§"/>
            </a:lvl2pPr>
            <a:lvl3pPr marL="180000" indent="-180000" algn="l" defTabSz="914400" rtl="0" eaLnBrk="1" latinLnBrk="0" hangingPunct="1">
              <a:buClr>
                <a:schemeClr val="accent1"/>
              </a:buClr>
              <a:buFont typeface="Wingdings" panose="05000000000000000000" pitchFamily="2" charset="2"/>
              <a:buChar char="§"/>
            </a:lvl3pPr>
            <a:lvl4pPr marL="180000" indent="-180000" algn="l" defTabSz="914400" rtl="0" eaLnBrk="1" latinLnBrk="0" hangingPunct="1">
              <a:buClr>
                <a:schemeClr val="accent1"/>
              </a:buClr>
              <a:buFont typeface="Wingdings" panose="05000000000000000000" pitchFamily="2" charset="2"/>
              <a:buChar char="§"/>
            </a:lvl4pPr>
            <a:lvl5pPr marL="360000" indent="-180000" algn="l" defTabSz="914400" rtl="0" eaLnBrk="1" latinLnBrk="0" hangingPunct="1">
              <a:buClr>
                <a:schemeClr val="accent1"/>
              </a:buClr>
              <a:buFont typeface="Symbol" panose="05050102010706020507" pitchFamily="18" charset="2"/>
              <a:buChar char=""/>
            </a:lvl5pPr>
            <a:lvl6pPr marL="288000" indent="-288000" algn="l" defTabSz="914400" rtl="0" eaLnBrk="1" latinLnBrk="0" hangingPunct="1">
              <a:buClr>
                <a:schemeClr val="accent1"/>
              </a:buClr>
              <a:buFont typeface="Wingdings 3" panose="05040102010807070707" pitchFamily="18" charset="2"/>
              <a:buChar char=""/>
            </a:lvl6pPr>
            <a:lvl7pPr marL="288000" indent="-288000" algn="l" defTabSz="914400" rtl="0" eaLnBrk="1" latinLnBrk="0" hangingPunct="1">
              <a:buClr>
                <a:schemeClr val="accent1"/>
              </a:buClr>
              <a:buFont typeface="Wingdings 3" panose="05040102010807070707" pitchFamily="18" charset="2"/>
              <a:buChar char=""/>
            </a:lvl7pPr>
            <a:lvl8pPr marL="288000" indent="-288000" algn="l" defTabSz="914400" rtl="0" eaLnBrk="1" latinLnBrk="0" hangingPunct="1">
              <a:buClr>
                <a:schemeClr val="accent1"/>
              </a:buClr>
              <a:buFont typeface="Wingdings 3" panose="05040102010807070707" pitchFamily="18" charset="2"/>
              <a:buChar char=""/>
            </a:lvl8pPr>
            <a:lvl9pPr marL="288000" indent="-288000" algn="l" defTabSz="914400" rtl="0" eaLnBrk="1" latinLnBrk="0" hangingPunct="1">
              <a:buClr>
                <a:schemeClr val="accent1"/>
              </a:buClr>
              <a:buFont typeface="Wingdings 3" panose="05040102010807070707" pitchFamily="18" charset="2"/>
              <a:buChar char=""/>
            </a:lvl9pPr>
          </a:lstStyle>
          <a:p>
            <a:pPr marL="180000" marR="0" lvl="0" indent="-180000" algn="ctr" defTabSz="914400" rtl="0" eaLnBrk="1" fontAlgn="auto" latinLnBrk="0" hangingPunct="1">
              <a:lnSpc>
                <a:spcPct val="100000"/>
              </a:lnSpc>
              <a:spcBef>
                <a:spcPts val="0"/>
              </a:spcBef>
              <a:spcAft>
                <a:spcPts val="0"/>
              </a:spcAft>
              <a:buClr>
                <a:srgbClr val="C72A34"/>
              </a:buClr>
              <a:buSzTx/>
              <a:buFont typeface="Wingdings" panose="05000000000000000000" pitchFamily="2" charset="2"/>
              <a:buNone/>
              <a:tabLst/>
              <a:defRPr/>
            </a:pPr>
            <a:r>
              <a:rPr kumimoji="0" lang="de-DE" sz="1400" b="1" i="0" u="none" strike="noStrike" kern="1200" cap="none" spc="0" normalizeH="0" baseline="0" noProof="0" dirty="0">
                <a:ln>
                  <a:noFill/>
                </a:ln>
                <a:solidFill>
                  <a:srgbClr val="404040"/>
                </a:solidFill>
                <a:effectLst/>
                <a:uLnTx/>
                <a:uFillTx/>
                <a:latin typeface="Arial"/>
                <a:ea typeface="+mn-ea"/>
                <a:cs typeface="+mn-cs"/>
              </a:rPr>
              <a:t>Vollständig oder teilweise fremdvergeben?</a:t>
            </a:r>
            <a:endParaRPr kumimoji="0" lang="de-DE" sz="1400" b="0" i="0" u="none" strike="noStrike" kern="1200" cap="none" spc="0" normalizeH="0" baseline="0" noProof="0" dirty="0">
              <a:ln>
                <a:noFill/>
              </a:ln>
              <a:solidFill>
                <a:srgbClr val="404040"/>
              </a:solidFill>
              <a:effectLst/>
              <a:uLnTx/>
              <a:uFillTx/>
              <a:latin typeface="Arial"/>
              <a:ea typeface="+mn-ea"/>
              <a:cs typeface="+mn-cs"/>
            </a:endParaRPr>
          </a:p>
          <a:p>
            <a:pPr marL="180000" marR="0" lvl="3" indent="-180000" algn="l" defTabSz="914400" rtl="0" eaLnBrk="1" fontAlgn="auto" latinLnBrk="0" hangingPunct="1">
              <a:lnSpc>
                <a:spcPct val="100000"/>
              </a:lnSpc>
              <a:spcBef>
                <a:spcPts val="600"/>
              </a:spcBef>
              <a:spcAft>
                <a:spcPts val="0"/>
              </a:spcAft>
              <a:buClr>
                <a:srgbClr val="C72A34"/>
              </a:buClr>
              <a:buSzTx/>
              <a:buFont typeface="Wingdings" panose="05000000000000000000" pitchFamily="2" charset="2"/>
              <a:buChar char="§"/>
              <a:tabLst/>
              <a:defRPr/>
            </a:pPr>
            <a:r>
              <a:rPr kumimoji="0" lang="de-DE" sz="1400" b="0" i="0" u="none" strike="noStrike" kern="1200" cap="none" spc="0" normalizeH="0" baseline="0" noProof="0" dirty="0">
                <a:ln>
                  <a:noFill/>
                </a:ln>
                <a:solidFill>
                  <a:srgbClr val="404040"/>
                </a:solidFill>
                <a:effectLst/>
                <a:uLnTx/>
                <a:uFillTx/>
                <a:latin typeface="Arial"/>
                <a:ea typeface="+mn-ea"/>
                <a:cs typeface="+mn-cs"/>
              </a:rPr>
              <a:t>Ermittlung der Personalmenge anhand der eingesetzten Zeit, ggf. zzgl. des Eigenpersonals</a:t>
            </a:r>
          </a:p>
          <a:p>
            <a:pPr marL="180000" marR="0" lvl="3" indent="-180000" algn="l" defTabSz="914400" rtl="0" eaLnBrk="1" fontAlgn="auto" latinLnBrk="0" hangingPunct="1">
              <a:lnSpc>
                <a:spcPct val="100000"/>
              </a:lnSpc>
              <a:spcBef>
                <a:spcPts val="600"/>
              </a:spcBef>
              <a:spcAft>
                <a:spcPts val="0"/>
              </a:spcAft>
              <a:buClr>
                <a:srgbClr val="C72A34"/>
              </a:buClr>
              <a:buSzTx/>
              <a:buFont typeface="Wingdings" panose="05000000000000000000" pitchFamily="2" charset="2"/>
              <a:buChar char="§"/>
              <a:tabLst/>
              <a:defRPr/>
            </a:pPr>
            <a:r>
              <a:rPr kumimoji="0" lang="de-DE" sz="1400" b="0" i="0" u="none" strike="noStrike" kern="1200" cap="none" spc="0" normalizeH="0" baseline="0" noProof="0" dirty="0">
                <a:ln>
                  <a:noFill/>
                </a:ln>
                <a:solidFill>
                  <a:srgbClr val="404040"/>
                </a:solidFill>
                <a:effectLst/>
                <a:uLnTx/>
                <a:uFillTx/>
                <a:latin typeface="Arial"/>
                <a:ea typeface="+mn-ea"/>
                <a:cs typeface="+mn-cs"/>
              </a:rPr>
              <a:t>Ermittlung der Personalkosten aus der Buchhaltung</a:t>
            </a:r>
          </a:p>
          <a:p>
            <a:pPr marL="180000" marR="0" lvl="3" indent="-180000" algn="l" defTabSz="914400" rtl="0" eaLnBrk="1" fontAlgn="auto" latinLnBrk="0" hangingPunct="1">
              <a:lnSpc>
                <a:spcPct val="100000"/>
              </a:lnSpc>
              <a:spcBef>
                <a:spcPts val="600"/>
              </a:spcBef>
              <a:spcAft>
                <a:spcPts val="0"/>
              </a:spcAft>
              <a:buClr>
                <a:srgbClr val="C72A34"/>
              </a:buClr>
              <a:buSzTx/>
              <a:buFont typeface="Wingdings" panose="05000000000000000000" pitchFamily="2" charset="2"/>
              <a:buChar char="§"/>
              <a:tabLst/>
              <a:defRPr/>
            </a:pPr>
            <a:r>
              <a:rPr kumimoji="0" lang="de-DE" sz="1400" b="1" i="0" u="none" strike="noStrike" kern="1200" cap="none" spc="0" normalizeH="0" baseline="0" noProof="0" dirty="0">
                <a:ln>
                  <a:noFill/>
                </a:ln>
                <a:solidFill>
                  <a:srgbClr val="404040"/>
                </a:solidFill>
                <a:effectLst/>
                <a:uLnTx/>
                <a:uFillTx/>
                <a:latin typeface="Arial"/>
                <a:ea typeface="+mn-ea"/>
                <a:cs typeface="+mn-cs"/>
              </a:rPr>
              <a:t>Werden Rechnungsbeträge der Fremddienstleister getrennt nach Personal- und Sachaufwendungen gebucht?</a:t>
            </a:r>
          </a:p>
        </p:txBody>
      </p:sp>
    </p:spTree>
    <p:custDataLst>
      <p:tags r:id="rId1"/>
    </p:custDataLst>
    <p:extLst>
      <p:ext uri="{BB962C8B-B14F-4D97-AF65-F5344CB8AC3E}">
        <p14:creationId xmlns:p14="http://schemas.microsoft.com/office/powerpoint/2010/main" val="2887357822"/>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360" imgH="360" progId="TCLayout.ActiveDocument.1">
                  <p:embed/>
                </p:oleObj>
              </mc:Choice>
              <mc:Fallback>
                <p:oleObj name="think-cell Folie" r:id="rId7" imgW="360" imgH="360" progId="TCLayout.ActiveDocument.1">
                  <p:embed/>
                  <p:pic>
                    <p:nvPicPr>
                      <p:cNvPr id="14" name="Objekt 1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Rechteck 12" hidden="1"/>
          <p:cNvSpPr/>
          <p:nvPr>
            <p:custDataLst>
              <p:tags r:id="rId3"/>
            </p:custDataLst>
          </p:nvPr>
        </p:nvSpPr>
        <p:spPr>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404040"/>
              </a:solidFill>
              <a:effectLst/>
              <a:uLnTx/>
              <a:uFillTx/>
              <a:latin typeface="Arial Black" panose="020B0A04020102020204" pitchFamily="34" charset="0"/>
              <a:ea typeface="+mn-ea"/>
              <a:cs typeface="+mn-cs"/>
              <a:sym typeface="Arial Black" panose="020B0A04020102020204" pitchFamily="34" charset="0"/>
            </a:endParaRPr>
          </a:p>
        </p:txBody>
      </p:sp>
      <p:sp>
        <p:nvSpPr>
          <p:cNvPr id="16" name="Richtungspfeil 15"/>
          <p:cNvSpPr/>
          <p:nvPr/>
        </p:nvSpPr>
        <p:spPr>
          <a:xfrm flipH="1">
            <a:off x="789272" y="1626669"/>
            <a:ext cx="8698744" cy="4551477"/>
          </a:xfrm>
          <a:prstGeom prst="homePlate">
            <a:avLst>
              <a:gd name="adj" fmla="val 32501"/>
            </a:avLst>
          </a:prstGeom>
          <a:solidFill>
            <a:srgbClr val="F2F2F2"/>
          </a:solidFill>
          <a:ln>
            <a:solidFill>
              <a:schemeClr val="tx2">
                <a:lumMod val="40000"/>
                <a:lumOff val="60000"/>
              </a:schemeClr>
            </a:solidFill>
          </a:ln>
          <a:effectLst>
            <a:softEdge rad="177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612" marR="0" lvl="5" indent="0" algn="l" defTabSz="457200" rtl="0" eaLnBrk="1" fontAlgn="auto" latinLnBrk="0" hangingPunct="1">
              <a:lnSpc>
                <a:spcPct val="100000"/>
              </a:lnSpc>
              <a:spcBef>
                <a:spcPts val="0"/>
              </a:spcBef>
              <a:spcAft>
                <a:spcPts val="600"/>
              </a:spcAft>
              <a:buClrTx/>
              <a:buSzTx/>
              <a:buFontTx/>
              <a:buNone/>
              <a:tabLst/>
              <a:defRPr/>
            </a:pPr>
            <a:r>
              <a:rPr kumimoji="0" lang="de-DE" sz="1600" b="0" i="0" u="none" strike="noStrike" kern="1200" cap="none" spc="0" normalizeH="0" baseline="0" noProof="0">
                <a:ln>
                  <a:noFill/>
                </a:ln>
                <a:solidFill>
                  <a:srgbClr val="404040"/>
                </a:solidFill>
                <a:effectLst/>
                <a:uLnTx/>
                <a:uFillTx/>
                <a:latin typeface="Arial"/>
                <a:ea typeface="+mn-ea"/>
                <a:cs typeface="+mn-cs"/>
              </a:rPr>
              <a:t>„Die Pflegesätze müssen leistungsgerecht sein.[…]. </a:t>
            </a:r>
          </a:p>
          <a:p>
            <a:pPr marL="108612" marR="0" lvl="5" indent="0" algn="l" defTabSz="457200" rtl="0" eaLnBrk="1" fontAlgn="auto" latinLnBrk="0" hangingPunct="1">
              <a:lnSpc>
                <a:spcPct val="100000"/>
              </a:lnSpc>
              <a:spcBef>
                <a:spcPts val="0"/>
              </a:spcBef>
              <a:spcAft>
                <a:spcPts val="600"/>
              </a:spcAft>
              <a:buClrTx/>
              <a:buSzTx/>
              <a:buFontTx/>
              <a:buNone/>
              <a:tabLst/>
              <a:defRPr/>
            </a:pPr>
            <a:endParaRPr kumimoji="0" lang="de-DE" sz="1600" b="0" i="0" u="none" strike="noStrike" kern="1200" cap="none" spc="0" normalizeH="0" baseline="0" noProof="0">
              <a:ln>
                <a:noFill/>
              </a:ln>
              <a:solidFill>
                <a:srgbClr val="404040"/>
              </a:solidFill>
              <a:effectLst/>
              <a:uLnTx/>
              <a:uFillTx/>
              <a:latin typeface="Arial"/>
              <a:ea typeface="+mn-ea"/>
              <a:cs typeface="+mn-cs"/>
            </a:endParaRPr>
          </a:p>
          <a:p>
            <a:pPr marL="108612" marR="0" lvl="5" indent="0" algn="l" defTabSz="457200" rtl="0" eaLnBrk="1" fontAlgn="auto" latinLnBrk="0" hangingPunct="1">
              <a:lnSpc>
                <a:spcPct val="100000"/>
              </a:lnSpc>
              <a:spcBef>
                <a:spcPts val="0"/>
              </a:spcBef>
              <a:spcAft>
                <a:spcPts val="600"/>
              </a:spcAft>
              <a:buClrTx/>
              <a:buSzTx/>
              <a:buFontTx/>
              <a:buNone/>
              <a:tabLst/>
              <a:defRPr/>
            </a:pPr>
            <a:r>
              <a:rPr kumimoji="0" lang="de-DE" sz="1600" b="0" i="0" u="none" strike="noStrike" kern="1200" cap="none" spc="0" normalizeH="0" baseline="0" noProof="0">
                <a:ln>
                  <a:noFill/>
                </a:ln>
                <a:solidFill>
                  <a:srgbClr val="404040"/>
                </a:solidFill>
                <a:effectLst/>
                <a:uLnTx/>
                <a:uFillTx/>
                <a:latin typeface="Arial"/>
                <a:ea typeface="+mn-ea"/>
                <a:cs typeface="+mn-cs"/>
              </a:rPr>
              <a:t>Die Pflegesätze müssen einem Pflegeheim </a:t>
            </a:r>
            <a:r>
              <a:rPr kumimoji="0" lang="de-DE" sz="1600" b="1" i="0" u="none" strike="noStrike" kern="1200" cap="none" spc="0" normalizeH="0" baseline="0" noProof="0">
                <a:ln>
                  <a:noFill/>
                </a:ln>
                <a:solidFill>
                  <a:srgbClr val="404040"/>
                </a:solidFill>
                <a:effectLst/>
                <a:uLnTx/>
                <a:uFillTx/>
                <a:latin typeface="Arial"/>
                <a:ea typeface="+mn-ea"/>
                <a:cs typeface="+mn-cs"/>
              </a:rPr>
              <a:t>bei wirtschaftlicher Betriebsführung ermöglichen, </a:t>
            </a:r>
          </a:p>
          <a:p>
            <a:pPr marL="108612" marR="0" lvl="5" indent="0" algn="l" defTabSz="457200" rtl="0" eaLnBrk="1" fontAlgn="auto" latinLnBrk="0" hangingPunct="1">
              <a:lnSpc>
                <a:spcPct val="100000"/>
              </a:lnSpc>
              <a:spcBef>
                <a:spcPts val="0"/>
              </a:spcBef>
              <a:spcAft>
                <a:spcPts val="600"/>
              </a:spcAft>
              <a:buClrTx/>
              <a:buSzTx/>
              <a:buFontTx/>
              <a:buNone/>
              <a:tabLst/>
              <a:defRPr/>
            </a:pPr>
            <a:r>
              <a:rPr kumimoji="0" lang="de-DE" sz="1600" b="1" i="0" u="none" strike="noStrike" kern="1200" cap="none" spc="0" normalizeH="0" baseline="0" noProof="0">
                <a:ln>
                  <a:noFill/>
                </a:ln>
                <a:solidFill>
                  <a:srgbClr val="404040"/>
                </a:solidFill>
                <a:effectLst/>
                <a:uLnTx/>
                <a:uFillTx/>
                <a:latin typeface="Arial"/>
                <a:ea typeface="+mn-ea"/>
                <a:cs typeface="+mn-cs"/>
              </a:rPr>
              <a:t>seine Aufwendungen zu finanzieren und </a:t>
            </a:r>
          </a:p>
          <a:p>
            <a:pPr marL="108612" marR="0" lvl="5" indent="0" algn="l" defTabSz="457200" rtl="0" eaLnBrk="1" fontAlgn="auto" latinLnBrk="0" hangingPunct="1">
              <a:lnSpc>
                <a:spcPct val="100000"/>
              </a:lnSpc>
              <a:spcBef>
                <a:spcPts val="0"/>
              </a:spcBef>
              <a:spcAft>
                <a:spcPts val="600"/>
              </a:spcAft>
              <a:buClrTx/>
              <a:buSzTx/>
              <a:buFontTx/>
              <a:buNone/>
              <a:tabLst/>
              <a:defRPr/>
            </a:pPr>
            <a:r>
              <a:rPr kumimoji="0" lang="de-DE" sz="1600" b="1" i="0" u="none" strike="noStrike" kern="1200" cap="none" spc="0" normalizeH="0" baseline="0" noProof="0">
                <a:ln>
                  <a:noFill/>
                </a:ln>
                <a:solidFill>
                  <a:srgbClr val="404040"/>
                </a:solidFill>
                <a:effectLst/>
                <a:uLnTx/>
                <a:uFillTx/>
                <a:latin typeface="Arial"/>
                <a:ea typeface="+mn-ea"/>
                <a:cs typeface="+mn-cs"/>
              </a:rPr>
              <a:t>seinen Versorgungsauftrag zu erfüllen </a:t>
            </a:r>
          </a:p>
          <a:p>
            <a:pPr marL="108612" marR="0" lvl="5" indent="0" algn="l" defTabSz="457200" rtl="0" eaLnBrk="1" fontAlgn="auto" latinLnBrk="0" hangingPunct="1">
              <a:lnSpc>
                <a:spcPct val="100000"/>
              </a:lnSpc>
              <a:spcBef>
                <a:spcPts val="0"/>
              </a:spcBef>
              <a:spcAft>
                <a:spcPts val="600"/>
              </a:spcAft>
              <a:buClrTx/>
              <a:buSzTx/>
              <a:buFontTx/>
              <a:buNone/>
              <a:tabLst/>
              <a:defRPr/>
            </a:pPr>
            <a:r>
              <a:rPr kumimoji="0" lang="de-DE" sz="1600" b="1" i="0" u="none" strike="noStrike" kern="1200" cap="none" spc="0" normalizeH="0" baseline="0" noProof="0">
                <a:ln>
                  <a:noFill/>
                </a:ln>
                <a:solidFill>
                  <a:srgbClr val="404040"/>
                </a:solidFill>
                <a:effectLst/>
                <a:uLnTx/>
                <a:uFillTx/>
                <a:latin typeface="Arial"/>
                <a:ea typeface="+mn-ea"/>
                <a:cs typeface="+mn-cs"/>
              </a:rPr>
              <a:t>unter Berücksichtigung einer angemessenen Vergütung ihres Unternehmerrisikos. </a:t>
            </a:r>
            <a:r>
              <a:rPr kumimoji="0" lang="de-DE" sz="1600" b="0" i="0" u="none" strike="noStrike" kern="1200" cap="none" spc="0" normalizeH="0" baseline="0" noProof="0">
                <a:ln>
                  <a:noFill/>
                </a:ln>
                <a:solidFill>
                  <a:srgbClr val="404040"/>
                </a:solidFill>
                <a:effectLst/>
                <a:uLnTx/>
                <a:uFillTx/>
                <a:latin typeface="Arial"/>
                <a:ea typeface="+mn-ea"/>
                <a:cs typeface="+mn-cs"/>
              </a:rPr>
              <a:t>[…]“</a:t>
            </a:r>
          </a:p>
        </p:txBody>
      </p:sp>
      <p:sp>
        <p:nvSpPr>
          <p:cNvPr id="2" name="Titel 1"/>
          <p:cNvSpPr>
            <a:spLocks noGrp="1"/>
          </p:cNvSpPr>
          <p:nvPr>
            <p:ph type="title"/>
          </p:nvPr>
        </p:nvSpPr>
        <p:spPr>
          <a:xfrm>
            <a:off x="344488" y="332656"/>
            <a:ext cx="9216000" cy="698400"/>
          </a:xfrm>
        </p:spPr>
        <p:txBody>
          <a:bodyPr vert="horz"/>
          <a:lstStyle/>
          <a:p>
            <a:r>
              <a:rPr lang="de-DE" dirty="0"/>
              <a:t>Renaissance des Risiko-/Wagniszuschlags ?</a:t>
            </a:r>
          </a:p>
        </p:txBody>
      </p:sp>
      <p:sp>
        <p:nvSpPr>
          <p:cNvPr id="22" name="Textplatzhalter 21"/>
          <p:cNvSpPr>
            <a:spLocks noGrp="1"/>
          </p:cNvSpPr>
          <p:nvPr>
            <p:ph type="body" sz="quarter" idx="13"/>
          </p:nvPr>
        </p:nvSpPr>
        <p:spPr>
          <a:xfrm>
            <a:off x="344490" y="1124776"/>
            <a:ext cx="9216000" cy="288000"/>
          </a:xfrm>
        </p:spPr>
        <p:txBody>
          <a:bodyPr/>
          <a:lstStyle/>
          <a:p>
            <a:r>
              <a:rPr lang="de-DE"/>
              <a:t>Was steht im Gesetz?</a:t>
            </a:r>
          </a:p>
        </p:txBody>
      </p:sp>
      <p:sp>
        <p:nvSpPr>
          <p:cNvPr id="3" name="Foliennummernplatzhalter 2">
            <a:extLst>
              <a:ext uri="{FF2B5EF4-FFF2-40B4-BE49-F238E27FC236}">
                <a16:creationId xmlns:a16="http://schemas.microsoft.com/office/drawing/2014/main" id="{DA7BABFC-5260-5487-F4DE-78DEF784A407}"/>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322A94-3156-491B-AD20-567107C600A1}" type="slidenum">
              <a:rPr kumimoji="0" lang="de-DE"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de-DE" sz="800" b="0" i="0" u="none" strike="noStrike" kern="1200" cap="none" spc="0" normalizeH="0" baseline="0" noProof="0">
              <a:ln>
                <a:noFill/>
              </a:ln>
              <a:solidFill>
                <a:srgbClr val="404040">
                  <a:tint val="75000"/>
                </a:srgbClr>
              </a:solidFill>
              <a:effectLst/>
              <a:uLnTx/>
              <a:uFillTx/>
              <a:latin typeface="Arial"/>
              <a:ea typeface="+mn-ea"/>
              <a:cs typeface="+mn-cs"/>
            </a:endParaRPr>
          </a:p>
        </p:txBody>
      </p:sp>
      <p:pic>
        <p:nvPicPr>
          <p:cNvPr id="7" name="Gesetzbuch (2)">
            <a:extLst>
              <a:ext uri="{FF2B5EF4-FFF2-40B4-BE49-F238E27FC236}">
                <a16:creationId xmlns:a16="http://schemas.microsoft.com/office/drawing/2014/main" id="{27C19CBB-4BCC-28C2-CCE7-782BD4C565D4}"/>
              </a:ext>
            </a:extLst>
          </p:cNvPr>
          <p:cNvPicPr>
            <a:picLocks noChangeAspect="1"/>
          </p:cNvPicPr>
          <p:nvPr>
            <p:custDataLst>
              <p:tags r:id="rId4"/>
            </p:custDataLst>
          </p:nvPr>
        </p:nvPicPr>
        <p:blipFill>
          <a:blip r:embed="rId9" cstate="print">
            <a:extLst>
              <a:ext uri="{28A0092B-C50C-407E-A947-70E740481C1C}">
                <a14:useLocalDpi xmlns:a14="http://schemas.microsoft.com/office/drawing/2010/main" val="0"/>
              </a:ext>
            </a:extLst>
          </a:blip>
          <a:stretch>
            <a:fillRect/>
          </a:stretch>
        </p:blipFill>
        <p:spPr>
          <a:xfrm>
            <a:off x="344488" y="3429000"/>
            <a:ext cx="1080000" cy="1080000"/>
          </a:xfrm>
          <a:prstGeom prst="rect">
            <a:avLst/>
          </a:prstGeom>
          <a:noFill/>
          <a:ln>
            <a:solidFill>
              <a:schemeClr val="folHlink"/>
            </a:solidFill>
          </a:ln>
          <a:extLst>
            <a:ext uri="{909E8E84-426E-40DD-AFC4-6F175D3DCCD1}">
              <a14:hiddenFill xmlns:a14="http://schemas.microsoft.com/office/drawing/2010/main">
                <a:solidFill>
                  <a:schemeClr val="accent1"/>
                </a:solidFill>
              </a14:hiddenFill>
            </a:ext>
          </a:extLst>
        </p:spPr>
      </p:pic>
    </p:spTree>
    <p:custDataLst>
      <p:tags r:id="rId1"/>
    </p:custDataLst>
    <p:extLst>
      <p:ext uri="{BB962C8B-B14F-4D97-AF65-F5344CB8AC3E}">
        <p14:creationId xmlns:p14="http://schemas.microsoft.com/office/powerpoint/2010/main" val="3436145183"/>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hteck 15" hidden="1"/>
          <p:cNvSpPr/>
          <p:nvPr>
            <p:custDataLst>
              <p:tags r:id="rId3"/>
            </p:custDataLst>
          </p:nvPr>
        </p:nvSpPr>
        <p:spPr>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err="1">
              <a:ln>
                <a:noFill/>
              </a:ln>
              <a:solidFill>
                <a:srgbClr val="404040"/>
              </a:solidFill>
              <a:effectLst/>
              <a:uLnTx/>
              <a:uFillTx/>
              <a:latin typeface="Arial Black" panose="020B0A04020102020204" pitchFamily="34" charset="0"/>
              <a:ea typeface="+mn-ea"/>
              <a:cs typeface="+mn-cs"/>
              <a:sym typeface="Arial Black" panose="020B0A04020102020204" pitchFamily="34" charset="0"/>
            </a:endParaRPr>
          </a:p>
        </p:txBody>
      </p:sp>
      <p:sp>
        <p:nvSpPr>
          <p:cNvPr id="2" name="Titel 1"/>
          <p:cNvSpPr>
            <a:spLocks noGrp="1"/>
          </p:cNvSpPr>
          <p:nvPr>
            <p:ph type="title"/>
          </p:nvPr>
        </p:nvSpPr>
        <p:spPr>
          <a:xfrm>
            <a:off x="344488" y="332656"/>
            <a:ext cx="9216000" cy="698400"/>
          </a:xfrm>
        </p:spPr>
        <p:txBody>
          <a:bodyPr/>
          <a:lstStyle/>
          <a:p>
            <a:r>
              <a:rPr lang="de-DE"/>
              <a:t>BSG Urt. v. 19.04.2023 – B 3 P 6/22 R - Kernaussagen des Urteils</a:t>
            </a:r>
            <a:br>
              <a:rPr lang="de-DE" sz="2400" b="1" u="sng">
                <a:solidFill>
                  <a:schemeClr val="dk1"/>
                </a:solidFill>
              </a:rPr>
            </a:br>
            <a:endParaRPr lang="de-DE"/>
          </a:p>
        </p:txBody>
      </p:sp>
      <p:sp>
        <p:nvSpPr>
          <p:cNvPr id="22" name="Textplatzhalter 21"/>
          <p:cNvSpPr>
            <a:spLocks noGrp="1"/>
          </p:cNvSpPr>
          <p:nvPr>
            <p:ph type="body" sz="quarter" idx="13"/>
          </p:nvPr>
        </p:nvSpPr>
        <p:spPr>
          <a:xfrm>
            <a:off x="344490" y="1124776"/>
            <a:ext cx="9216000" cy="288000"/>
          </a:xfrm>
        </p:spPr>
        <p:txBody>
          <a:bodyPr/>
          <a:lstStyle/>
          <a:p>
            <a:r>
              <a:rPr lang="de-DE"/>
              <a:t>Renaissance des Risiko-/Wagniszuschlags</a:t>
            </a:r>
          </a:p>
        </p:txBody>
      </p:sp>
      <p:sp>
        <p:nvSpPr>
          <p:cNvPr id="5" name="Rechteck 4"/>
          <p:cNvSpPr/>
          <p:nvPr/>
        </p:nvSpPr>
        <p:spPr bwMode="auto">
          <a:xfrm>
            <a:off x="993512" y="5373216"/>
            <a:ext cx="8568000" cy="720000"/>
          </a:xfrm>
          <a:prstGeom prst="rect">
            <a:avLst/>
          </a:prstGeom>
          <a:solidFill>
            <a:schemeClr val="bg2"/>
          </a:solidFill>
          <a:ln w="12700" cap="flat" cmpd="sng" algn="ctr">
            <a:solidFill>
              <a:schemeClr val="accent5"/>
            </a:solid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285750" marR="0" lvl="0" indent="-285750" algn="l" defTabSz="457200" rtl="0" eaLnBrk="0" fontAlgn="base" latinLnBrk="0" hangingPunct="0">
              <a:lnSpc>
                <a:spcPct val="100000"/>
              </a:lnSpc>
              <a:spcBef>
                <a:spcPct val="0"/>
              </a:spcBef>
              <a:spcAft>
                <a:spcPct val="0"/>
              </a:spcAft>
              <a:buClrTx/>
              <a:buSzTx/>
              <a:buFont typeface="Wingdings" panose="05000000000000000000" pitchFamily="2" charset="2"/>
              <a:buChar char="Ø"/>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Dieses Urteil verdeutlicht die Komplexität bei der Festsetzung von Pflegesätzen und die Notwendigkeit, individuelle Umstände und betriebliche Ausgestaltungen von Pflegeeinrichtungen in die Beurteilung der Angemessenheit von Pflegesätzen und Entgelten einfließen zu lassen.</a:t>
            </a:r>
          </a:p>
        </p:txBody>
      </p:sp>
      <p:sp>
        <p:nvSpPr>
          <p:cNvPr id="6" name="Rechteck 5"/>
          <p:cNvSpPr/>
          <p:nvPr/>
        </p:nvSpPr>
        <p:spPr bwMode="auto">
          <a:xfrm>
            <a:off x="1281513" y="4437112"/>
            <a:ext cx="8280000" cy="720000"/>
          </a:xfrm>
          <a:prstGeom prst="rect">
            <a:avLst/>
          </a:prstGeom>
          <a:solidFill>
            <a:schemeClr val="bg2"/>
          </a:solidFill>
          <a:ln w="12700" cap="flat" cmpd="sng" algn="ctr">
            <a:solidFill>
              <a:schemeClr val="accent5"/>
            </a:solid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87313" marR="0" lvl="0" indent="0" algn="l" defTabSz="4572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Das BSG betont, dass </a:t>
            </a:r>
            <a:r>
              <a:rPr kumimoji="0" lang="de-DE" sz="1400" b="1" i="0" u="none" strike="noStrike" kern="1200" cap="none" spc="0" normalizeH="0" baseline="0" noProof="0">
                <a:ln>
                  <a:noFill/>
                </a:ln>
                <a:solidFill>
                  <a:srgbClr val="404040"/>
                </a:solidFill>
                <a:effectLst/>
                <a:uLnTx/>
                <a:uFillTx/>
                <a:latin typeface="Arial"/>
                <a:ea typeface="+mn-ea"/>
                <a:cs typeface="+mn-cs"/>
              </a:rPr>
              <a:t>die Umstände des Einzelfalls zu berücksichtigen </a:t>
            </a:r>
            <a:r>
              <a:rPr kumimoji="0" lang="de-DE" sz="1400" b="0" i="0" u="none" strike="noStrike" kern="1200" cap="none" spc="0" normalizeH="0" baseline="0" noProof="0">
                <a:ln>
                  <a:noFill/>
                </a:ln>
                <a:solidFill>
                  <a:srgbClr val="404040"/>
                </a:solidFill>
                <a:effectLst/>
                <a:uLnTx/>
                <a:uFillTx/>
                <a:latin typeface="Arial"/>
                <a:ea typeface="+mn-ea"/>
                <a:cs typeface="+mn-cs"/>
              </a:rPr>
              <a:t>sind und generelle pauschalierende Ansätze sich verbieten. </a:t>
            </a:r>
          </a:p>
        </p:txBody>
      </p:sp>
      <p:sp>
        <p:nvSpPr>
          <p:cNvPr id="7" name="Rechteck 6"/>
          <p:cNvSpPr/>
          <p:nvPr/>
        </p:nvSpPr>
        <p:spPr bwMode="auto">
          <a:xfrm>
            <a:off x="1569512" y="3501008"/>
            <a:ext cx="7992000" cy="720000"/>
          </a:xfrm>
          <a:prstGeom prst="rect">
            <a:avLst/>
          </a:prstGeom>
          <a:solidFill>
            <a:schemeClr val="bg2"/>
          </a:solidFill>
          <a:ln w="12700" cap="flat" cmpd="sng" algn="ctr">
            <a:solidFill>
              <a:schemeClr val="accent5"/>
            </a:solid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0" marR="0" lvl="0" indent="0" algn="l" defTabSz="457200" rtl="0" eaLnBrk="0" fontAlgn="base" latinLnBrk="0" hangingPunct="0">
              <a:lnSpc>
                <a:spcPct val="100000"/>
              </a:lnSpc>
              <a:spcBef>
                <a:spcPct val="0"/>
              </a:spcBef>
              <a:spcAft>
                <a:spcPct val="0"/>
              </a:spcAft>
              <a:buClrTx/>
              <a:buSzTx/>
              <a:buFontTx/>
              <a:buNone/>
              <a:tabLst>
                <a:tab pos="266700" algn="l"/>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Vielmehr sind die </a:t>
            </a:r>
            <a:r>
              <a:rPr kumimoji="0" lang="de-DE" sz="1400" b="1" i="0" u="none" strike="noStrike" kern="1200" cap="none" spc="0" normalizeH="0" baseline="0" noProof="0">
                <a:ln>
                  <a:noFill/>
                </a:ln>
                <a:solidFill>
                  <a:srgbClr val="404040"/>
                </a:solidFill>
                <a:effectLst/>
                <a:uLnTx/>
                <a:uFillTx/>
                <a:latin typeface="Arial"/>
                <a:ea typeface="+mn-ea"/>
                <a:cs typeface="+mn-cs"/>
              </a:rPr>
              <a:t>Wagnisse</a:t>
            </a:r>
            <a:r>
              <a:rPr kumimoji="0" lang="de-DE" sz="1400" b="0" i="0" u="none" strike="noStrike" kern="1200" cap="none" spc="0" normalizeH="0" baseline="0" noProof="0">
                <a:ln>
                  <a:noFill/>
                </a:ln>
                <a:solidFill>
                  <a:srgbClr val="404040"/>
                </a:solidFill>
                <a:effectLst/>
                <a:uLnTx/>
                <a:uFillTx/>
                <a:latin typeface="Arial"/>
                <a:ea typeface="+mn-ea"/>
                <a:cs typeface="+mn-cs"/>
              </a:rPr>
              <a:t>, die eine Einrichtung im Interesse ihres Versorgungsauftrags </a:t>
            </a:r>
            <a:r>
              <a:rPr kumimoji="0" lang="de-DE" sz="1400" b="1" i="0" u="none" strike="noStrike" kern="1200" cap="none" spc="0" normalizeH="0" baseline="0" noProof="0">
                <a:ln>
                  <a:noFill/>
                </a:ln>
                <a:solidFill>
                  <a:srgbClr val="404040"/>
                </a:solidFill>
                <a:effectLst/>
                <a:uLnTx/>
                <a:uFillTx/>
                <a:latin typeface="Arial"/>
                <a:ea typeface="+mn-ea"/>
                <a:cs typeface="+mn-cs"/>
              </a:rPr>
              <a:t>jeweils eingeht</a:t>
            </a:r>
            <a:r>
              <a:rPr kumimoji="0" lang="de-DE" sz="1400" b="0" i="0" u="none" strike="noStrike" kern="1200" cap="none" spc="0" normalizeH="0" baseline="0" noProof="0">
                <a:ln>
                  <a:noFill/>
                </a:ln>
                <a:solidFill>
                  <a:srgbClr val="404040"/>
                </a:solidFill>
                <a:effectLst/>
                <a:uLnTx/>
                <a:uFillTx/>
                <a:latin typeface="Arial"/>
                <a:ea typeface="+mn-ea"/>
                <a:cs typeface="+mn-cs"/>
              </a:rPr>
              <a:t>, maßgeblich für die Bemessung der angemessenen Gewinnchancen.</a:t>
            </a:r>
          </a:p>
        </p:txBody>
      </p:sp>
      <p:sp>
        <p:nvSpPr>
          <p:cNvPr id="8" name="Rechteck 7"/>
          <p:cNvSpPr/>
          <p:nvPr/>
        </p:nvSpPr>
        <p:spPr bwMode="auto">
          <a:xfrm>
            <a:off x="1353511" y="2564904"/>
            <a:ext cx="8208000" cy="720000"/>
          </a:xfrm>
          <a:prstGeom prst="rect">
            <a:avLst/>
          </a:prstGeom>
          <a:solidFill>
            <a:schemeClr val="bg2"/>
          </a:solidFill>
          <a:ln w="12700" cap="flat" cmpd="sng" algn="ctr">
            <a:solidFill>
              <a:schemeClr val="accent5"/>
            </a:solid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Eine </a:t>
            </a:r>
            <a:r>
              <a:rPr kumimoji="0" lang="de-DE" sz="1400" b="1" i="0" u="none" strike="noStrike" kern="1200" cap="none" spc="0" normalizeH="0" baseline="0" noProof="0">
                <a:ln>
                  <a:noFill/>
                </a:ln>
                <a:solidFill>
                  <a:srgbClr val="404040"/>
                </a:solidFill>
                <a:effectLst/>
                <a:uLnTx/>
                <a:uFillTx/>
                <a:latin typeface="Arial"/>
                <a:ea typeface="+mn-ea"/>
                <a:cs typeface="+mn-cs"/>
              </a:rPr>
              <a:t>pauschale Orientierung</a:t>
            </a:r>
            <a:r>
              <a:rPr kumimoji="0" lang="de-DE" sz="1400" b="0" i="0" u="none" strike="noStrike" kern="1200" cap="none" spc="0" normalizeH="0" baseline="0" noProof="0">
                <a:ln>
                  <a:noFill/>
                </a:ln>
                <a:solidFill>
                  <a:srgbClr val="404040"/>
                </a:solidFill>
                <a:effectLst/>
                <a:uLnTx/>
                <a:uFillTx/>
                <a:latin typeface="Arial"/>
                <a:ea typeface="+mn-ea"/>
                <a:cs typeface="+mn-cs"/>
              </a:rPr>
              <a:t> an bestimmten Gewinnerwartungen, unabhängig von den Besonderheiten des Einzelfalls, ist dabei </a:t>
            </a:r>
            <a:r>
              <a:rPr kumimoji="0" lang="de-DE" sz="1400" b="1" i="0" u="none" strike="noStrike" kern="1200" cap="none" spc="0" normalizeH="0" baseline="0" noProof="0">
                <a:ln>
                  <a:noFill/>
                </a:ln>
                <a:solidFill>
                  <a:srgbClr val="404040"/>
                </a:solidFill>
                <a:effectLst/>
                <a:uLnTx/>
                <a:uFillTx/>
                <a:latin typeface="Arial"/>
                <a:ea typeface="+mn-ea"/>
                <a:cs typeface="+mn-cs"/>
              </a:rPr>
              <a:t>nicht vorgesehen.</a:t>
            </a: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9" name="Rechteck 8"/>
          <p:cNvSpPr/>
          <p:nvPr/>
        </p:nvSpPr>
        <p:spPr bwMode="auto">
          <a:xfrm>
            <a:off x="993512" y="1628896"/>
            <a:ext cx="8568000" cy="720000"/>
          </a:xfrm>
          <a:prstGeom prst="rect">
            <a:avLst/>
          </a:prstGeom>
          <a:solidFill>
            <a:schemeClr val="bg2"/>
          </a:solidFill>
          <a:ln w="12700" cap="flat" cmpd="sng" algn="ctr">
            <a:solidFill>
              <a:schemeClr val="accent5"/>
            </a:solid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Pflegesätze können dann als nicht angemessen angesehen werden, wenn Kostenansätze und erwartete Kostensteigerungen nicht plausibel erklärt werden oder die geforderten Sätze im Verhältnis zu anderen Pflegeeinrichtungen unangemessen sind.</a:t>
            </a:r>
          </a:p>
        </p:txBody>
      </p:sp>
      <p:sp>
        <p:nvSpPr>
          <p:cNvPr id="10" name="Ellipse 9"/>
          <p:cNvSpPr/>
          <p:nvPr/>
        </p:nvSpPr>
        <p:spPr>
          <a:xfrm>
            <a:off x="351467" y="1563157"/>
            <a:ext cx="864000" cy="864000"/>
          </a:xfrm>
          <a:prstGeom prst="ellipse">
            <a:avLst/>
          </a:prstGeom>
          <a:solidFill>
            <a:schemeClr val="accent1"/>
          </a:solidFill>
          <a:ln w="15875">
            <a:no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404040">
                  <a:hueOff val="0"/>
                  <a:satOff val="0"/>
                  <a:lumOff val="0"/>
                  <a:alphaOff val="0"/>
                </a:srgbClr>
              </a:solidFill>
              <a:effectLst/>
              <a:uLnTx/>
              <a:uFillTx/>
              <a:latin typeface="Arial"/>
              <a:ea typeface="+mn-ea"/>
              <a:cs typeface="+mn-cs"/>
            </a:endParaRPr>
          </a:p>
        </p:txBody>
      </p:sp>
      <p:sp>
        <p:nvSpPr>
          <p:cNvPr id="11" name="Ellipse 10"/>
          <p:cNvSpPr/>
          <p:nvPr/>
        </p:nvSpPr>
        <p:spPr>
          <a:xfrm>
            <a:off x="927475" y="3429097"/>
            <a:ext cx="864000" cy="864000"/>
          </a:xfrm>
          <a:prstGeom prst="ellipse">
            <a:avLst/>
          </a:prstGeom>
          <a:solidFill>
            <a:schemeClr val="accent3"/>
          </a:solidFill>
          <a:ln w="15875">
            <a:no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404040">
                  <a:hueOff val="0"/>
                  <a:satOff val="0"/>
                  <a:lumOff val="0"/>
                  <a:alphaOff val="0"/>
                </a:srgbClr>
              </a:solidFill>
              <a:effectLst/>
              <a:uLnTx/>
              <a:uFillTx/>
              <a:latin typeface="Arial"/>
              <a:ea typeface="+mn-ea"/>
              <a:cs typeface="+mn-cs"/>
            </a:endParaRPr>
          </a:p>
        </p:txBody>
      </p:sp>
      <p:sp>
        <p:nvSpPr>
          <p:cNvPr id="12" name="Ellipse 11"/>
          <p:cNvSpPr/>
          <p:nvPr/>
        </p:nvSpPr>
        <p:spPr>
          <a:xfrm>
            <a:off x="351467" y="5301304"/>
            <a:ext cx="864000" cy="864000"/>
          </a:xfrm>
          <a:prstGeom prst="ellipse">
            <a:avLst/>
          </a:prstGeom>
          <a:solidFill>
            <a:schemeClr val="accent5"/>
          </a:solidFill>
          <a:ln w="15875">
            <a:no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404040">
                  <a:hueOff val="0"/>
                  <a:satOff val="0"/>
                  <a:lumOff val="0"/>
                  <a:alphaOff val="0"/>
                </a:srgbClr>
              </a:solidFill>
              <a:effectLst/>
              <a:uLnTx/>
              <a:uFillTx/>
              <a:latin typeface="Arial"/>
              <a:ea typeface="+mn-ea"/>
              <a:cs typeface="+mn-cs"/>
            </a:endParaRPr>
          </a:p>
        </p:txBody>
      </p:sp>
      <p:sp>
        <p:nvSpPr>
          <p:cNvPr id="13" name="Ellipse 12"/>
          <p:cNvSpPr/>
          <p:nvPr/>
        </p:nvSpPr>
        <p:spPr>
          <a:xfrm>
            <a:off x="711412" y="2492992"/>
            <a:ext cx="864000" cy="864000"/>
          </a:xfrm>
          <a:prstGeom prst="ellipse">
            <a:avLst/>
          </a:prstGeom>
          <a:solidFill>
            <a:schemeClr val="accent2"/>
          </a:solidFill>
          <a:ln w="15875">
            <a:no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404040">
                  <a:hueOff val="0"/>
                  <a:satOff val="0"/>
                  <a:lumOff val="0"/>
                  <a:alphaOff val="0"/>
                </a:srgbClr>
              </a:solidFill>
              <a:effectLst/>
              <a:uLnTx/>
              <a:uFillTx/>
              <a:latin typeface="Arial"/>
              <a:ea typeface="+mn-ea"/>
              <a:cs typeface="+mn-cs"/>
            </a:endParaRPr>
          </a:p>
        </p:txBody>
      </p:sp>
      <p:sp>
        <p:nvSpPr>
          <p:cNvPr id="14" name="Ellipse 13"/>
          <p:cNvSpPr/>
          <p:nvPr/>
        </p:nvSpPr>
        <p:spPr>
          <a:xfrm>
            <a:off x="711468" y="4365199"/>
            <a:ext cx="864000" cy="864000"/>
          </a:xfrm>
          <a:prstGeom prst="ellipse">
            <a:avLst/>
          </a:prstGeom>
          <a:solidFill>
            <a:schemeClr val="accent4"/>
          </a:solidFill>
          <a:ln w="15875">
            <a:no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404040">
                  <a:hueOff val="0"/>
                  <a:satOff val="0"/>
                  <a:lumOff val="0"/>
                  <a:alphaOff val="0"/>
                </a:srgbClr>
              </a:solidFill>
              <a:effectLst/>
              <a:uLnTx/>
              <a:uFillTx/>
              <a:latin typeface="Arial"/>
              <a:ea typeface="+mn-ea"/>
              <a:cs typeface="+mn-cs"/>
            </a:endParaRPr>
          </a:p>
        </p:txBody>
      </p:sp>
      <p:sp>
        <p:nvSpPr>
          <p:cNvPr id="4" name="Foliennummernplatzhalter 3">
            <a:extLst>
              <a:ext uri="{FF2B5EF4-FFF2-40B4-BE49-F238E27FC236}">
                <a16:creationId xmlns:a16="http://schemas.microsoft.com/office/drawing/2014/main" id="{DD5F73AC-9883-4E51-3800-CCD3017BF1E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322A94-3156-491B-AD20-567107C600A1}" type="slidenum">
              <a:rPr kumimoji="0" lang="de-DE"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de-DE" sz="800" b="0" i="0" u="none" strike="noStrike" kern="1200" cap="none" spc="0" normalizeH="0" baseline="0" noProof="0">
              <a:ln>
                <a:noFill/>
              </a:ln>
              <a:solidFill>
                <a:srgbClr val="404040">
                  <a:tint val="75000"/>
                </a:srgbClr>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902100205"/>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15" imgH="416" progId="TCLayout.ActiveDocument.1">
                  <p:embed/>
                </p:oleObj>
              </mc:Choice>
              <mc:Fallback>
                <p:oleObj name="think-cell Folie" r:id="rId7" imgW="415" imgH="416" progId="TCLayout.ActiveDocument.1">
                  <p:embed/>
                  <p:pic>
                    <p:nvPicPr>
                      <p:cNvPr id="6" name="Objekt 5"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1422" y="397389"/>
            <a:ext cx="9216000" cy="698400"/>
          </a:xfrm>
        </p:spPr>
        <p:txBody>
          <a:bodyPr vert="horz"/>
          <a:lstStyle/>
          <a:p>
            <a:r>
              <a:rPr lang="de-DE"/>
              <a:t>Kritische Betrachtung des Risiko-/ Wagniszuschlags</a:t>
            </a:r>
          </a:p>
        </p:txBody>
      </p:sp>
      <p:sp>
        <p:nvSpPr>
          <p:cNvPr id="27" name="Richtungspfeil 26"/>
          <p:cNvSpPr/>
          <p:nvPr/>
        </p:nvSpPr>
        <p:spPr bwMode="auto">
          <a:xfrm rot="10800000">
            <a:off x="1424607" y="1557335"/>
            <a:ext cx="8136901" cy="4751387"/>
          </a:xfrm>
          <a:prstGeom prst="homePlate">
            <a:avLst>
              <a:gd name="adj" fmla="val 23618"/>
            </a:avLst>
          </a:prstGeom>
          <a:solidFill>
            <a:schemeClr val="accent1"/>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de-DE" sz="1400" b="0" i="0" u="none" strike="noStrike" kern="1200" cap="none" spc="0" normalizeH="0" baseline="0" noProof="0">
              <a:ln>
                <a:noFill/>
              </a:ln>
              <a:solidFill>
                <a:prstClr val="white"/>
              </a:solidFill>
              <a:effectLst/>
              <a:uLnTx/>
              <a:uFillTx/>
              <a:latin typeface="Arial Black"/>
              <a:ea typeface="+mn-ea"/>
              <a:cs typeface="+mn-cs"/>
            </a:endParaRPr>
          </a:p>
        </p:txBody>
      </p:sp>
      <p:sp>
        <p:nvSpPr>
          <p:cNvPr id="29" name="MIO_TEXTBOX_BODY2">
            <a:extLst>
              <a:ext uri="{FF2B5EF4-FFF2-40B4-BE49-F238E27FC236}">
                <a16:creationId xmlns:a16="http://schemas.microsoft.com/office/drawing/2014/main" id="{81EC2B14-F1BA-470C-8F06-25EE549A3370}"/>
              </a:ext>
            </a:extLst>
          </p:cNvPr>
          <p:cNvSpPr txBox="1">
            <a:spLocks/>
          </p:cNvSpPr>
          <p:nvPr>
            <p:custDataLst>
              <p:tags r:id="rId3"/>
            </p:custDataLst>
          </p:nvPr>
        </p:nvSpPr>
        <p:spPr>
          <a:xfrm>
            <a:off x="3149204" y="2706933"/>
            <a:ext cx="6192000" cy="728027"/>
          </a:xfrm>
          <a:prstGeom prst="rect">
            <a:avLst/>
          </a:prstGeom>
          <a:solidFill>
            <a:schemeClr val="bg1"/>
          </a:solidFill>
          <a:ln w="12700" cap="flat" cmpd="sng" algn="ctr">
            <a:solidFill>
              <a:schemeClr val="lt1"/>
            </a:solidFill>
            <a:prstDash val="solid"/>
            <a:round/>
            <a:headEnd type="none" w="med" len="med"/>
            <a:tailEnd type="none" w="med" len="med"/>
          </a:ln>
        </p:spPr>
        <p:txBody>
          <a:bodyPr vert="horz" lIns="288000" tIns="72000" rIns="72000" bIns="72000" rtlCol="0" anchor="ctr">
            <a:noAutofit/>
          </a:bodyPr>
          <a:lstStyle>
            <a:lvl1pPr marL="180000" indent="-180000" algn="l" defTabSz="914400" rtl="0" eaLnBrk="1" latinLnBrk="0" hangingPunct="1">
              <a:buClr>
                <a:schemeClr val="accent1"/>
              </a:buClr>
              <a:buFont typeface="Wingdings" panose="05000000000000000000" pitchFamily="2" charset="2"/>
              <a:buChar char="§"/>
            </a:lvl1pPr>
            <a:lvl2pPr marL="180000" indent="-180000" algn="l" defTabSz="914400" rtl="0" eaLnBrk="1" latinLnBrk="0" hangingPunct="1">
              <a:buClr>
                <a:schemeClr val="accent1"/>
              </a:buClr>
              <a:buFont typeface="Wingdings" panose="05000000000000000000" pitchFamily="2" charset="2"/>
              <a:buChar char="§"/>
            </a:lvl2pPr>
            <a:lvl3pPr marL="180000" indent="-180000" algn="l" defTabSz="914400" rtl="0" eaLnBrk="1" latinLnBrk="0" hangingPunct="1">
              <a:buClr>
                <a:schemeClr val="accent1"/>
              </a:buClr>
              <a:buFont typeface="Wingdings" panose="05000000000000000000" pitchFamily="2" charset="2"/>
              <a:buChar char="§"/>
            </a:lvl3pPr>
            <a:lvl4pPr marL="180000" indent="-180000" algn="l" defTabSz="914400" rtl="0" eaLnBrk="1" latinLnBrk="0" hangingPunct="1">
              <a:buClr>
                <a:schemeClr val="accent1"/>
              </a:buClr>
              <a:buFont typeface="Wingdings" panose="05000000000000000000" pitchFamily="2" charset="2"/>
              <a:buChar char="§"/>
            </a:lvl4pPr>
            <a:lvl5pPr marL="360000" indent="-180000" algn="l" defTabSz="914400" rtl="0" eaLnBrk="1" latinLnBrk="0" hangingPunct="1">
              <a:buClr>
                <a:schemeClr val="accent1"/>
              </a:buClr>
              <a:buFont typeface="Symbol" panose="05050102010706020507" pitchFamily="18" charset="2"/>
              <a:buChar char=""/>
            </a:lvl5pPr>
            <a:lvl6pPr marL="288000" indent="-288000" algn="l" defTabSz="914400" rtl="0" eaLnBrk="1" latinLnBrk="0" hangingPunct="1">
              <a:buClr>
                <a:schemeClr val="accent1"/>
              </a:buClr>
              <a:buFont typeface="Wingdings 3" panose="05040102010807070707" pitchFamily="18" charset="2"/>
              <a:buChar char=""/>
            </a:lvl6pPr>
            <a:lvl7pPr marL="288000" indent="-288000" algn="l" defTabSz="914400" rtl="0" eaLnBrk="1" latinLnBrk="0" hangingPunct="1">
              <a:buClr>
                <a:schemeClr val="accent1"/>
              </a:buClr>
              <a:buFont typeface="Wingdings 3" panose="05040102010807070707" pitchFamily="18" charset="2"/>
              <a:buChar char=""/>
            </a:lvl7pPr>
            <a:lvl8pPr marL="288000" indent="-288000" algn="l" defTabSz="914400" rtl="0" eaLnBrk="1" latinLnBrk="0" hangingPunct="1">
              <a:buClr>
                <a:schemeClr val="accent1"/>
              </a:buClr>
              <a:buFont typeface="Wingdings 3" panose="05040102010807070707" pitchFamily="18" charset="2"/>
              <a:buChar char=""/>
            </a:lvl8pPr>
            <a:lvl9pPr marL="288000" indent="-288000" algn="l" defTabSz="914400" rtl="0" eaLnBrk="1" latinLnBrk="0" hangingPunct="1">
              <a:buClr>
                <a:schemeClr val="accent1"/>
              </a:buClr>
              <a:buFont typeface="Wingdings 3" panose="05040102010807070707" pitchFamily="18" charset="2"/>
              <a:buChar char=""/>
            </a:lvl9pPr>
          </a:lstStyle>
          <a:p>
            <a:pPr marL="180000" marR="0" lvl="4" indent="0" algn="l" defTabSz="914400" rtl="0" eaLnBrk="1" fontAlgn="auto" latinLnBrk="0" hangingPunct="1">
              <a:lnSpc>
                <a:spcPct val="100000"/>
              </a:lnSpc>
              <a:spcBef>
                <a:spcPts val="0"/>
              </a:spcBef>
              <a:spcAft>
                <a:spcPts val="600"/>
              </a:spcAft>
              <a:buClr>
                <a:srgbClr val="C72A34"/>
              </a:buClr>
              <a:buSzTx/>
              <a:buFont typeface="Symbol" panose="05050102010706020507" pitchFamily="18" charset="2"/>
              <a:buNone/>
              <a:tabLst/>
              <a:defRPr/>
            </a:pPr>
            <a:r>
              <a:rPr kumimoji="0" lang="de-DE" sz="1600" b="0" i="0" u="none" strike="noStrike" kern="1200" cap="none" spc="0" normalizeH="0" baseline="0" noProof="0">
                <a:ln>
                  <a:noFill/>
                </a:ln>
                <a:solidFill>
                  <a:srgbClr val="404040"/>
                </a:solidFill>
                <a:effectLst/>
                <a:uLnTx/>
                <a:uFillTx/>
                <a:latin typeface="Arial"/>
                <a:ea typeface="+mn-ea"/>
                <a:cs typeface="+mn-cs"/>
              </a:rPr>
              <a:t>Es wird den Beteiligten allerdings kein Handwerkszeug bereitgestellt.</a:t>
            </a:r>
          </a:p>
        </p:txBody>
      </p:sp>
      <p:sp>
        <p:nvSpPr>
          <p:cNvPr id="30" name="MIO_TEXTBOX_BODY2">
            <a:extLst>
              <a:ext uri="{FF2B5EF4-FFF2-40B4-BE49-F238E27FC236}">
                <a16:creationId xmlns:a16="http://schemas.microsoft.com/office/drawing/2014/main" id="{89CA4EFB-C9A4-4AEE-9F0F-4D79B924DC5F}"/>
              </a:ext>
            </a:extLst>
          </p:cNvPr>
          <p:cNvSpPr txBox="1">
            <a:spLocks/>
          </p:cNvSpPr>
          <p:nvPr/>
        </p:nvSpPr>
        <p:spPr>
          <a:xfrm>
            <a:off x="3149204" y="3569042"/>
            <a:ext cx="6192000" cy="728027"/>
          </a:xfrm>
          <a:prstGeom prst="rect">
            <a:avLst/>
          </a:prstGeom>
          <a:solidFill>
            <a:schemeClr val="bg1"/>
          </a:solidFill>
          <a:ln w="12700" cap="flat" cmpd="sng" algn="ctr">
            <a:solidFill>
              <a:schemeClr val="lt1"/>
            </a:solidFill>
            <a:prstDash val="solid"/>
            <a:round/>
            <a:headEnd type="none" w="med" len="med"/>
            <a:tailEnd type="none" w="med" len="med"/>
          </a:ln>
        </p:spPr>
        <p:txBody>
          <a:bodyPr vert="horz" lIns="288000" tIns="72000" rIns="72000" bIns="72000" rtlCol="0" anchor="ctr">
            <a:noAutofit/>
          </a:bodyPr>
          <a:lstStyle>
            <a:defPPr>
              <a:defRPr lang="en-US"/>
            </a:defPPr>
            <a:lvl1pPr marL="180000" indent="-180000" defTabSz="914400">
              <a:buClr>
                <a:schemeClr val="accent1"/>
              </a:buClr>
              <a:buFont typeface="Wingdings" panose="05000000000000000000" pitchFamily="2" charset="2"/>
              <a:buChar char="§"/>
              <a:defRPr sz="1400">
                <a:latin typeface="Arial" panose="020B0604020202020204" pitchFamily="34" charset="0"/>
              </a:defRPr>
            </a:lvl1pPr>
            <a:lvl2pPr marL="180000" indent="-180000" defTabSz="914400">
              <a:buClr>
                <a:schemeClr val="accent1"/>
              </a:buClr>
              <a:buFont typeface="Wingdings" panose="05000000000000000000" pitchFamily="2" charset="2"/>
              <a:buChar char="§"/>
            </a:lvl2pPr>
            <a:lvl3pPr marL="180000" indent="-180000" defTabSz="914400">
              <a:buClr>
                <a:schemeClr val="accent1"/>
              </a:buClr>
              <a:buFont typeface="Wingdings" panose="05000000000000000000" pitchFamily="2" charset="2"/>
              <a:buChar char="§"/>
            </a:lvl3pPr>
            <a:lvl4pPr marL="180000" indent="-180000" defTabSz="914400">
              <a:buClr>
                <a:schemeClr val="accent1"/>
              </a:buClr>
              <a:buFont typeface="Wingdings" panose="05000000000000000000" pitchFamily="2" charset="2"/>
              <a:buChar char="§"/>
            </a:lvl4pPr>
            <a:lvl5pPr marL="360000" indent="-180000" defTabSz="914400">
              <a:buClr>
                <a:schemeClr val="accent1"/>
              </a:buClr>
              <a:buFont typeface="Symbol" panose="05050102010706020507" pitchFamily="18" charset="2"/>
              <a:buChar char=""/>
            </a:lvl5pPr>
            <a:lvl6pPr marL="288000" indent="-288000" defTabSz="914400">
              <a:buClr>
                <a:schemeClr val="accent1"/>
              </a:buClr>
              <a:buFont typeface="Wingdings 3" panose="05040102010807070707" pitchFamily="18" charset="2"/>
              <a:buChar char=""/>
            </a:lvl6pPr>
            <a:lvl7pPr marL="288000" indent="-288000" defTabSz="914400">
              <a:buClr>
                <a:schemeClr val="accent1"/>
              </a:buClr>
              <a:buFont typeface="Wingdings 3" panose="05040102010807070707" pitchFamily="18" charset="2"/>
              <a:buChar char=""/>
            </a:lvl7pPr>
            <a:lvl8pPr marL="288000" indent="-288000" defTabSz="914400">
              <a:buClr>
                <a:schemeClr val="accent1"/>
              </a:buClr>
              <a:buFont typeface="Wingdings 3" panose="05040102010807070707" pitchFamily="18" charset="2"/>
              <a:buChar char=""/>
            </a:lvl8pPr>
            <a:lvl9pPr marL="288000" indent="-288000" defTabSz="914400">
              <a:buClr>
                <a:schemeClr val="accent1"/>
              </a:buClr>
              <a:buFont typeface="Wingdings 3" panose="05040102010807070707" pitchFamily="18" charset="2"/>
              <a:buChar char=""/>
            </a:lvl9pPr>
          </a:lstStyle>
          <a:p>
            <a:pPr marL="180000" marR="0" lvl="4" indent="0" algn="l" defTabSz="914400" rtl="0" eaLnBrk="1" fontAlgn="auto" latinLnBrk="0" hangingPunct="1">
              <a:lnSpc>
                <a:spcPct val="100000"/>
              </a:lnSpc>
              <a:spcBef>
                <a:spcPts val="0"/>
              </a:spcBef>
              <a:spcAft>
                <a:spcPts val="600"/>
              </a:spcAft>
              <a:buClr>
                <a:srgbClr val="C72A34"/>
              </a:buClr>
              <a:buSzTx/>
              <a:buFont typeface="Symbol" panose="05050102010706020507" pitchFamily="18" charset="2"/>
              <a:buNone/>
              <a:tabLst/>
              <a:defRPr/>
            </a:pPr>
            <a:r>
              <a:rPr kumimoji="0" lang="de-DE" sz="1600" b="0" i="0" u="none" strike="noStrike" kern="1200" cap="none" spc="0" normalizeH="0" baseline="0" noProof="0">
                <a:ln>
                  <a:noFill/>
                </a:ln>
                <a:solidFill>
                  <a:srgbClr val="404040"/>
                </a:solidFill>
                <a:effectLst/>
                <a:uLnTx/>
                <a:uFillTx/>
                <a:latin typeface="Arial"/>
                <a:ea typeface="+mn-ea"/>
                <a:cs typeface="+mn-cs"/>
              </a:rPr>
              <a:t>In der Antragstellung berücksichtigte pauschale Beträge werden von den Kostenträgern regelmäßig nicht akzeptiert.</a:t>
            </a:r>
          </a:p>
        </p:txBody>
      </p:sp>
      <p:sp>
        <p:nvSpPr>
          <p:cNvPr id="31" name="MIO_TEXTBOX_BODY2">
            <a:extLst>
              <a:ext uri="{FF2B5EF4-FFF2-40B4-BE49-F238E27FC236}">
                <a16:creationId xmlns:a16="http://schemas.microsoft.com/office/drawing/2014/main" id="{8CD93343-5165-48EA-B440-BD14AC556C74}"/>
              </a:ext>
            </a:extLst>
          </p:cNvPr>
          <p:cNvSpPr txBox="1">
            <a:spLocks/>
          </p:cNvSpPr>
          <p:nvPr/>
        </p:nvSpPr>
        <p:spPr>
          <a:xfrm>
            <a:off x="3149204" y="4431151"/>
            <a:ext cx="6192000" cy="728027"/>
          </a:xfrm>
          <a:prstGeom prst="rect">
            <a:avLst/>
          </a:prstGeom>
          <a:solidFill>
            <a:schemeClr val="bg1"/>
          </a:solidFill>
          <a:ln w="12700" cap="flat" cmpd="sng" algn="ctr">
            <a:solidFill>
              <a:schemeClr val="lt1"/>
            </a:solidFill>
            <a:prstDash val="solid"/>
            <a:round/>
            <a:headEnd type="none" w="med" len="med"/>
            <a:tailEnd type="none" w="med" len="med"/>
          </a:ln>
        </p:spPr>
        <p:txBody>
          <a:bodyPr vert="horz" lIns="288000" tIns="72000" rIns="72000" bIns="72000" rtlCol="0" anchor="ctr">
            <a:noAutofit/>
          </a:bodyPr>
          <a:lstStyle>
            <a:defPPr>
              <a:defRPr lang="en-US"/>
            </a:defPPr>
            <a:lvl1pPr marL="180000" indent="-180000" defTabSz="914400">
              <a:buClr>
                <a:schemeClr val="accent1"/>
              </a:buClr>
              <a:buFont typeface="Wingdings" panose="05000000000000000000" pitchFamily="2" charset="2"/>
              <a:buChar char="§"/>
              <a:defRPr sz="1400">
                <a:latin typeface="Arial" panose="020B0604020202020204" pitchFamily="34" charset="0"/>
              </a:defRPr>
            </a:lvl1pPr>
            <a:lvl2pPr marL="180000" indent="-180000" defTabSz="914400">
              <a:buClr>
                <a:schemeClr val="accent1"/>
              </a:buClr>
              <a:buFont typeface="Wingdings" panose="05000000000000000000" pitchFamily="2" charset="2"/>
              <a:buChar char="§"/>
            </a:lvl2pPr>
            <a:lvl3pPr marL="180000" indent="-180000" defTabSz="914400">
              <a:buClr>
                <a:schemeClr val="accent1"/>
              </a:buClr>
              <a:buFont typeface="Wingdings" panose="05000000000000000000" pitchFamily="2" charset="2"/>
              <a:buChar char="§"/>
            </a:lvl3pPr>
            <a:lvl4pPr marL="180000" indent="-180000" defTabSz="914400">
              <a:buClr>
                <a:schemeClr val="accent1"/>
              </a:buClr>
              <a:buFont typeface="Wingdings" panose="05000000000000000000" pitchFamily="2" charset="2"/>
              <a:buChar char="§"/>
            </a:lvl4pPr>
            <a:lvl5pPr marL="360000" indent="-180000" defTabSz="914400">
              <a:buClr>
                <a:schemeClr val="accent1"/>
              </a:buClr>
              <a:buFont typeface="Symbol" panose="05050102010706020507" pitchFamily="18" charset="2"/>
              <a:buChar char=""/>
            </a:lvl5pPr>
            <a:lvl6pPr marL="288000" indent="-288000" defTabSz="914400">
              <a:buClr>
                <a:schemeClr val="accent1"/>
              </a:buClr>
              <a:buFont typeface="Wingdings 3" panose="05040102010807070707" pitchFamily="18" charset="2"/>
              <a:buChar char=""/>
            </a:lvl6pPr>
            <a:lvl7pPr marL="288000" indent="-288000" defTabSz="914400">
              <a:buClr>
                <a:schemeClr val="accent1"/>
              </a:buClr>
              <a:buFont typeface="Wingdings 3" panose="05040102010807070707" pitchFamily="18" charset="2"/>
              <a:buChar char=""/>
            </a:lvl7pPr>
            <a:lvl8pPr marL="288000" indent="-288000" defTabSz="914400">
              <a:buClr>
                <a:schemeClr val="accent1"/>
              </a:buClr>
              <a:buFont typeface="Wingdings 3" panose="05040102010807070707" pitchFamily="18" charset="2"/>
              <a:buChar char=""/>
            </a:lvl8pPr>
            <a:lvl9pPr marL="288000" indent="-288000" defTabSz="914400">
              <a:buClr>
                <a:schemeClr val="accent1"/>
              </a:buClr>
              <a:buFont typeface="Wingdings 3" panose="05040102010807070707" pitchFamily="18" charset="2"/>
              <a:buChar char=""/>
            </a:lvl9pPr>
          </a:lstStyle>
          <a:p>
            <a:pPr marL="180000" marR="0" lvl="4" indent="0" algn="l" defTabSz="914400" rtl="0" eaLnBrk="1" fontAlgn="auto" latinLnBrk="0" hangingPunct="1">
              <a:lnSpc>
                <a:spcPct val="100000"/>
              </a:lnSpc>
              <a:spcBef>
                <a:spcPts val="0"/>
              </a:spcBef>
              <a:spcAft>
                <a:spcPts val="600"/>
              </a:spcAft>
              <a:buClr>
                <a:srgbClr val="C72A34"/>
              </a:buClr>
              <a:buSzTx/>
              <a:buFont typeface="Symbol" panose="05050102010706020507" pitchFamily="18" charset="2"/>
              <a:buNone/>
              <a:tabLst/>
              <a:defRPr/>
            </a:pPr>
            <a:r>
              <a:rPr kumimoji="0" lang="de-DE" sz="1600" b="0" i="0" u="none" strike="noStrike" kern="1200" cap="none" spc="0" normalizeH="0" baseline="0" noProof="0">
                <a:ln>
                  <a:noFill/>
                </a:ln>
                <a:solidFill>
                  <a:srgbClr val="404040"/>
                </a:solidFill>
                <a:effectLst/>
                <a:uLnTx/>
                <a:uFillTx/>
                <a:latin typeface="Arial"/>
                <a:ea typeface="+mn-ea"/>
                <a:cs typeface="+mn-cs"/>
              </a:rPr>
              <a:t>Einrichtungsindividuelle Risikoermittlung und -abwägung muss daher zentrales Element prospektiver Annahmen im Pflegesatzverfahren sein.</a:t>
            </a:r>
          </a:p>
        </p:txBody>
      </p:sp>
      <p:sp>
        <p:nvSpPr>
          <p:cNvPr id="32" name="MIO_TEXTBOX_BODY2">
            <a:extLst>
              <a:ext uri="{FF2B5EF4-FFF2-40B4-BE49-F238E27FC236}">
                <a16:creationId xmlns:a16="http://schemas.microsoft.com/office/drawing/2014/main" id="{6B4BB5F8-1265-4829-98A5-004AC496C715}"/>
              </a:ext>
            </a:extLst>
          </p:cNvPr>
          <p:cNvSpPr txBox="1">
            <a:spLocks/>
          </p:cNvSpPr>
          <p:nvPr/>
        </p:nvSpPr>
        <p:spPr>
          <a:xfrm>
            <a:off x="3149204" y="5293261"/>
            <a:ext cx="6192000" cy="728027"/>
          </a:xfrm>
          <a:prstGeom prst="rect">
            <a:avLst/>
          </a:prstGeom>
          <a:solidFill>
            <a:schemeClr val="bg1"/>
          </a:solidFill>
          <a:ln w="12700" cap="flat" cmpd="sng" algn="ctr">
            <a:solidFill>
              <a:schemeClr val="lt1"/>
            </a:solidFill>
            <a:prstDash val="solid"/>
            <a:round/>
            <a:headEnd type="none" w="med" len="med"/>
            <a:tailEnd type="none" w="med" len="med"/>
          </a:ln>
        </p:spPr>
        <p:txBody>
          <a:bodyPr vert="horz" lIns="288000" tIns="72000" rIns="72000" bIns="72000" rtlCol="0" anchor="ctr">
            <a:noAutofit/>
          </a:bodyPr>
          <a:lstStyle>
            <a:defPPr>
              <a:defRPr lang="en-US"/>
            </a:defPPr>
            <a:lvl1pPr marL="180000" indent="-180000" defTabSz="914400">
              <a:buClr>
                <a:schemeClr val="accent1"/>
              </a:buClr>
              <a:buFont typeface="Wingdings" panose="05000000000000000000" pitchFamily="2" charset="2"/>
              <a:buChar char="§"/>
              <a:defRPr sz="1400">
                <a:latin typeface="Arial" panose="020B0604020202020204" pitchFamily="34" charset="0"/>
              </a:defRPr>
            </a:lvl1pPr>
            <a:lvl2pPr marL="180000" indent="-180000" defTabSz="914400">
              <a:buClr>
                <a:schemeClr val="accent1"/>
              </a:buClr>
              <a:buFont typeface="Wingdings" panose="05000000000000000000" pitchFamily="2" charset="2"/>
              <a:buChar char="§"/>
            </a:lvl2pPr>
            <a:lvl3pPr marL="180000" indent="-180000" defTabSz="914400">
              <a:buClr>
                <a:schemeClr val="accent1"/>
              </a:buClr>
              <a:buFont typeface="Wingdings" panose="05000000000000000000" pitchFamily="2" charset="2"/>
              <a:buChar char="§"/>
            </a:lvl3pPr>
            <a:lvl4pPr marL="180000" indent="-180000" defTabSz="914400">
              <a:buClr>
                <a:schemeClr val="accent1"/>
              </a:buClr>
              <a:buFont typeface="Wingdings" panose="05000000000000000000" pitchFamily="2" charset="2"/>
              <a:buChar char="§"/>
            </a:lvl4pPr>
            <a:lvl5pPr marL="360000" indent="-180000" defTabSz="914400">
              <a:buClr>
                <a:schemeClr val="accent1"/>
              </a:buClr>
              <a:buFont typeface="Symbol" panose="05050102010706020507" pitchFamily="18" charset="2"/>
              <a:buChar char=""/>
            </a:lvl5pPr>
            <a:lvl6pPr marL="288000" indent="-288000" defTabSz="914400">
              <a:buClr>
                <a:schemeClr val="accent1"/>
              </a:buClr>
              <a:buFont typeface="Wingdings 3" panose="05040102010807070707" pitchFamily="18" charset="2"/>
              <a:buChar char=""/>
            </a:lvl6pPr>
            <a:lvl7pPr marL="288000" indent="-288000" defTabSz="914400">
              <a:buClr>
                <a:schemeClr val="accent1"/>
              </a:buClr>
              <a:buFont typeface="Wingdings 3" panose="05040102010807070707" pitchFamily="18" charset="2"/>
              <a:buChar char=""/>
            </a:lvl7pPr>
            <a:lvl8pPr marL="288000" indent="-288000" defTabSz="914400">
              <a:buClr>
                <a:schemeClr val="accent1"/>
              </a:buClr>
              <a:buFont typeface="Wingdings 3" panose="05040102010807070707" pitchFamily="18" charset="2"/>
              <a:buChar char=""/>
            </a:lvl8pPr>
            <a:lvl9pPr marL="288000" indent="-288000" defTabSz="914400">
              <a:buClr>
                <a:schemeClr val="accent1"/>
              </a:buClr>
              <a:buFont typeface="Wingdings 3" panose="05040102010807070707" pitchFamily="18" charset="2"/>
              <a:buChar char=""/>
            </a:lvl9pPr>
          </a:lstStyle>
          <a:p>
            <a:pPr marL="0" marR="0" lvl="0" indent="3175" algn="l" defTabSz="914400" rtl="0" eaLnBrk="1" fontAlgn="auto" latinLnBrk="0" hangingPunct="1">
              <a:lnSpc>
                <a:spcPct val="100000"/>
              </a:lnSpc>
              <a:spcBef>
                <a:spcPts val="0"/>
              </a:spcBef>
              <a:spcAft>
                <a:spcPts val="0"/>
              </a:spcAft>
              <a:buClr>
                <a:srgbClr val="C72A34"/>
              </a:buClr>
              <a:buSzTx/>
              <a:buFont typeface="Wingdings" panose="05000000000000000000" pitchFamily="2" charset="2"/>
              <a:buNone/>
              <a:tabLst/>
              <a:defRPr/>
            </a:pPr>
            <a:r>
              <a:rPr kumimoji="0" lang="de-DE" sz="1600" b="0" i="0" u="none" strike="noStrike" kern="1200" cap="none" spc="0" normalizeH="0" baseline="0" noProof="0">
                <a:ln>
                  <a:noFill/>
                </a:ln>
                <a:solidFill>
                  <a:srgbClr val="404040"/>
                </a:solidFill>
                <a:effectLst/>
                <a:uLnTx/>
                <a:uFillTx/>
                <a:latin typeface="Arial" panose="020B0604020202020204" pitchFamily="34" charset="0"/>
                <a:ea typeface="+mn-ea"/>
                <a:cs typeface="+mn-cs"/>
              </a:rPr>
              <a:t>Das Fehlen bundeseinheitlicher Regelungen und eine konkrete Ausgestaltung führen in der Praxis immer wieder zu Streit über die Bemessung und Höhe des Unternehmerrisikos.</a:t>
            </a:r>
            <a:endParaRPr kumimoji="0" lang="de-DE" sz="1600" b="0" i="0" u="none" strike="noStrike" kern="1200" cap="none" spc="0" normalizeH="0" baseline="0" noProof="0">
              <a:ln>
                <a:noFill/>
              </a:ln>
              <a:solidFill>
                <a:srgbClr val="404040"/>
              </a:solidFill>
              <a:effectLst/>
              <a:uLnTx/>
              <a:uFillTx/>
              <a:latin typeface="Arial Black" panose="020B0A04020102020204" pitchFamily="34" charset="0"/>
              <a:ea typeface="+mn-ea"/>
              <a:cs typeface="+mn-cs"/>
            </a:endParaRPr>
          </a:p>
        </p:txBody>
      </p:sp>
      <p:sp>
        <p:nvSpPr>
          <p:cNvPr id="34" name="MIO_TEXTBOX_BODY2">
            <a:extLst>
              <a:ext uri="{FF2B5EF4-FFF2-40B4-BE49-F238E27FC236}">
                <a16:creationId xmlns:a16="http://schemas.microsoft.com/office/drawing/2014/main" id="{6B4BB5F8-1265-4829-98A5-004AC496C715}"/>
              </a:ext>
            </a:extLst>
          </p:cNvPr>
          <p:cNvSpPr txBox="1">
            <a:spLocks/>
          </p:cNvSpPr>
          <p:nvPr/>
        </p:nvSpPr>
        <p:spPr>
          <a:xfrm>
            <a:off x="3149204" y="1844824"/>
            <a:ext cx="6192000" cy="728027"/>
          </a:xfrm>
          <a:prstGeom prst="rect">
            <a:avLst/>
          </a:prstGeom>
          <a:solidFill>
            <a:schemeClr val="bg1"/>
          </a:solidFill>
          <a:ln w="12700" cap="flat" cmpd="sng" algn="ctr">
            <a:solidFill>
              <a:schemeClr val="lt1"/>
            </a:solidFill>
            <a:prstDash val="solid"/>
            <a:round/>
            <a:headEnd type="none" w="med" len="med"/>
            <a:tailEnd type="none" w="med" len="med"/>
          </a:ln>
        </p:spPr>
        <p:txBody>
          <a:bodyPr vert="horz" lIns="288000" tIns="72000" rIns="72000" bIns="72000" rtlCol="0" anchor="ctr">
            <a:noAutofit/>
          </a:bodyPr>
          <a:lstStyle>
            <a:defPPr>
              <a:defRPr lang="en-US"/>
            </a:defPPr>
            <a:lvl1pPr marL="180000" indent="-180000" algn="ctr" defTabSz="914400">
              <a:buClr>
                <a:schemeClr val="accent1"/>
              </a:buClr>
              <a:buFont typeface="Wingdings" panose="05000000000000000000" pitchFamily="2" charset="2"/>
              <a:buNone/>
              <a:defRPr sz="1400">
                <a:latin typeface="+mj-lt"/>
              </a:defRPr>
            </a:lvl1pPr>
            <a:lvl2pPr marL="180000" indent="-180000" defTabSz="914400">
              <a:buClr>
                <a:schemeClr val="accent1"/>
              </a:buClr>
              <a:buFont typeface="Wingdings" panose="05000000000000000000" pitchFamily="2" charset="2"/>
              <a:buChar char="§"/>
            </a:lvl2pPr>
            <a:lvl3pPr marL="180000" indent="-180000" defTabSz="914400">
              <a:buClr>
                <a:schemeClr val="accent1"/>
              </a:buClr>
              <a:buFont typeface="Wingdings" panose="05000000000000000000" pitchFamily="2" charset="2"/>
              <a:buChar char="§"/>
            </a:lvl3pPr>
            <a:lvl4pPr marL="180000" indent="-180000" defTabSz="914400">
              <a:buClr>
                <a:schemeClr val="accent1"/>
              </a:buClr>
              <a:buFont typeface="Wingdings" panose="05000000000000000000" pitchFamily="2" charset="2"/>
              <a:buChar char="§"/>
            </a:lvl4pPr>
            <a:lvl5pPr marL="360000" indent="-180000" defTabSz="914400">
              <a:buClr>
                <a:schemeClr val="accent1"/>
              </a:buClr>
              <a:buFont typeface="Symbol" panose="05050102010706020507" pitchFamily="18" charset="2"/>
              <a:buChar char=""/>
            </a:lvl5pPr>
            <a:lvl6pPr marL="288000" indent="-288000" defTabSz="914400">
              <a:buClr>
                <a:schemeClr val="accent1"/>
              </a:buClr>
              <a:buFont typeface="Wingdings 3" panose="05040102010807070707" pitchFamily="18" charset="2"/>
              <a:buChar char=""/>
            </a:lvl6pPr>
            <a:lvl7pPr marL="288000" indent="-288000" defTabSz="914400">
              <a:buClr>
                <a:schemeClr val="accent1"/>
              </a:buClr>
              <a:buFont typeface="Wingdings 3" panose="05040102010807070707" pitchFamily="18" charset="2"/>
              <a:buChar char=""/>
            </a:lvl7pPr>
            <a:lvl8pPr marL="288000" indent="-288000" defTabSz="914400">
              <a:buClr>
                <a:schemeClr val="accent1"/>
              </a:buClr>
              <a:buFont typeface="Wingdings 3" panose="05040102010807070707" pitchFamily="18" charset="2"/>
              <a:buChar char=""/>
            </a:lvl8pPr>
            <a:lvl9pPr marL="288000" indent="-288000" defTabSz="914400">
              <a:buClr>
                <a:schemeClr val="accent1"/>
              </a:buClr>
              <a:buFont typeface="Wingdings 3" panose="05040102010807070707" pitchFamily="18" charset="2"/>
              <a:buChar char=""/>
            </a:lvl9pPr>
          </a:lstStyle>
          <a:p>
            <a:pPr marL="180000" marR="0" lvl="4" indent="0" algn="l" defTabSz="914400" rtl="0" eaLnBrk="1" fontAlgn="auto" latinLnBrk="0" hangingPunct="1">
              <a:lnSpc>
                <a:spcPct val="100000"/>
              </a:lnSpc>
              <a:spcBef>
                <a:spcPts val="0"/>
              </a:spcBef>
              <a:spcAft>
                <a:spcPts val="600"/>
              </a:spcAft>
              <a:buClr>
                <a:srgbClr val="C72A34"/>
              </a:buClr>
              <a:buSzTx/>
              <a:buFont typeface="Symbol" panose="05050102010706020507" pitchFamily="18" charset="2"/>
              <a:buNone/>
              <a:tabLst/>
              <a:defRPr/>
            </a:pPr>
            <a:r>
              <a:rPr kumimoji="0" lang="de-DE" sz="1600" b="0" i="0" u="none" strike="noStrike" kern="1200" cap="none" spc="0" normalizeH="0" baseline="0" noProof="0">
                <a:ln>
                  <a:noFill/>
                </a:ln>
                <a:solidFill>
                  <a:srgbClr val="404040"/>
                </a:solidFill>
                <a:effectLst/>
                <a:uLnTx/>
                <a:uFillTx/>
                <a:latin typeface="Arial"/>
                <a:ea typeface="+mn-ea"/>
                <a:cs typeface="+mn-cs"/>
              </a:rPr>
              <a:t>Das Gesetz sieht die Berücksichtigung des Unternehmerrisikos ausdrücklich vor.</a:t>
            </a:r>
          </a:p>
        </p:txBody>
      </p:sp>
      <p:sp>
        <p:nvSpPr>
          <p:cNvPr id="28" name="MIO_OBJECT3">
            <a:extLst>
              <a:ext uri="{FF2B5EF4-FFF2-40B4-BE49-F238E27FC236}">
                <a16:creationId xmlns:a16="http://schemas.microsoft.com/office/drawing/2014/main" id="{E8DD3A20-D6FE-4454-8CFA-327A42E90439}"/>
              </a:ext>
            </a:extLst>
          </p:cNvPr>
          <p:cNvSpPr/>
          <p:nvPr/>
        </p:nvSpPr>
        <p:spPr>
          <a:xfrm>
            <a:off x="331422" y="2759075"/>
            <a:ext cx="2376000" cy="2340000"/>
          </a:xfrm>
          <a:prstGeom prst="ellipse">
            <a:avLst/>
          </a:prstGeom>
          <a:solidFill>
            <a:srgbClr val="F2F2F2"/>
          </a:solidFill>
          <a:ln w="76200" algn="ctr">
            <a:solidFill>
              <a:schemeClr val="bg1"/>
            </a:solidFill>
            <a:miter lim="800000"/>
            <a:headEnd/>
            <a:tailEnd/>
          </a:ln>
        </p:spPr>
        <p:txBody>
          <a:bodyPr wrap="square" lIns="71988" tIns="45712" rIns="91424" bIns="45712" anchor="ctr" anchorCtr="1">
            <a:noAutofit/>
          </a:bodyPr>
          <a:lstStyle/>
          <a:p>
            <a:pPr marL="0" marR="0" lvl="0" indent="0" algn="ctr" defTabSz="457200" rtl="0" eaLnBrk="0" fontAlgn="auto" latinLnBrk="0" hangingPunct="0">
              <a:lnSpc>
                <a:spcPct val="100000"/>
              </a:lnSpc>
              <a:spcBef>
                <a:spcPts val="0"/>
              </a:spcBef>
              <a:spcAft>
                <a:spcPts val="417"/>
              </a:spcAft>
              <a:buClrTx/>
              <a:buSzTx/>
              <a:buFontTx/>
              <a:buNone/>
              <a:tabLst/>
              <a:defRPr/>
            </a:pPr>
            <a:r>
              <a:rPr kumimoji="0" lang="de-DE" sz="1400" b="0" i="0" u="none" strike="noStrike" kern="1200" cap="none" spc="0" normalizeH="0" baseline="0" noProof="0">
                <a:ln>
                  <a:noFill/>
                </a:ln>
                <a:solidFill>
                  <a:srgbClr val="404040"/>
                </a:solidFill>
                <a:effectLst/>
                <a:uLnTx/>
                <a:uFillTx/>
                <a:latin typeface="Arial" panose="020B0604020202020204" pitchFamily="34" charset="0"/>
                <a:ea typeface="+mn-ea"/>
                <a:cs typeface="+mn-cs"/>
              </a:rPr>
              <a:t>Text</a:t>
            </a:r>
          </a:p>
        </p:txBody>
      </p:sp>
      <p:pic>
        <p:nvPicPr>
          <p:cNvPr id="5" name="Ziel_Fläche_Hintergrund">
            <a:extLst>
              <a:ext uri="{FF2B5EF4-FFF2-40B4-BE49-F238E27FC236}">
                <a16:creationId xmlns:a16="http://schemas.microsoft.com/office/drawing/2014/main" id="{244BC451-769F-D08E-EC57-51C5550ADF0B}"/>
              </a:ext>
            </a:extLst>
          </p:cNvPr>
          <p:cNvPicPr>
            <a:picLocks noChangeAspect="1"/>
          </p:cNvPicPr>
          <p:nvPr>
            <p:custDataLst>
              <p:tags r:id="rId4"/>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74027" y="2583680"/>
            <a:ext cx="2690789" cy="2690789"/>
          </a:xfrm>
          <a:prstGeom prst="rect">
            <a:avLst/>
          </a:prstGeom>
        </p:spPr>
      </p:pic>
      <p:sp>
        <p:nvSpPr>
          <p:cNvPr id="7" name="Foliennummernplatzhalter 6">
            <a:extLst>
              <a:ext uri="{FF2B5EF4-FFF2-40B4-BE49-F238E27FC236}">
                <a16:creationId xmlns:a16="http://schemas.microsoft.com/office/drawing/2014/main" id="{F63603D5-ABCF-8F5A-FE60-59AD9142428F}"/>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322A94-3156-491B-AD20-567107C600A1}" type="slidenum">
              <a:rPr kumimoji="0" lang="de-DE"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de-DE" sz="800" b="0" i="0" u="none" strike="noStrike" kern="1200" cap="none" spc="0" normalizeH="0" baseline="0" noProof="0">
              <a:ln>
                <a:noFill/>
              </a:ln>
              <a:solidFill>
                <a:srgbClr val="404040">
                  <a:tint val="75000"/>
                </a:srgbClr>
              </a:solidFill>
              <a:effectLst/>
              <a:uLnTx/>
              <a:uFillTx/>
              <a:latin typeface="Arial"/>
              <a:ea typeface="+mn-ea"/>
              <a:cs typeface="+mn-cs"/>
            </a:endParaRPr>
          </a:p>
        </p:txBody>
      </p:sp>
      <p:sp>
        <p:nvSpPr>
          <p:cNvPr id="4" name="Textplatzhalter 3">
            <a:extLst>
              <a:ext uri="{FF2B5EF4-FFF2-40B4-BE49-F238E27FC236}">
                <a16:creationId xmlns:a16="http://schemas.microsoft.com/office/drawing/2014/main" id="{2AE248AC-132E-68C7-C0C4-CFD28C68F191}"/>
              </a:ext>
            </a:extLst>
          </p:cNvPr>
          <p:cNvSpPr>
            <a:spLocks noGrp="1"/>
          </p:cNvSpPr>
          <p:nvPr>
            <p:ph type="body" sz="quarter" idx="13"/>
          </p:nvPr>
        </p:nvSpPr>
        <p:spPr/>
        <p:txBody>
          <a:bodyPr/>
          <a:lstStyle/>
          <a:p>
            <a:r>
              <a:rPr lang="de-DE"/>
              <a:t>Renaissance des Risiko-/Wagniszuschlags</a:t>
            </a:r>
          </a:p>
        </p:txBody>
      </p:sp>
    </p:spTree>
    <p:custDataLst>
      <p:tags r:id="rId1"/>
    </p:custDataLst>
    <p:extLst>
      <p:ext uri="{BB962C8B-B14F-4D97-AF65-F5344CB8AC3E}">
        <p14:creationId xmlns:p14="http://schemas.microsoft.com/office/powerpoint/2010/main" val="19249190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Kontakt_TyK">
            <a:extLst>
              <a:ext uri="{FF2B5EF4-FFF2-40B4-BE49-F238E27FC236}">
                <a16:creationId xmlns:a16="http://schemas.microsoft.com/office/drawing/2014/main" id="{C6D4C5B2-D1C0-1444-496C-09E9C836F863}"/>
              </a:ext>
            </a:extLst>
          </p:cNvPr>
          <p:cNvPicPr>
            <a:picLocks noChangeAspect="1"/>
          </p:cNvPicPr>
          <p:nvPr>
            <p:custDataLst>
              <p:tags r:id="rId1"/>
            </p:custDataLst>
          </p:nvPr>
        </p:nvPicPr>
        <p:blipFill>
          <a:blip r:embed="rId6">
            <a:extLst>
              <a:ext uri="{28A0092B-C50C-407E-A947-70E740481C1C}">
                <a14:useLocalDpi xmlns:a14="http://schemas.microsoft.com/office/drawing/2010/main" val="0"/>
              </a:ext>
            </a:extLst>
          </a:blip>
          <a:srcRect t="2657" b="2657"/>
          <a:stretch/>
        </p:blipFill>
        <p:spPr>
          <a:xfrm>
            <a:off x="776536" y="2276872"/>
            <a:ext cx="1368000" cy="1944000"/>
          </a:xfrm>
          <a:prstGeom prst="rect">
            <a:avLst/>
          </a:prstGeom>
        </p:spPr>
      </p:pic>
      <p:sp>
        <p:nvSpPr>
          <p:cNvPr id="10" name="Kontakt_TyK">
            <a:extLst>
              <a:ext uri="{FF2B5EF4-FFF2-40B4-BE49-F238E27FC236}">
                <a16:creationId xmlns:a16="http://schemas.microsoft.com/office/drawing/2014/main" id="{B4D925AD-95E9-6D19-D617-A819B16DE8FA}"/>
              </a:ext>
            </a:extLst>
          </p:cNvPr>
          <p:cNvSpPr txBox="1">
            <a:spLocks/>
          </p:cNvSpPr>
          <p:nvPr>
            <p:custDataLst>
              <p:tags r:id="rId2"/>
            </p:custDataLst>
          </p:nvPr>
        </p:nvSpPr>
        <p:spPr>
          <a:xfrm>
            <a:off x="1280592" y="4942268"/>
            <a:ext cx="2952328" cy="935004"/>
          </a:xfrm>
          <a:prstGeom prst="rect">
            <a:avLst/>
          </a:prstGeom>
        </p:spPr>
        <p:txBody>
          <a:bodyPr/>
          <a:lstStyle>
            <a:lvl1pPr marL="0" indent="0" algn="l" defTabSz="914400" rtl="0" eaLnBrk="1" latinLnBrk="0" hangingPunct="1">
              <a:lnSpc>
                <a:spcPct val="110000"/>
              </a:lnSpc>
              <a:spcBef>
                <a:spcPts val="600"/>
              </a:spcBef>
              <a:buFont typeface="Arial" panose="020B0604020202020204" pitchFamily="34" charset="0"/>
              <a:buNone/>
              <a:defRPr sz="1400" kern="1200">
                <a:solidFill>
                  <a:schemeClr val="tx1"/>
                </a:solidFill>
                <a:latin typeface="+mn-lt"/>
                <a:ea typeface="+mn-ea"/>
                <a:cs typeface="+mn-cs"/>
              </a:defRPr>
            </a:lvl1pPr>
            <a:lvl2pPr marL="0" indent="0" algn="l" defTabSz="914400" rtl="0" eaLnBrk="1" latinLnBrk="0" hangingPunct="1">
              <a:lnSpc>
                <a:spcPct val="110000"/>
              </a:lnSpc>
              <a:spcBef>
                <a:spcPts val="1200"/>
              </a:spcBef>
              <a:spcAft>
                <a:spcPts val="0"/>
              </a:spcAft>
              <a:buFont typeface="Arial" panose="020B0604020202020204" pitchFamily="34" charset="0"/>
              <a:buNone/>
              <a:defRPr sz="1600" b="0" kern="1200">
                <a:solidFill>
                  <a:srgbClr val="929292"/>
                </a:solidFill>
                <a:latin typeface="+mn-lt"/>
                <a:ea typeface="+mn-ea"/>
                <a:cs typeface="+mn-cs"/>
              </a:defRPr>
            </a:lvl2pPr>
            <a:lvl3pPr marL="0" indent="0" algn="l" defTabSz="914400" rtl="0" eaLnBrk="1" latinLnBrk="0" hangingPunct="1">
              <a:lnSpc>
                <a:spcPct val="110000"/>
              </a:lnSpc>
              <a:spcBef>
                <a:spcPts val="1200"/>
              </a:spcBef>
              <a:buClr>
                <a:schemeClr val="accent1"/>
              </a:buClr>
              <a:buFont typeface="Arial" panose="020B0604020202020204" pitchFamily="34" charset="0"/>
              <a:buNone/>
              <a:defRPr sz="1400" b="1" kern="1200">
                <a:solidFill>
                  <a:schemeClr val="tx1"/>
                </a:solidFill>
                <a:latin typeface="+mn-lt"/>
                <a:ea typeface="+mn-ea"/>
                <a:cs typeface="+mn-cs"/>
              </a:defRPr>
            </a:lvl3pPr>
            <a:lvl4pPr marL="180000" indent="-1800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600"/>
              </a:spcBef>
              <a:buClr>
                <a:schemeClr val="accent1"/>
              </a:buClr>
              <a:buFont typeface="Symbol" panose="05050102010706020507" pitchFamily="18" charset="2"/>
              <a:buChar char=""/>
              <a:defRPr sz="1400" kern="1200">
                <a:solidFill>
                  <a:schemeClr val="tx1"/>
                </a:solidFill>
                <a:latin typeface="+mn-lt"/>
                <a:ea typeface="+mn-ea"/>
                <a:cs typeface="+mn-cs"/>
              </a:defRPr>
            </a:lvl5pPr>
            <a:lvl6pPr marL="0" indent="0" algn="l" defTabSz="914400" rtl="0" eaLnBrk="1" latinLnBrk="0" hangingPunct="1">
              <a:lnSpc>
                <a:spcPct val="110000"/>
              </a:lnSpc>
              <a:spcBef>
                <a:spcPts val="600"/>
              </a:spcBef>
              <a:spcAft>
                <a:spcPts val="0"/>
              </a:spcAft>
              <a:buFont typeface="Arial" panose="020B0604020202020204" pitchFamily="34" charset="0"/>
              <a:buNone/>
              <a:defRPr sz="800" kern="1200" cap="none" baseline="0">
                <a:solidFill>
                  <a:schemeClr val="tx1"/>
                </a:solidFill>
                <a:latin typeface="+mn-lt"/>
                <a:ea typeface="+mn-ea"/>
                <a:cs typeface="+mn-cs"/>
              </a:defRPr>
            </a:lvl6pPr>
            <a:lvl7pPr marL="0" indent="0" algn="l" defTabSz="914400" rtl="0" eaLnBrk="1" latinLnBrk="0" hangingPunct="1">
              <a:lnSpc>
                <a:spcPct val="110000"/>
              </a:lnSpc>
              <a:spcBef>
                <a:spcPts val="600"/>
              </a:spcBef>
              <a:spcAft>
                <a:spcPts val="600"/>
              </a:spcAft>
              <a:buFont typeface="Arial" panose="020B0604020202020204" pitchFamily="34" charset="0"/>
              <a:buNone/>
              <a:defRPr sz="2000" kern="1200" cap="all" baseline="0">
                <a:solidFill>
                  <a:schemeClr val="accent1"/>
                </a:solidFill>
                <a:latin typeface="+mj-lt"/>
                <a:ea typeface="+mn-ea"/>
                <a:cs typeface="+mn-cs"/>
              </a:defRPr>
            </a:lvl7pPr>
            <a:lvl8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cap="all" baseline="0">
                <a:solidFill>
                  <a:schemeClr val="accent5"/>
                </a:solidFill>
                <a:latin typeface="+mj-lt"/>
                <a:ea typeface="+mn-ea"/>
                <a:cs typeface="+mn-cs"/>
              </a:defRPr>
            </a:lvl8pPr>
            <a:lvl9pPr marL="288000" indent="-288000" algn="l" defTabSz="914400" rtl="0" eaLnBrk="1" latinLnBrk="0" hangingPunct="1">
              <a:lnSpc>
                <a:spcPct val="110000"/>
              </a:lnSpc>
              <a:spcBef>
                <a:spcPts val="600"/>
              </a:spcBef>
              <a:spcAft>
                <a:spcPts val="0"/>
              </a:spcAft>
              <a:buClr>
                <a:schemeClr val="accent1"/>
              </a:buClr>
              <a:buFont typeface="Wingdings 3" panose="05040102010807070707" pitchFamily="18" charset="2"/>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0"/>
              </a:spcAft>
              <a:buClrTx/>
              <a:buSzTx/>
              <a:buFont typeface="Arial" panose="020B0604020202020204" pitchFamily="34" charset="0"/>
              <a:buNone/>
              <a:tabLst/>
              <a:defRPr/>
            </a:pPr>
            <a:r>
              <a:rPr kumimoji="0" lang="de-DE" sz="1200" b="0" i="0" u="none" strike="noStrike" kern="1200" cap="none" spc="0" normalizeH="0" baseline="0" noProof="0" dirty="0">
                <a:ln>
                  <a:noFill/>
                </a:ln>
                <a:solidFill>
                  <a:srgbClr val="404040"/>
                </a:solidFill>
                <a:effectLst/>
                <a:uLnTx/>
                <a:uFillTx/>
                <a:latin typeface="Arial"/>
                <a:ea typeface="+mn-ea"/>
                <a:cs typeface="+mn-cs"/>
              </a:rPr>
              <a:t>0173/266 78 07</a:t>
            </a:r>
          </a:p>
          <a:p>
            <a:pPr marL="0" marR="0" lvl="0" indent="0" algn="l" defTabSz="914400" rtl="0" eaLnBrk="1" fontAlgn="auto" latinLnBrk="0" hangingPunct="1">
              <a:lnSpc>
                <a:spcPct val="110000"/>
              </a:lnSpc>
              <a:spcBef>
                <a:spcPts val="600"/>
              </a:spcBef>
              <a:spcAft>
                <a:spcPts val="0"/>
              </a:spcAft>
              <a:buClrTx/>
              <a:buSzTx/>
              <a:buFont typeface="Arial" panose="020B0604020202020204" pitchFamily="34" charset="0"/>
              <a:buNone/>
              <a:tabLst/>
              <a:defRPr/>
            </a:pPr>
            <a:r>
              <a:rPr kumimoji="0" lang="de-DE" sz="1200" b="0" i="0" u="none" strike="noStrike" kern="1200" cap="none" spc="0" normalizeH="0" baseline="0" noProof="0" dirty="0">
                <a:ln>
                  <a:noFill/>
                </a:ln>
                <a:solidFill>
                  <a:srgbClr val="404040"/>
                </a:solidFill>
                <a:effectLst/>
                <a:uLnTx/>
                <a:uFillTx/>
                <a:latin typeface="Arial"/>
                <a:ea typeface="+mn-ea"/>
                <a:cs typeface="+mn-cs"/>
              </a:rPr>
              <a:t>02102/55858 21</a:t>
            </a:r>
          </a:p>
          <a:p>
            <a:pPr marL="0" marR="0" lvl="0" indent="0" algn="l" defTabSz="914400" rtl="0" eaLnBrk="1" fontAlgn="auto" latinLnBrk="0" hangingPunct="1">
              <a:lnSpc>
                <a:spcPct val="110000"/>
              </a:lnSpc>
              <a:spcBef>
                <a:spcPts val="600"/>
              </a:spcBef>
              <a:spcAft>
                <a:spcPts val="0"/>
              </a:spcAft>
              <a:buClrTx/>
              <a:buSzTx/>
              <a:buFont typeface="Arial" panose="020B0604020202020204" pitchFamily="34" charset="0"/>
              <a:buNone/>
              <a:tabLst/>
              <a:defRPr/>
            </a:pPr>
            <a:r>
              <a:rPr kumimoji="0" lang="de-DE" sz="1200" b="0" i="0" u="none" strike="noStrike" kern="1200" cap="none" spc="0" normalizeH="0" baseline="0" noProof="0" dirty="0">
                <a:ln>
                  <a:noFill/>
                </a:ln>
                <a:solidFill>
                  <a:srgbClr val="404040"/>
                </a:solidFill>
                <a:effectLst/>
                <a:uLnTx/>
                <a:uFillTx/>
                <a:latin typeface="Arial"/>
                <a:ea typeface="+mn-ea"/>
                <a:cs typeface="+mn-cs"/>
              </a:rPr>
              <a:t>kai.tybussek@curacon-recht.de</a:t>
            </a:r>
          </a:p>
        </p:txBody>
      </p:sp>
      <p:sp>
        <p:nvSpPr>
          <p:cNvPr id="11" name="Kontakt_TyK">
            <a:hlinkClick r:id="rId7"/>
            <a:extLst>
              <a:ext uri="{FF2B5EF4-FFF2-40B4-BE49-F238E27FC236}">
                <a16:creationId xmlns:a16="http://schemas.microsoft.com/office/drawing/2014/main" id="{40BAC890-7306-DBDF-53BC-F4B532B9C8A5}"/>
              </a:ext>
            </a:extLst>
          </p:cNvPr>
          <p:cNvSpPr txBox="1">
            <a:spLocks/>
          </p:cNvSpPr>
          <p:nvPr>
            <p:custDataLst>
              <p:tags r:id="rId3"/>
            </p:custDataLst>
          </p:nvPr>
        </p:nvSpPr>
        <p:spPr bwMode="ltGray">
          <a:xfrm>
            <a:off x="1280592" y="4005263"/>
            <a:ext cx="2952328" cy="864097"/>
          </a:xfrm>
          <a:prstGeom prst="rect">
            <a:avLst/>
          </a:prstGeom>
          <a:solidFill>
            <a:schemeClr val="accent1"/>
          </a:solidFill>
        </p:spPr>
        <p:txBody>
          <a:bodyPr vert="horz" wrap="square" lIns="90000" tIns="46800" rIns="90000" bIns="46800" rtlCol="0" anchor="ctr" anchorCtr="0">
            <a:noAutofit/>
          </a:bodyPr>
          <a:lstStyle>
            <a:lvl1pPr marL="0" indent="0" algn="l" defTabSz="914400" rtl="0" eaLnBrk="1" latinLnBrk="0" hangingPunct="1">
              <a:lnSpc>
                <a:spcPct val="110000"/>
              </a:lnSpc>
              <a:spcBef>
                <a:spcPts val="1200"/>
              </a:spcBef>
              <a:buFont typeface="Arial" panose="020B0604020202020204" pitchFamily="34" charset="0"/>
              <a:buNone/>
              <a:defRPr sz="1400" kern="1200">
                <a:solidFill>
                  <a:schemeClr val="bg1"/>
                </a:solidFill>
                <a:latin typeface="+mj-lt"/>
                <a:ea typeface="+mn-ea"/>
                <a:cs typeface="+mn-cs"/>
              </a:defRPr>
            </a:lvl1pPr>
            <a:lvl2pPr marL="0" indent="0" algn="l" defTabSz="914400" rtl="0" eaLnBrk="1" latinLnBrk="0" hangingPunct="1">
              <a:lnSpc>
                <a:spcPct val="100000"/>
              </a:lnSpc>
              <a:spcBef>
                <a:spcPts val="300"/>
              </a:spcBef>
              <a:spcAft>
                <a:spcPts val="0"/>
              </a:spcAft>
              <a:buFont typeface="Arial" panose="020B0604020202020204" pitchFamily="34" charset="0"/>
              <a:buNone/>
              <a:defRPr sz="1000" b="0" kern="1200">
                <a:solidFill>
                  <a:schemeClr val="bg1"/>
                </a:solidFill>
                <a:latin typeface="+mn-lt"/>
                <a:ea typeface="+mn-ea"/>
                <a:cs typeface="+mn-cs"/>
              </a:defRPr>
            </a:lvl2pPr>
            <a:lvl3pPr marL="0" indent="0" algn="l" defTabSz="914400" rtl="0" eaLnBrk="1" latinLnBrk="0" hangingPunct="1">
              <a:lnSpc>
                <a:spcPct val="110000"/>
              </a:lnSpc>
              <a:spcBef>
                <a:spcPts val="1200"/>
              </a:spcBef>
              <a:buClr>
                <a:schemeClr val="accent1"/>
              </a:buClr>
              <a:buFont typeface="Arial" panose="020B0604020202020204" pitchFamily="34" charset="0"/>
              <a:buNone/>
              <a:defRPr sz="1400" b="1" kern="1200">
                <a:solidFill>
                  <a:schemeClr val="tx1"/>
                </a:solidFill>
                <a:latin typeface="+mn-lt"/>
                <a:ea typeface="+mn-ea"/>
                <a:cs typeface="+mn-cs"/>
              </a:defRPr>
            </a:lvl3pPr>
            <a:lvl4pPr marL="180000" indent="-1800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600"/>
              </a:spcBef>
              <a:buClr>
                <a:schemeClr val="accent1"/>
              </a:buClr>
              <a:buFont typeface="Symbol" panose="05050102010706020507" pitchFamily="18" charset="2"/>
              <a:buChar char=""/>
              <a:defRPr sz="1400" kern="1200">
                <a:solidFill>
                  <a:schemeClr val="tx1"/>
                </a:solidFill>
                <a:latin typeface="+mn-lt"/>
                <a:ea typeface="+mn-ea"/>
                <a:cs typeface="+mn-cs"/>
              </a:defRPr>
            </a:lvl5pPr>
            <a:lvl6pPr marL="0" indent="0" algn="l" defTabSz="914400" rtl="0" eaLnBrk="1" latinLnBrk="0" hangingPunct="1">
              <a:lnSpc>
                <a:spcPct val="110000"/>
              </a:lnSpc>
              <a:spcBef>
                <a:spcPts val="600"/>
              </a:spcBef>
              <a:spcAft>
                <a:spcPts val="0"/>
              </a:spcAft>
              <a:buFont typeface="Arial" panose="020B0604020202020204" pitchFamily="34" charset="0"/>
              <a:buNone/>
              <a:defRPr sz="800" kern="1200" cap="none" baseline="0">
                <a:solidFill>
                  <a:schemeClr val="tx1"/>
                </a:solidFill>
                <a:latin typeface="+mn-lt"/>
                <a:ea typeface="+mn-ea"/>
                <a:cs typeface="+mn-cs"/>
              </a:defRPr>
            </a:lvl6pPr>
            <a:lvl7pPr marL="0" indent="0" algn="l" defTabSz="914400" rtl="0" eaLnBrk="1" latinLnBrk="0" hangingPunct="1">
              <a:lnSpc>
                <a:spcPct val="110000"/>
              </a:lnSpc>
              <a:spcBef>
                <a:spcPts val="600"/>
              </a:spcBef>
              <a:spcAft>
                <a:spcPts val="600"/>
              </a:spcAft>
              <a:buFont typeface="Arial" panose="020B0604020202020204" pitchFamily="34" charset="0"/>
              <a:buNone/>
              <a:defRPr sz="2000" kern="1200" cap="all" baseline="0">
                <a:solidFill>
                  <a:schemeClr val="accent1"/>
                </a:solidFill>
                <a:latin typeface="+mj-lt"/>
                <a:ea typeface="+mn-ea"/>
                <a:cs typeface="+mn-cs"/>
              </a:defRPr>
            </a:lvl7pPr>
            <a:lvl8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cap="all" baseline="0">
                <a:solidFill>
                  <a:schemeClr val="accent5"/>
                </a:solidFill>
                <a:latin typeface="+mj-lt"/>
                <a:ea typeface="+mn-ea"/>
                <a:cs typeface="+mn-cs"/>
              </a:defRPr>
            </a:lvl8pPr>
            <a:lvl9pPr marL="288000" indent="-288000" algn="l" defTabSz="914400" rtl="0" eaLnBrk="1" latinLnBrk="0" hangingPunct="1">
              <a:lnSpc>
                <a:spcPct val="110000"/>
              </a:lnSpc>
              <a:spcBef>
                <a:spcPts val="600"/>
              </a:spcBef>
              <a:spcAft>
                <a:spcPts val="0"/>
              </a:spcAft>
              <a:buClr>
                <a:schemeClr val="accent1"/>
              </a:buClr>
              <a:buFont typeface="Wingdings 3" panose="05040102010807070707" pitchFamily="18" charset="2"/>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1200"/>
              </a:spcBef>
              <a:spcAft>
                <a:spcPts val="0"/>
              </a:spcAft>
              <a:buClrTx/>
              <a:buSzTx/>
              <a:buFont typeface="Arial" panose="020B0604020202020204" pitchFamily="34" charset="0"/>
              <a:buNone/>
              <a:tabLst/>
              <a:defRPr/>
            </a:pPr>
            <a:r>
              <a:rPr kumimoji="0" lang="de-DE" sz="1400" b="1" i="0" u="none" strike="noStrike" kern="1200" cap="none" spc="0" normalizeH="0" baseline="0" noProof="0" dirty="0">
                <a:ln>
                  <a:noFill/>
                </a:ln>
                <a:solidFill>
                  <a:prstClr val="white"/>
                </a:solidFill>
                <a:effectLst/>
                <a:uLnTx/>
                <a:uFillTx/>
                <a:latin typeface="Arial Black"/>
                <a:ea typeface="+mn-ea"/>
                <a:cs typeface="+mn-cs"/>
              </a:rPr>
              <a:t>Kai </a:t>
            </a:r>
            <a:r>
              <a:rPr kumimoji="0" lang="de-DE" sz="1400" b="1" i="0" u="none" strike="noStrike" kern="1200" cap="none" spc="0" normalizeH="0" baseline="0" noProof="0" dirty="0" err="1">
                <a:ln>
                  <a:noFill/>
                </a:ln>
                <a:solidFill>
                  <a:prstClr val="white"/>
                </a:solidFill>
                <a:effectLst/>
                <a:uLnTx/>
                <a:uFillTx/>
                <a:latin typeface="Arial Black"/>
                <a:ea typeface="+mn-ea"/>
                <a:cs typeface="+mn-cs"/>
              </a:rPr>
              <a:t>Tybussek</a:t>
            </a:r>
            <a:endParaRPr kumimoji="0" lang="de-DE" sz="1400" b="1" i="0" u="none" strike="noStrike" kern="1200" cap="none" spc="0" normalizeH="0" baseline="0" noProof="0" dirty="0">
              <a:ln>
                <a:noFill/>
              </a:ln>
              <a:solidFill>
                <a:prstClr val="white"/>
              </a:solidFill>
              <a:effectLst/>
              <a:uLnTx/>
              <a:uFillTx/>
              <a:latin typeface="Arial Black"/>
              <a:ea typeface="+mn-ea"/>
              <a:cs typeface="+mn-cs"/>
            </a:endParaRP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de-DE" sz="1000" b="0" i="0" u="none" strike="noStrike" kern="1200" cap="none" spc="0" normalizeH="0" baseline="0" noProof="0" dirty="0">
                <a:ln>
                  <a:noFill/>
                </a:ln>
                <a:solidFill>
                  <a:prstClr val="white"/>
                </a:solidFill>
                <a:effectLst/>
                <a:uLnTx/>
                <a:uFillTx/>
                <a:latin typeface="Arial"/>
                <a:ea typeface="+mn-ea"/>
                <a:cs typeface="+mn-cs"/>
              </a:rPr>
              <a:t>Rechtsanwalt</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de-DE" sz="1000" b="0" i="0" u="none" strike="noStrike" kern="1200" cap="none" spc="0" normalizeH="0" baseline="0" noProof="0" dirty="0">
                <a:ln>
                  <a:noFill/>
                </a:ln>
                <a:solidFill>
                  <a:prstClr val="white"/>
                </a:solidFill>
                <a:effectLst/>
                <a:uLnTx/>
                <a:uFillTx/>
                <a:latin typeface="Arial"/>
                <a:ea typeface="+mn-ea"/>
                <a:cs typeface="+mn-cs"/>
              </a:rPr>
              <a:t>Geschäftsführender Partner</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de-DE" sz="1000" b="0" i="0" u="none" strike="noStrike" kern="1200" cap="none" spc="0" normalizeH="0" baseline="0" noProof="0" dirty="0">
                <a:ln>
                  <a:noFill/>
                </a:ln>
                <a:solidFill>
                  <a:prstClr val="white"/>
                </a:solidFill>
                <a:effectLst/>
                <a:uLnTx/>
                <a:uFillTx/>
                <a:latin typeface="Arial"/>
                <a:ea typeface="+mn-ea"/>
                <a:cs typeface="+mn-cs"/>
              </a:rPr>
              <a:t>Rechtsberatung</a:t>
            </a:r>
          </a:p>
        </p:txBody>
      </p:sp>
      <p:pic>
        <p:nvPicPr>
          <p:cNvPr id="12" name="Kontakt_TyK" descr="Ein Bild, das Muster, Quadrat, Symmetrie, Design enthält.&#10;&#10;Automatisch generierte Beschreibung">
            <a:hlinkClick r:id="rId7"/>
            <a:extLst>
              <a:ext uri="{FF2B5EF4-FFF2-40B4-BE49-F238E27FC236}">
                <a16:creationId xmlns:a16="http://schemas.microsoft.com/office/drawing/2014/main" id="{CFB77F1B-16F7-BA6D-9D75-45E21FEA8A95}"/>
              </a:ext>
            </a:extLst>
          </p:cNvPr>
          <p:cNvPicPr>
            <a:picLocks noChangeAspect="1"/>
          </p:cNvPicPr>
          <p:nvPr>
            <p:custDataLst>
              <p:tags r:id="rId4"/>
            </p:custDataLst>
          </p:nvPr>
        </p:nvPicPr>
        <p:blipFill>
          <a:blip r:embed="rId8">
            <a:extLst>
              <a:ext uri="{28A0092B-C50C-407E-A947-70E740481C1C}">
                <a14:useLocalDpi xmlns:a14="http://schemas.microsoft.com/office/drawing/2010/main" val="0"/>
              </a:ext>
            </a:extLst>
          </a:blip>
          <a:stretch>
            <a:fillRect/>
          </a:stretch>
        </p:blipFill>
        <p:spPr>
          <a:xfrm>
            <a:off x="3692920" y="4939938"/>
            <a:ext cx="540000" cy="540000"/>
          </a:xfrm>
          <a:prstGeom prst="rect">
            <a:avLst/>
          </a:prstGeom>
        </p:spPr>
      </p:pic>
      <p:sp>
        <p:nvSpPr>
          <p:cNvPr id="2" name="Foliennummernplatzhalter 1">
            <a:extLst>
              <a:ext uri="{FF2B5EF4-FFF2-40B4-BE49-F238E27FC236}">
                <a16:creationId xmlns:a16="http://schemas.microsoft.com/office/drawing/2014/main" id="{BA1385C0-2568-F0AC-5256-EA35828D856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322A94-3156-491B-AD20-567107C600A1}" type="slidenum">
              <a:rPr kumimoji="0" lang="en-US"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dirty="0">
              <a:ln>
                <a:noFill/>
              </a:ln>
              <a:solidFill>
                <a:srgbClr val="404040">
                  <a:tint val="75000"/>
                </a:srgbClr>
              </a:solidFill>
              <a:effectLst/>
              <a:uLnTx/>
              <a:uFillTx/>
              <a:latin typeface="Arial"/>
              <a:ea typeface="+mn-ea"/>
              <a:cs typeface="+mn-cs"/>
            </a:endParaRPr>
          </a:p>
        </p:txBody>
      </p:sp>
    </p:spTree>
    <p:extLst>
      <p:ext uri="{BB962C8B-B14F-4D97-AF65-F5344CB8AC3E}">
        <p14:creationId xmlns:p14="http://schemas.microsoft.com/office/powerpoint/2010/main" val="3218204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hteck 36">
            <a:extLst>
              <a:ext uri="{FF2B5EF4-FFF2-40B4-BE49-F238E27FC236}">
                <a16:creationId xmlns:a16="http://schemas.microsoft.com/office/drawing/2014/main" id="{7E9BAEAF-95DC-1289-DCEB-A8DF693B27B2}"/>
              </a:ext>
            </a:extLst>
          </p:cNvPr>
          <p:cNvSpPr/>
          <p:nvPr>
            <p:custDataLst>
              <p:tags r:id="rId1"/>
            </p:custDataLst>
          </p:nvPr>
        </p:nvSpPr>
        <p:spPr>
          <a:xfrm>
            <a:off x="337641" y="4215936"/>
            <a:ext cx="9190251" cy="589342"/>
          </a:xfrm>
          <a:prstGeom prst="rect">
            <a:avLst/>
          </a:prstGeom>
          <a:gradFill flip="none" rotWithShape="1">
            <a:gsLst>
              <a:gs pos="0">
                <a:schemeClr val="accent4">
                  <a:alpha val="0"/>
                </a:schemeClr>
              </a:gs>
              <a:gs pos="74000">
                <a:schemeClr val="accent4"/>
              </a:gs>
              <a:gs pos="83000">
                <a:schemeClr val="accent4"/>
              </a:gs>
              <a:gs pos="100000">
                <a:schemeClr val="accent4"/>
              </a:gs>
            </a:gsLst>
            <a:lin ang="10800000" scaled="1"/>
            <a:tileRect/>
          </a:gra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36" name="Rechteck 35">
            <a:extLst>
              <a:ext uri="{FF2B5EF4-FFF2-40B4-BE49-F238E27FC236}">
                <a16:creationId xmlns:a16="http://schemas.microsoft.com/office/drawing/2014/main" id="{D1C43384-9F06-E3C9-9186-3E404ECC00D5}"/>
              </a:ext>
            </a:extLst>
          </p:cNvPr>
          <p:cNvSpPr/>
          <p:nvPr/>
        </p:nvSpPr>
        <p:spPr>
          <a:xfrm>
            <a:off x="334748" y="4927890"/>
            <a:ext cx="9190251" cy="589342"/>
          </a:xfrm>
          <a:prstGeom prst="rect">
            <a:avLst/>
          </a:prstGeom>
          <a:gradFill flip="none" rotWithShape="1">
            <a:gsLst>
              <a:gs pos="0">
                <a:schemeClr val="accent5">
                  <a:alpha val="0"/>
                </a:schemeClr>
              </a:gs>
              <a:gs pos="74000">
                <a:schemeClr val="accent5"/>
              </a:gs>
              <a:gs pos="83000">
                <a:schemeClr val="accent5"/>
              </a:gs>
              <a:gs pos="100000">
                <a:schemeClr val="accent5"/>
              </a:gs>
            </a:gsLst>
            <a:lin ang="10800000" scaled="1"/>
            <a:tileRect/>
          </a:gra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5"/>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35" name="Rechteck 34">
            <a:extLst>
              <a:ext uri="{FF2B5EF4-FFF2-40B4-BE49-F238E27FC236}">
                <a16:creationId xmlns:a16="http://schemas.microsoft.com/office/drawing/2014/main" id="{65718155-730A-E8DF-95EA-9C985D317BD7}"/>
              </a:ext>
            </a:extLst>
          </p:cNvPr>
          <p:cNvSpPr/>
          <p:nvPr/>
        </p:nvSpPr>
        <p:spPr>
          <a:xfrm>
            <a:off x="334748" y="5647970"/>
            <a:ext cx="9190251" cy="589342"/>
          </a:xfrm>
          <a:prstGeom prst="rect">
            <a:avLst/>
          </a:prstGeom>
          <a:gradFill flip="none" rotWithShape="1">
            <a:gsLst>
              <a:gs pos="0">
                <a:schemeClr val="accent5">
                  <a:alpha val="0"/>
                </a:schemeClr>
              </a:gs>
              <a:gs pos="74000">
                <a:schemeClr val="accent5"/>
              </a:gs>
              <a:gs pos="83000">
                <a:schemeClr val="accent5"/>
              </a:gs>
              <a:gs pos="100000">
                <a:schemeClr val="accent5"/>
              </a:gs>
            </a:gsLst>
            <a:lin ang="10800000" scaled="1"/>
            <a:tileRect/>
          </a:gra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5"/>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3" name="Titel 2"/>
          <p:cNvSpPr>
            <a:spLocks noGrp="1"/>
          </p:cNvSpPr>
          <p:nvPr>
            <p:ph type="title"/>
          </p:nvPr>
        </p:nvSpPr>
        <p:spPr/>
        <p:txBody>
          <a:bodyPr/>
          <a:lstStyle/>
          <a:p>
            <a:r>
              <a:rPr lang="de-DE"/>
              <a:t>Das Altenhilfebarometer erhebt die Stimmung der ganzen Branche: Klart der Himmel auf?</a:t>
            </a:r>
          </a:p>
        </p:txBody>
      </p:sp>
      <p:sp>
        <p:nvSpPr>
          <p:cNvPr id="2" name="Foliennummernplatzhalter 1"/>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322A94-3156-491B-AD20-567107C600A1}" type="slidenum">
              <a:rPr kumimoji="0" lang="en-US"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404040">
                  <a:tint val="75000"/>
                </a:srgbClr>
              </a:solidFill>
              <a:effectLst/>
              <a:uLnTx/>
              <a:uFillTx/>
              <a:latin typeface="Arial"/>
              <a:ea typeface="+mn-ea"/>
              <a:cs typeface="+mn-cs"/>
            </a:endParaRPr>
          </a:p>
        </p:txBody>
      </p:sp>
      <p:sp>
        <p:nvSpPr>
          <p:cNvPr id="5" name="Textplatzhalter 4"/>
          <p:cNvSpPr>
            <a:spLocks noGrp="1"/>
          </p:cNvSpPr>
          <p:nvPr>
            <p:ph type="body" sz="quarter" idx="14"/>
          </p:nvPr>
        </p:nvSpPr>
        <p:spPr/>
        <p:txBody>
          <a:bodyPr/>
          <a:lstStyle/>
          <a:p>
            <a:r>
              <a:rPr lang="de-DE"/>
              <a:t>Altenhilfebarometer 2025 | Stimmungsbarometer</a:t>
            </a:r>
          </a:p>
        </p:txBody>
      </p:sp>
      <p:sp>
        <p:nvSpPr>
          <p:cNvPr id="6" name="Rechteck 5"/>
          <p:cNvSpPr/>
          <p:nvPr>
            <p:custDataLst>
              <p:tags r:id="rId2"/>
            </p:custDataLst>
          </p:nvPr>
        </p:nvSpPr>
        <p:spPr>
          <a:xfrm>
            <a:off x="776536" y="2853325"/>
            <a:ext cx="8352928" cy="144016"/>
          </a:xfrm>
          <a:prstGeom prst="rect">
            <a:avLst/>
          </a:prstGeom>
          <a:solidFill>
            <a:srgbClr val="C00000"/>
          </a:solidFill>
          <a:ln w="12700"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7" name="Textfeld 6"/>
          <p:cNvSpPr txBox="1"/>
          <p:nvPr>
            <p:custDataLst>
              <p:tags r:id="rId3"/>
            </p:custDataLst>
          </p:nvPr>
        </p:nvSpPr>
        <p:spPr>
          <a:xfrm>
            <a:off x="4880992" y="3017087"/>
            <a:ext cx="144016"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0</a:t>
            </a:r>
          </a:p>
        </p:txBody>
      </p:sp>
      <p:sp>
        <p:nvSpPr>
          <p:cNvPr id="8" name="Textfeld 7"/>
          <p:cNvSpPr txBox="1"/>
          <p:nvPr>
            <p:custDataLst>
              <p:tags r:id="rId4"/>
            </p:custDataLst>
          </p:nvPr>
        </p:nvSpPr>
        <p:spPr>
          <a:xfrm>
            <a:off x="488504" y="3017087"/>
            <a:ext cx="648072"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100</a:t>
            </a:r>
          </a:p>
        </p:txBody>
      </p:sp>
      <p:sp>
        <p:nvSpPr>
          <p:cNvPr id="9" name="Textfeld 8"/>
          <p:cNvSpPr txBox="1"/>
          <p:nvPr>
            <p:custDataLst>
              <p:tags r:id="rId5"/>
            </p:custDataLst>
          </p:nvPr>
        </p:nvSpPr>
        <p:spPr>
          <a:xfrm>
            <a:off x="8886667" y="3017086"/>
            <a:ext cx="648072"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404040"/>
                </a:solidFill>
                <a:effectLst/>
                <a:uLnTx/>
                <a:uFillTx/>
                <a:latin typeface="Arial"/>
                <a:ea typeface="+mn-ea"/>
                <a:cs typeface="+mn-cs"/>
              </a:rPr>
              <a:t>100</a:t>
            </a:r>
          </a:p>
        </p:txBody>
      </p:sp>
      <p:sp>
        <p:nvSpPr>
          <p:cNvPr id="10" name="Gleichschenkliges Dreieck 9"/>
          <p:cNvSpPr/>
          <p:nvPr>
            <p:custDataLst>
              <p:tags r:id="rId6"/>
            </p:custDataLst>
          </p:nvPr>
        </p:nvSpPr>
        <p:spPr>
          <a:xfrm>
            <a:off x="3080792" y="2565293"/>
            <a:ext cx="288032" cy="432048"/>
          </a:xfrm>
          <a:prstGeom prst="triangle">
            <a:avLst/>
          </a:prstGeom>
          <a:solidFill>
            <a:schemeClr val="tx2"/>
          </a:solidFill>
          <a:ln w="12700"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11" name="Textfeld 10"/>
          <p:cNvSpPr txBox="1"/>
          <p:nvPr>
            <p:custDataLst>
              <p:tags r:id="rId7"/>
            </p:custDataLst>
          </p:nvPr>
        </p:nvSpPr>
        <p:spPr>
          <a:xfrm>
            <a:off x="2864768" y="2074735"/>
            <a:ext cx="720080"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a:ln>
                  <a:noFill/>
                </a:ln>
                <a:solidFill>
                  <a:srgbClr val="C00000"/>
                </a:solidFill>
                <a:effectLst/>
                <a:uLnTx/>
                <a:uFillTx/>
                <a:latin typeface="Arial Black" panose="020B0A04020102020204" pitchFamily="34" charset="0"/>
                <a:ea typeface="+mn-ea"/>
                <a:cs typeface="+mn-cs"/>
              </a:rPr>
              <a:t>-37</a:t>
            </a:r>
          </a:p>
        </p:txBody>
      </p:sp>
      <p:sp>
        <p:nvSpPr>
          <p:cNvPr id="14" name="Rechteck 13">
            <a:extLst>
              <a:ext uri="{FF2B5EF4-FFF2-40B4-BE49-F238E27FC236}">
                <a16:creationId xmlns:a16="http://schemas.microsoft.com/office/drawing/2014/main" id="{8D6C6E03-4CC8-2CF1-9D4A-96369682AE37}"/>
              </a:ext>
            </a:extLst>
          </p:cNvPr>
          <p:cNvSpPr/>
          <p:nvPr>
            <p:custDataLst>
              <p:tags r:id="rId8"/>
            </p:custDataLst>
          </p:nvPr>
        </p:nvSpPr>
        <p:spPr>
          <a:xfrm>
            <a:off x="344488" y="2090181"/>
            <a:ext cx="2736303" cy="40592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5"/>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de-DE" sz="2000" b="0" i="0" u="none" strike="noStrike" kern="1200" cap="none" spc="0" normalizeH="0" baseline="0" noProof="0">
                <a:ln>
                  <a:noFill/>
                </a:ln>
                <a:solidFill>
                  <a:srgbClr val="C72A34"/>
                </a:solidFill>
                <a:effectLst/>
                <a:uLnTx/>
                <a:uFillTx/>
                <a:latin typeface="Arial Black" panose="020B0A04020102020204" pitchFamily="34" charset="0"/>
                <a:ea typeface="+mn-ea"/>
                <a:cs typeface="+mn-cs"/>
              </a:rPr>
              <a:t>2025:</a:t>
            </a:r>
          </a:p>
        </p:txBody>
      </p:sp>
      <p:sp>
        <p:nvSpPr>
          <p:cNvPr id="28" name="Textfeld 27">
            <a:extLst>
              <a:ext uri="{FF2B5EF4-FFF2-40B4-BE49-F238E27FC236}">
                <a16:creationId xmlns:a16="http://schemas.microsoft.com/office/drawing/2014/main" id="{8CCF61E4-5F97-D6D9-882D-2C5679E06FDB}"/>
              </a:ext>
            </a:extLst>
          </p:cNvPr>
          <p:cNvSpPr txBox="1"/>
          <p:nvPr>
            <p:custDataLst>
              <p:tags r:id="rId9"/>
            </p:custDataLst>
          </p:nvPr>
        </p:nvSpPr>
        <p:spPr>
          <a:xfrm>
            <a:off x="8385276" y="4281101"/>
            <a:ext cx="925414"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a:ln>
                  <a:noFill/>
                </a:ln>
                <a:solidFill>
                  <a:srgbClr val="C00000"/>
                </a:solidFill>
                <a:effectLst/>
                <a:uLnTx/>
                <a:uFillTx/>
                <a:latin typeface="Arial Black" panose="020B0A04020102020204" pitchFamily="34" charset="0"/>
                <a:ea typeface="+mn-ea"/>
                <a:cs typeface="+mn-cs"/>
              </a:rPr>
              <a:t>-28</a:t>
            </a:r>
          </a:p>
        </p:txBody>
      </p:sp>
      <p:sp>
        <p:nvSpPr>
          <p:cNvPr id="29" name="Rechteck 28">
            <a:extLst>
              <a:ext uri="{FF2B5EF4-FFF2-40B4-BE49-F238E27FC236}">
                <a16:creationId xmlns:a16="http://schemas.microsoft.com/office/drawing/2014/main" id="{C49F3571-DAA7-24F7-D263-8F5FF8C641C9}"/>
              </a:ext>
            </a:extLst>
          </p:cNvPr>
          <p:cNvSpPr/>
          <p:nvPr>
            <p:custDataLst>
              <p:tags r:id="rId10"/>
            </p:custDataLst>
          </p:nvPr>
        </p:nvSpPr>
        <p:spPr>
          <a:xfrm>
            <a:off x="433864" y="4309178"/>
            <a:ext cx="2736303" cy="40592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5"/>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de-DE" sz="2000" b="0" i="0" u="none" strike="noStrike" kern="1200" cap="none" spc="0" normalizeH="0" baseline="0" noProof="0">
                <a:ln>
                  <a:noFill/>
                </a:ln>
                <a:solidFill>
                  <a:srgbClr val="C72A34"/>
                </a:solidFill>
                <a:effectLst/>
                <a:uLnTx/>
                <a:uFillTx/>
                <a:latin typeface="Arial Black" panose="020B0A04020102020204" pitchFamily="34" charset="0"/>
                <a:ea typeface="+mn-ea"/>
                <a:cs typeface="+mn-cs"/>
              </a:rPr>
              <a:t>2021:</a:t>
            </a:r>
          </a:p>
        </p:txBody>
      </p:sp>
      <p:sp>
        <p:nvSpPr>
          <p:cNvPr id="30" name="Rechteck 29">
            <a:extLst>
              <a:ext uri="{FF2B5EF4-FFF2-40B4-BE49-F238E27FC236}">
                <a16:creationId xmlns:a16="http://schemas.microsoft.com/office/drawing/2014/main" id="{3113DBD2-75BB-8226-9CEC-1977AA60A2BB}"/>
              </a:ext>
            </a:extLst>
          </p:cNvPr>
          <p:cNvSpPr/>
          <p:nvPr>
            <p:custDataLst>
              <p:tags r:id="rId11"/>
            </p:custDataLst>
          </p:nvPr>
        </p:nvSpPr>
        <p:spPr>
          <a:xfrm>
            <a:off x="344488" y="2060848"/>
            <a:ext cx="9216002" cy="1325054"/>
          </a:xfrm>
          <a:prstGeom prst="rect">
            <a:avLst/>
          </a:prstGeom>
          <a:noFill/>
          <a:ln w="285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31" name="Textfeld 30">
            <a:extLst>
              <a:ext uri="{FF2B5EF4-FFF2-40B4-BE49-F238E27FC236}">
                <a16:creationId xmlns:a16="http://schemas.microsoft.com/office/drawing/2014/main" id="{19925B27-FBA0-557A-C0E6-61F55849F045}"/>
              </a:ext>
            </a:extLst>
          </p:cNvPr>
          <p:cNvSpPr txBox="1"/>
          <p:nvPr/>
        </p:nvSpPr>
        <p:spPr>
          <a:xfrm>
            <a:off x="8275362" y="5005916"/>
            <a:ext cx="1139456"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a:ln>
                  <a:noFill/>
                </a:ln>
                <a:solidFill>
                  <a:srgbClr val="929292"/>
                </a:solidFill>
                <a:effectLst/>
                <a:uLnTx/>
                <a:uFillTx/>
                <a:latin typeface="Arial Black" panose="020B0A04020102020204" pitchFamily="34" charset="0"/>
                <a:ea typeface="+mn-ea"/>
                <a:cs typeface="+mn-cs"/>
              </a:rPr>
              <a:t>21</a:t>
            </a:r>
          </a:p>
        </p:txBody>
      </p:sp>
      <p:sp>
        <p:nvSpPr>
          <p:cNvPr id="32" name="Rechteck 31">
            <a:extLst>
              <a:ext uri="{FF2B5EF4-FFF2-40B4-BE49-F238E27FC236}">
                <a16:creationId xmlns:a16="http://schemas.microsoft.com/office/drawing/2014/main" id="{16C750C5-4001-D150-EA2C-CB7C79144856}"/>
              </a:ext>
            </a:extLst>
          </p:cNvPr>
          <p:cNvSpPr/>
          <p:nvPr/>
        </p:nvSpPr>
        <p:spPr>
          <a:xfrm>
            <a:off x="430971" y="5031389"/>
            <a:ext cx="2736303" cy="40592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5"/>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de-DE" sz="2000" b="0" i="0" u="none" strike="noStrike" kern="1200" cap="none" spc="0" normalizeH="0" baseline="0" noProof="0">
                <a:ln>
                  <a:noFill/>
                </a:ln>
                <a:solidFill>
                  <a:srgbClr val="6D6F71"/>
                </a:solidFill>
                <a:effectLst/>
                <a:uLnTx/>
                <a:uFillTx/>
                <a:latin typeface="Arial Black" panose="020B0A04020102020204" pitchFamily="34" charset="0"/>
                <a:ea typeface="+mn-ea"/>
                <a:cs typeface="+mn-cs"/>
              </a:rPr>
              <a:t>2018:</a:t>
            </a:r>
          </a:p>
        </p:txBody>
      </p:sp>
      <p:sp>
        <p:nvSpPr>
          <p:cNvPr id="33" name="Textfeld 32">
            <a:extLst>
              <a:ext uri="{FF2B5EF4-FFF2-40B4-BE49-F238E27FC236}">
                <a16:creationId xmlns:a16="http://schemas.microsoft.com/office/drawing/2014/main" id="{51790342-C4D1-A4ED-A84D-7E6226DBCF2F}"/>
              </a:ext>
            </a:extLst>
          </p:cNvPr>
          <p:cNvSpPr txBox="1"/>
          <p:nvPr/>
        </p:nvSpPr>
        <p:spPr>
          <a:xfrm>
            <a:off x="8485050" y="5720368"/>
            <a:ext cx="720080"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a:ln>
                  <a:noFill/>
                </a:ln>
                <a:solidFill>
                  <a:srgbClr val="929292"/>
                </a:solidFill>
                <a:effectLst/>
                <a:uLnTx/>
                <a:uFillTx/>
                <a:latin typeface="Arial Black" panose="020B0A04020102020204" pitchFamily="34" charset="0"/>
                <a:ea typeface="+mn-ea"/>
                <a:cs typeface="+mn-cs"/>
              </a:rPr>
              <a:t>4</a:t>
            </a:r>
          </a:p>
        </p:txBody>
      </p:sp>
      <p:sp>
        <p:nvSpPr>
          <p:cNvPr id="34" name="Rechteck 33">
            <a:extLst>
              <a:ext uri="{FF2B5EF4-FFF2-40B4-BE49-F238E27FC236}">
                <a16:creationId xmlns:a16="http://schemas.microsoft.com/office/drawing/2014/main" id="{3659CD64-3C3B-D751-A35E-8BECA494BEE7}"/>
              </a:ext>
            </a:extLst>
          </p:cNvPr>
          <p:cNvSpPr/>
          <p:nvPr/>
        </p:nvSpPr>
        <p:spPr>
          <a:xfrm>
            <a:off x="430971" y="5736445"/>
            <a:ext cx="2736303" cy="40592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5"/>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de-DE" sz="2000" b="0" i="0" u="none" strike="noStrike" kern="1200" cap="none" spc="0" normalizeH="0" baseline="0" noProof="0">
                <a:ln>
                  <a:noFill/>
                </a:ln>
                <a:solidFill>
                  <a:srgbClr val="6D6F71"/>
                </a:solidFill>
                <a:effectLst/>
                <a:uLnTx/>
                <a:uFillTx/>
                <a:latin typeface="Arial Black" panose="020B0A04020102020204" pitchFamily="34" charset="0"/>
                <a:ea typeface="+mn-ea"/>
                <a:cs typeface="+mn-cs"/>
              </a:rPr>
              <a:t>2016:</a:t>
            </a:r>
          </a:p>
        </p:txBody>
      </p:sp>
      <p:sp>
        <p:nvSpPr>
          <p:cNvPr id="4" name="Textfeld 3">
            <a:extLst>
              <a:ext uri="{FF2B5EF4-FFF2-40B4-BE49-F238E27FC236}">
                <a16:creationId xmlns:a16="http://schemas.microsoft.com/office/drawing/2014/main" id="{FDD051B6-84B4-F51B-ABB4-0DB84BADAF23}"/>
              </a:ext>
            </a:extLst>
          </p:cNvPr>
          <p:cNvSpPr txBox="1"/>
          <p:nvPr>
            <p:custDataLst>
              <p:tags r:id="rId12"/>
            </p:custDataLst>
          </p:nvPr>
        </p:nvSpPr>
        <p:spPr>
          <a:xfrm>
            <a:off x="344488" y="1484784"/>
            <a:ext cx="921702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C72A34"/>
                </a:solidFill>
                <a:effectLst/>
                <a:uLnTx/>
                <a:uFillTx/>
                <a:latin typeface="Arial Black" panose="020B0A04020102020204" pitchFamily="34" charset="0"/>
                <a:ea typeface="+mn-ea"/>
                <a:cs typeface="+mn-cs"/>
              </a:rPr>
              <a:t>Wie zufrieden sind Sie mit der aktuellen Lage im Altenhilfesektor?</a:t>
            </a:r>
          </a:p>
        </p:txBody>
      </p:sp>
      <p:cxnSp>
        <p:nvCxnSpPr>
          <p:cNvPr id="13" name="Gerader Verbinder 12">
            <a:extLst>
              <a:ext uri="{FF2B5EF4-FFF2-40B4-BE49-F238E27FC236}">
                <a16:creationId xmlns:a16="http://schemas.microsoft.com/office/drawing/2014/main" id="{E0C7B256-FBBE-1CAB-A54B-3534CBA9B8EF}"/>
              </a:ext>
            </a:extLst>
          </p:cNvPr>
          <p:cNvCxnSpPr>
            <a:cxnSpLocks/>
          </p:cNvCxnSpPr>
          <p:nvPr/>
        </p:nvCxnSpPr>
        <p:spPr>
          <a:xfrm rot="5400000">
            <a:off x="4929875" y="-2360973"/>
            <a:ext cx="0" cy="8352929"/>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6" name="Gleichschenkliges Dreieck 15">
            <a:extLst>
              <a:ext uri="{FF2B5EF4-FFF2-40B4-BE49-F238E27FC236}">
                <a16:creationId xmlns:a16="http://schemas.microsoft.com/office/drawing/2014/main" id="{AB7C105F-F3EE-EA00-FEA6-B4648F271E3F}"/>
              </a:ext>
            </a:extLst>
          </p:cNvPr>
          <p:cNvSpPr/>
          <p:nvPr>
            <p:custDataLst>
              <p:tags r:id="rId13"/>
            </p:custDataLst>
          </p:nvPr>
        </p:nvSpPr>
        <p:spPr>
          <a:xfrm rot="10800000">
            <a:off x="4727731" y="1815492"/>
            <a:ext cx="449514" cy="110632"/>
          </a:xfrm>
          <a:prstGeom prst="triangle">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err="1">
              <a:ln>
                <a:noFill/>
              </a:ln>
              <a:solidFill>
                <a:srgbClr val="404040"/>
              </a:solidFill>
              <a:effectLst/>
              <a:uLnTx/>
              <a:uFillTx/>
              <a:latin typeface="Arial"/>
              <a:ea typeface="+mn-ea"/>
              <a:cs typeface="+mn-cs"/>
            </a:endParaRPr>
          </a:p>
        </p:txBody>
      </p:sp>
      <p:sp>
        <p:nvSpPr>
          <p:cNvPr id="17" name="Textfeld 16">
            <a:extLst>
              <a:ext uri="{FF2B5EF4-FFF2-40B4-BE49-F238E27FC236}">
                <a16:creationId xmlns:a16="http://schemas.microsoft.com/office/drawing/2014/main" id="{A43F93DB-9F78-CC64-4DD1-2ED49EB237E2}"/>
              </a:ext>
            </a:extLst>
          </p:cNvPr>
          <p:cNvSpPr txBox="1"/>
          <p:nvPr>
            <p:custDataLst>
              <p:tags r:id="rId14"/>
            </p:custDataLst>
          </p:nvPr>
        </p:nvSpPr>
        <p:spPr>
          <a:xfrm>
            <a:off x="2720752" y="3017086"/>
            <a:ext cx="1080120"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srgbClr val="C72A34"/>
                </a:solidFill>
                <a:effectLst/>
                <a:uLnTx/>
                <a:uFillTx/>
                <a:latin typeface="Arial Black" panose="020B0A04020102020204" pitchFamily="34" charset="0"/>
                <a:ea typeface="+mn-ea"/>
                <a:cs typeface="+mn-cs"/>
              </a:rPr>
              <a:t>Mittelwert</a:t>
            </a:r>
          </a:p>
        </p:txBody>
      </p:sp>
      <p:sp>
        <p:nvSpPr>
          <p:cNvPr id="12" name="Rechteck 11">
            <a:extLst>
              <a:ext uri="{FF2B5EF4-FFF2-40B4-BE49-F238E27FC236}">
                <a16:creationId xmlns:a16="http://schemas.microsoft.com/office/drawing/2014/main" id="{86AD84DE-1DA8-3849-D0A6-93214E6B34AB}"/>
              </a:ext>
            </a:extLst>
          </p:cNvPr>
          <p:cNvSpPr/>
          <p:nvPr>
            <p:custDataLst>
              <p:tags r:id="rId15"/>
            </p:custDataLst>
          </p:nvPr>
        </p:nvSpPr>
        <p:spPr>
          <a:xfrm>
            <a:off x="324212" y="3531655"/>
            <a:ext cx="9190251" cy="589342"/>
          </a:xfrm>
          <a:prstGeom prst="rect">
            <a:avLst/>
          </a:prstGeom>
          <a:gradFill flip="none" rotWithShape="1">
            <a:gsLst>
              <a:gs pos="0">
                <a:schemeClr val="accent4">
                  <a:alpha val="0"/>
                </a:schemeClr>
              </a:gs>
              <a:gs pos="74000">
                <a:schemeClr val="accent4"/>
              </a:gs>
              <a:gs pos="83000">
                <a:schemeClr val="accent4"/>
              </a:gs>
              <a:gs pos="100000">
                <a:schemeClr val="accent4"/>
              </a:gs>
            </a:gsLst>
            <a:lin ang="10800000" scaled="1"/>
            <a:tileRect/>
          </a:gra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18" name="Textfeld 17">
            <a:extLst>
              <a:ext uri="{FF2B5EF4-FFF2-40B4-BE49-F238E27FC236}">
                <a16:creationId xmlns:a16="http://schemas.microsoft.com/office/drawing/2014/main" id="{E5509FDD-3A68-B6BE-B06D-2EE7DBF23EE4}"/>
              </a:ext>
            </a:extLst>
          </p:cNvPr>
          <p:cNvSpPr txBox="1"/>
          <p:nvPr>
            <p:custDataLst>
              <p:tags r:id="rId16"/>
            </p:custDataLst>
          </p:nvPr>
        </p:nvSpPr>
        <p:spPr>
          <a:xfrm>
            <a:off x="8371847" y="3596820"/>
            <a:ext cx="925414"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a:ln>
                  <a:noFill/>
                </a:ln>
                <a:solidFill>
                  <a:srgbClr val="C00000"/>
                </a:solidFill>
                <a:effectLst/>
                <a:uLnTx/>
                <a:uFillTx/>
                <a:latin typeface="Arial Black" panose="020B0A04020102020204" pitchFamily="34" charset="0"/>
                <a:ea typeface="+mn-ea"/>
                <a:cs typeface="+mn-cs"/>
              </a:rPr>
              <a:t>-61</a:t>
            </a:r>
          </a:p>
        </p:txBody>
      </p:sp>
      <p:sp>
        <p:nvSpPr>
          <p:cNvPr id="19" name="Rechteck 18">
            <a:extLst>
              <a:ext uri="{FF2B5EF4-FFF2-40B4-BE49-F238E27FC236}">
                <a16:creationId xmlns:a16="http://schemas.microsoft.com/office/drawing/2014/main" id="{A0B6E340-5C07-322F-887B-3038D72049F5}"/>
              </a:ext>
            </a:extLst>
          </p:cNvPr>
          <p:cNvSpPr/>
          <p:nvPr>
            <p:custDataLst>
              <p:tags r:id="rId17"/>
            </p:custDataLst>
          </p:nvPr>
        </p:nvSpPr>
        <p:spPr>
          <a:xfrm>
            <a:off x="420435" y="3624897"/>
            <a:ext cx="2736303" cy="40592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5"/>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de-DE" sz="2000" b="0" i="0" u="none" strike="noStrike" kern="1200" cap="none" spc="0" normalizeH="0" baseline="0" noProof="0">
                <a:ln>
                  <a:noFill/>
                </a:ln>
                <a:solidFill>
                  <a:srgbClr val="C72A34"/>
                </a:solidFill>
                <a:effectLst/>
                <a:uLnTx/>
                <a:uFillTx/>
                <a:latin typeface="Arial Black" panose="020B0A04020102020204" pitchFamily="34" charset="0"/>
                <a:ea typeface="+mn-ea"/>
                <a:cs typeface="+mn-cs"/>
              </a:rPr>
              <a:t>2023:</a:t>
            </a:r>
          </a:p>
        </p:txBody>
      </p:sp>
      <p:sp>
        <p:nvSpPr>
          <p:cNvPr id="20" name="Fußnote_Quelle">
            <a:extLst>
              <a:ext uri="{FF2B5EF4-FFF2-40B4-BE49-F238E27FC236}">
                <a16:creationId xmlns:a16="http://schemas.microsoft.com/office/drawing/2014/main" id="{47E3B6C0-5D25-E555-0441-9F2741B2D5D5}"/>
              </a:ext>
            </a:extLst>
          </p:cNvPr>
          <p:cNvSpPr txBox="1"/>
          <p:nvPr>
            <p:custDataLst>
              <p:tags r:id="rId18"/>
            </p:custDataLst>
          </p:nvPr>
        </p:nvSpPr>
        <p:spPr bwMode="auto">
          <a:xfrm>
            <a:off x="179502" y="6601706"/>
            <a:ext cx="4772988" cy="288033"/>
          </a:xfrm>
          <a:prstGeom prst="rect">
            <a:avLst/>
          </a:prstGeom>
          <a:noFill/>
          <a:ln w="9525">
            <a:noFill/>
            <a:miter lim="800000"/>
            <a:headEnd/>
            <a:tailEnd/>
          </a:ln>
        </p:spPr>
        <p:txBody>
          <a:bodyPr wrap="square" lIns="90000" tIns="46800" rIns="90000" bIns="46800" anchor="t" anchorCtr="0">
            <a:noAutofit/>
          </a:bodyPr>
          <a:lstStyle/>
          <a:p>
            <a:pPr marL="0" marR="0" lvl="0" indent="0" algn="l" defTabSz="457200" rtl="0" eaLnBrk="0" fontAlgn="auto" latinLnBrk="0" hangingPunct="0">
              <a:lnSpc>
                <a:spcPct val="100000"/>
              </a:lnSpc>
              <a:spcBef>
                <a:spcPts val="0"/>
              </a:spcBef>
              <a:spcAft>
                <a:spcPts val="0"/>
              </a:spcAft>
              <a:buClr>
                <a:srgbClr val="F77878"/>
              </a:buClr>
              <a:buSzTx/>
              <a:buFont typeface="Wingdings" pitchFamily="2" charset="2"/>
              <a:buNone/>
              <a:tabLst/>
              <a:defRPr/>
            </a:pPr>
            <a:r>
              <a:rPr kumimoji="0" lang="de-DE" altLang="ko-KR" sz="800" b="0" i="0" u="none" strike="noStrike" kern="0" cap="none" spc="0" normalizeH="0" baseline="0" noProof="0">
                <a:ln>
                  <a:noFill/>
                </a:ln>
                <a:solidFill>
                  <a:srgbClr val="C5C5C5"/>
                </a:solidFill>
                <a:effectLst/>
                <a:uLnTx/>
                <a:uFillTx/>
                <a:latin typeface="Arial"/>
                <a:ea typeface="+mn-ea"/>
                <a:cs typeface="+mn-cs"/>
              </a:rPr>
              <a:t>Quelle: </a:t>
            </a:r>
            <a:r>
              <a:rPr kumimoji="0" lang="de-DE" altLang="ko-KR" sz="800" b="0" i="0" u="none" strike="noStrike" kern="0" cap="none" spc="0" normalizeH="0" baseline="0" noProof="0" err="1">
                <a:ln>
                  <a:noFill/>
                </a:ln>
                <a:solidFill>
                  <a:srgbClr val="C5C5C5"/>
                </a:solidFill>
                <a:effectLst/>
                <a:uLnTx/>
                <a:uFillTx/>
                <a:latin typeface="Arial"/>
                <a:ea typeface="+mn-ea"/>
                <a:cs typeface="+mn-cs"/>
              </a:rPr>
              <a:t>Curacon</a:t>
            </a:r>
            <a:r>
              <a:rPr kumimoji="0" lang="de-DE" altLang="ko-KR" sz="800" b="0" i="0" u="none" strike="noStrike" kern="0" cap="none" spc="0" normalizeH="0" baseline="0" noProof="0">
                <a:ln>
                  <a:noFill/>
                </a:ln>
                <a:solidFill>
                  <a:srgbClr val="C5C5C5"/>
                </a:solidFill>
                <a:effectLst/>
                <a:uLnTx/>
                <a:uFillTx/>
                <a:latin typeface="Arial"/>
                <a:ea typeface="+mn-ea"/>
                <a:cs typeface="+mn-cs"/>
              </a:rPr>
              <a:t> Research - Ergebnisse der Befragung zum Altenhilfebarometer 2025</a:t>
            </a:r>
          </a:p>
        </p:txBody>
      </p:sp>
      <p:grpSp>
        <p:nvGrpSpPr>
          <p:cNvPr id="21" name="Gruppieren 20">
            <a:extLst>
              <a:ext uri="{FF2B5EF4-FFF2-40B4-BE49-F238E27FC236}">
                <a16:creationId xmlns:a16="http://schemas.microsoft.com/office/drawing/2014/main" id="{3A251D1F-F00B-A4A4-FF74-956CEFE04380}"/>
              </a:ext>
            </a:extLst>
          </p:cNvPr>
          <p:cNvGrpSpPr/>
          <p:nvPr/>
        </p:nvGrpSpPr>
        <p:grpSpPr>
          <a:xfrm>
            <a:off x="8651594" y="1069149"/>
            <a:ext cx="1066654" cy="317034"/>
            <a:chOff x="8651594" y="1069149"/>
            <a:chExt cx="1066654" cy="317034"/>
          </a:xfrm>
        </p:grpSpPr>
        <p:sp>
          <p:nvSpPr>
            <p:cNvPr id="22" name="Textfeld 21">
              <a:extLst>
                <a:ext uri="{FF2B5EF4-FFF2-40B4-BE49-F238E27FC236}">
                  <a16:creationId xmlns:a16="http://schemas.microsoft.com/office/drawing/2014/main" id="{F910C1DF-F820-ADE7-DD0D-CCE7F6A884DA}"/>
                </a:ext>
              </a:extLst>
            </p:cNvPr>
            <p:cNvSpPr txBox="1"/>
            <p:nvPr>
              <p:custDataLst>
                <p:tags r:id="rId19"/>
              </p:custDataLst>
            </p:nvPr>
          </p:nvSpPr>
          <p:spPr>
            <a:xfrm>
              <a:off x="8651594" y="1073777"/>
              <a:ext cx="1054059"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AUSZUG</a:t>
              </a:r>
            </a:p>
          </p:txBody>
        </p:sp>
        <p:cxnSp>
          <p:nvCxnSpPr>
            <p:cNvPr id="23" name="Gerader Verbinder 22">
              <a:extLst>
                <a:ext uri="{FF2B5EF4-FFF2-40B4-BE49-F238E27FC236}">
                  <a16:creationId xmlns:a16="http://schemas.microsoft.com/office/drawing/2014/main" id="{2FE00D0B-D30C-DBAC-FD60-77C567C4508C}"/>
                </a:ext>
              </a:extLst>
            </p:cNvPr>
            <p:cNvCxnSpPr/>
            <p:nvPr/>
          </p:nvCxnSpPr>
          <p:spPr>
            <a:xfrm>
              <a:off x="8668936" y="1069149"/>
              <a:ext cx="103659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9852E46B-9BCF-61E4-9E39-A810FB9CFD76}"/>
                </a:ext>
              </a:extLst>
            </p:cNvPr>
            <p:cNvCxnSpPr/>
            <p:nvPr/>
          </p:nvCxnSpPr>
          <p:spPr>
            <a:xfrm>
              <a:off x="8681656" y="1386183"/>
              <a:ext cx="1036592" cy="0"/>
            </a:xfrm>
            <a:prstGeom prst="line">
              <a:avLst/>
            </a:prstGeom>
            <a:ln w="1905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03808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descr="Blitz eines Gewitters mit einem dunklen, wolkigen Himmel">
            <a:extLst>
              <a:ext uri="{FF2B5EF4-FFF2-40B4-BE49-F238E27FC236}">
                <a16:creationId xmlns:a16="http://schemas.microsoft.com/office/drawing/2014/main" id="{A6BE80A8-6A63-AFD8-EB8E-6BB14149B2FB}"/>
              </a:ext>
            </a:extLst>
          </p:cNvPr>
          <p:cNvPicPr>
            <a:picLocks noChangeAspect="1"/>
          </p:cNvPicPr>
          <p:nvPr/>
        </p:nvPicPr>
        <p:blipFill>
          <a:blip r:embed="rId6">
            <a:extLst>
              <a:ext uri="{28A0092B-C50C-407E-A947-70E740481C1C}">
                <a14:useLocalDpi xmlns:a14="http://schemas.microsoft.com/office/drawing/2010/main" val="0"/>
              </a:ext>
            </a:extLst>
          </a:blip>
          <a:srcRect t="20871" b="6388"/>
          <a:stretch/>
        </p:blipFill>
        <p:spPr>
          <a:xfrm>
            <a:off x="0" y="1505345"/>
            <a:ext cx="9906000" cy="4803973"/>
          </a:xfrm>
          <a:prstGeom prst="rect">
            <a:avLst/>
          </a:prstGeom>
        </p:spPr>
      </p:pic>
      <p:sp>
        <p:nvSpPr>
          <p:cNvPr id="12" name="Rechteck 11">
            <a:extLst>
              <a:ext uri="{FF2B5EF4-FFF2-40B4-BE49-F238E27FC236}">
                <a16:creationId xmlns:a16="http://schemas.microsoft.com/office/drawing/2014/main" id="{159FD0E6-C01B-D265-F862-BB55F1BCA3BF}"/>
              </a:ext>
            </a:extLst>
          </p:cNvPr>
          <p:cNvSpPr/>
          <p:nvPr/>
        </p:nvSpPr>
        <p:spPr>
          <a:xfrm rot="5400000">
            <a:off x="2491168" y="-1105514"/>
            <a:ext cx="4923664" cy="9906003"/>
          </a:xfrm>
          <a:prstGeom prst="rect">
            <a:avLst/>
          </a:prstGeom>
          <a:gradFill flip="none" rotWithShape="1">
            <a:gsLst>
              <a:gs pos="0">
                <a:schemeClr val="accent1">
                  <a:lumMod val="5000"/>
                  <a:lumOff val="95000"/>
                  <a:alpha val="0"/>
                </a:schemeClr>
              </a:gs>
              <a:gs pos="55000">
                <a:schemeClr val="bg1">
                  <a:alpha val="84000"/>
                </a:schemeClr>
              </a:gs>
              <a:gs pos="83000">
                <a:schemeClr val="bg1"/>
              </a:gs>
              <a:gs pos="100000">
                <a:schemeClr val="bg1"/>
              </a:gs>
            </a:gsLst>
            <a:lin ang="0" scaled="1"/>
            <a:tileRect/>
          </a:gra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6" name="Rechteck 5">
            <a:extLst>
              <a:ext uri="{FF2B5EF4-FFF2-40B4-BE49-F238E27FC236}">
                <a16:creationId xmlns:a16="http://schemas.microsoft.com/office/drawing/2014/main" id="{01EF312B-3494-2BD6-289C-952794B45133}"/>
              </a:ext>
            </a:extLst>
          </p:cNvPr>
          <p:cNvSpPr>
            <a:spLocks noGrp="1" noRot="1" noEditPoints="1" noAdjustHandles="1" noChangeArrowheads="1" noChangeShapeType="1"/>
          </p:cNvSpPr>
          <p:nvPr>
            <p:custDataLst>
              <p:tags r:id="rId1"/>
            </p:custDataLst>
          </p:nvPr>
        </p:nvSpPr>
        <p:spPr>
          <a:xfrm>
            <a:off x="381837" y="3502726"/>
            <a:ext cx="9052253" cy="2751750"/>
          </a:xfrm>
          <a:prstGeom prst="rect">
            <a:avLst/>
          </a:prstGeom>
          <a:noFill/>
          <a:ln w="0" cap="flat" cmpd="sng" algn="ctr">
            <a:solidFill>
              <a:prstClr val="black">
                <a:alpha val="0"/>
              </a:prst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4953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Segoe UI Light" panose="020B0502040204020203" pitchFamily="34" charset="0"/>
              </a:rPr>
              <a:t>​</a:t>
            </a:r>
          </a:p>
        </p:txBody>
      </p:sp>
      <p:sp>
        <p:nvSpPr>
          <p:cNvPr id="2" name="Titel 1">
            <a:extLst>
              <a:ext uri="{FF2B5EF4-FFF2-40B4-BE49-F238E27FC236}">
                <a16:creationId xmlns:a16="http://schemas.microsoft.com/office/drawing/2014/main" id="{B8F153FA-E8EB-2F89-0D64-48A56126AB7B}"/>
              </a:ext>
            </a:extLst>
          </p:cNvPr>
          <p:cNvSpPr>
            <a:spLocks noGrp="1"/>
          </p:cNvSpPr>
          <p:nvPr>
            <p:ph type="title"/>
          </p:nvPr>
        </p:nvSpPr>
        <p:spPr/>
        <p:txBody>
          <a:bodyPr/>
          <a:lstStyle/>
          <a:p>
            <a:r>
              <a:rPr lang="de-DE"/>
              <a:t>Für viele der teilnehmenden Einrichtungen ist die wirtschaftliche Situation nach wie vor angespannt.</a:t>
            </a:r>
          </a:p>
        </p:txBody>
      </p:sp>
      <p:sp>
        <p:nvSpPr>
          <p:cNvPr id="3" name="Foliennummernplatzhalter 2">
            <a:extLst>
              <a:ext uri="{FF2B5EF4-FFF2-40B4-BE49-F238E27FC236}">
                <a16:creationId xmlns:a16="http://schemas.microsoft.com/office/drawing/2014/main" id="{F79F2307-6013-195F-A721-2E10DC2CD51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322A94-3156-491B-AD20-567107C600A1}" type="slidenum">
              <a:rPr kumimoji="0" lang="en-US"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404040">
                  <a:tint val="75000"/>
                </a:srgbClr>
              </a:solidFill>
              <a:effectLst/>
              <a:uLnTx/>
              <a:uFillTx/>
              <a:latin typeface="Arial"/>
              <a:ea typeface="+mn-ea"/>
              <a:cs typeface="+mn-cs"/>
            </a:endParaRPr>
          </a:p>
        </p:txBody>
      </p:sp>
      <p:sp>
        <p:nvSpPr>
          <p:cNvPr id="5" name="Textplatzhalter 4">
            <a:extLst>
              <a:ext uri="{FF2B5EF4-FFF2-40B4-BE49-F238E27FC236}">
                <a16:creationId xmlns:a16="http://schemas.microsoft.com/office/drawing/2014/main" id="{6D395669-A5FD-AD51-65F8-27EAB7ACACC4}"/>
              </a:ext>
            </a:extLst>
          </p:cNvPr>
          <p:cNvSpPr>
            <a:spLocks noGrp="1"/>
          </p:cNvSpPr>
          <p:nvPr>
            <p:ph type="body" sz="quarter" idx="14"/>
          </p:nvPr>
        </p:nvSpPr>
        <p:spPr/>
        <p:txBody>
          <a:bodyPr/>
          <a:lstStyle/>
          <a:p>
            <a:r>
              <a:rPr lang="de-DE"/>
              <a:t>Altenhilfebarometer 2025 | Jetzige und zukünftige wirtschaftliche Situation</a:t>
            </a:r>
          </a:p>
        </p:txBody>
      </p:sp>
      <p:graphicFrame>
        <p:nvGraphicFramePr>
          <p:cNvPr id="7" name="Column">
            <a:extLst>
              <a:ext uri="{FF2B5EF4-FFF2-40B4-BE49-F238E27FC236}">
                <a16:creationId xmlns:a16="http://schemas.microsoft.com/office/drawing/2014/main" id="{84F9901F-44A5-7BBE-E4C3-EF0DA978E89B}"/>
              </a:ext>
            </a:extLst>
          </p:cNvPr>
          <p:cNvGraphicFramePr>
            <a:graphicFrameLocks/>
          </p:cNvGraphicFramePr>
          <p:nvPr>
            <p:custDataLst>
              <p:tags r:id="rId2"/>
            </p:custDataLst>
          </p:nvPr>
        </p:nvGraphicFramePr>
        <p:xfrm>
          <a:off x="381837" y="3502726"/>
          <a:ext cx="9052253" cy="2751750"/>
        </p:xfrm>
        <a:graphic>
          <a:graphicData uri="http://schemas.openxmlformats.org/drawingml/2006/chart">
            <c:chart xmlns:c="http://schemas.openxmlformats.org/drawingml/2006/chart" xmlns:r="http://schemas.openxmlformats.org/officeDocument/2006/relationships" r:id="rId7"/>
          </a:graphicData>
        </a:graphic>
      </p:graphicFrame>
      <p:sp>
        <p:nvSpPr>
          <p:cNvPr id="13" name="Fußnote_Quelle">
            <a:extLst>
              <a:ext uri="{FF2B5EF4-FFF2-40B4-BE49-F238E27FC236}">
                <a16:creationId xmlns:a16="http://schemas.microsoft.com/office/drawing/2014/main" id="{4BA914E1-9EA9-21F1-AEDD-9142855329BD}"/>
              </a:ext>
            </a:extLst>
          </p:cNvPr>
          <p:cNvSpPr txBox="1"/>
          <p:nvPr>
            <p:custDataLst>
              <p:tags r:id="rId3"/>
            </p:custDataLst>
          </p:nvPr>
        </p:nvSpPr>
        <p:spPr bwMode="auto">
          <a:xfrm>
            <a:off x="179502" y="6601706"/>
            <a:ext cx="4772988" cy="288033"/>
          </a:xfrm>
          <a:prstGeom prst="rect">
            <a:avLst/>
          </a:prstGeom>
          <a:noFill/>
          <a:ln w="9525">
            <a:noFill/>
            <a:miter lim="800000"/>
            <a:headEnd/>
            <a:tailEnd/>
          </a:ln>
        </p:spPr>
        <p:txBody>
          <a:bodyPr wrap="square" lIns="90000" tIns="46800" rIns="90000" bIns="46800" anchor="t" anchorCtr="0">
            <a:noAutofit/>
          </a:bodyPr>
          <a:lstStyle/>
          <a:p>
            <a:pPr marL="0" marR="0" lvl="0" indent="0" algn="l" defTabSz="457200" rtl="0" eaLnBrk="0" fontAlgn="auto" latinLnBrk="0" hangingPunct="0">
              <a:lnSpc>
                <a:spcPct val="100000"/>
              </a:lnSpc>
              <a:spcBef>
                <a:spcPts val="0"/>
              </a:spcBef>
              <a:spcAft>
                <a:spcPts val="0"/>
              </a:spcAft>
              <a:buClr>
                <a:srgbClr val="F77878"/>
              </a:buClr>
              <a:buSzTx/>
              <a:buFont typeface="Wingdings" pitchFamily="2" charset="2"/>
              <a:buNone/>
              <a:tabLst/>
              <a:defRPr/>
            </a:pPr>
            <a:r>
              <a:rPr kumimoji="0" lang="de-DE" altLang="ko-KR" sz="800" b="0" i="0" u="none" strike="noStrike" kern="0" cap="none" spc="0" normalizeH="0" baseline="0" noProof="0">
                <a:ln>
                  <a:noFill/>
                </a:ln>
                <a:solidFill>
                  <a:srgbClr val="C5C5C5"/>
                </a:solidFill>
                <a:effectLst/>
                <a:uLnTx/>
                <a:uFillTx/>
                <a:latin typeface="Arial"/>
                <a:ea typeface="+mn-ea"/>
                <a:cs typeface="+mn-cs"/>
              </a:rPr>
              <a:t>Quelle: </a:t>
            </a:r>
            <a:r>
              <a:rPr kumimoji="0" lang="de-DE" altLang="ko-KR" sz="800" b="0" i="0" u="none" strike="noStrike" kern="0" cap="none" spc="0" normalizeH="0" baseline="0" noProof="0" err="1">
                <a:ln>
                  <a:noFill/>
                </a:ln>
                <a:solidFill>
                  <a:srgbClr val="C5C5C5"/>
                </a:solidFill>
                <a:effectLst/>
                <a:uLnTx/>
                <a:uFillTx/>
                <a:latin typeface="Arial"/>
                <a:ea typeface="+mn-ea"/>
                <a:cs typeface="+mn-cs"/>
              </a:rPr>
              <a:t>Curacon</a:t>
            </a:r>
            <a:r>
              <a:rPr kumimoji="0" lang="de-DE" altLang="ko-KR" sz="800" b="0" i="0" u="none" strike="noStrike" kern="0" cap="none" spc="0" normalizeH="0" baseline="0" noProof="0">
                <a:ln>
                  <a:noFill/>
                </a:ln>
                <a:solidFill>
                  <a:srgbClr val="C5C5C5"/>
                </a:solidFill>
                <a:effectLst/>
                <a:uLnTx/>
                <a:uFillTx/>
                <a:latin typeface="Arial"/>
                <a:ea typeface="+mn-ea"/>
                <a:cs typeface="+mn-cs"/>
              </a:rPr>
              <a:t> Research - Ergebnisse der Befragung zum Altenhilfebarometer 2025</a:t>
            </a:r>
          </a:p>
        </p:txBody>
      </p:sp>
      <p:sp>
        <p:nvSpPr>
          <p:cNvPr id="14" name="Rechteck 13">
            <a:extLst>
              <a:ext uri="{FF2B5EF4-FFF2-40B4-BE49-F238E27FC236}">
                <a16:creationId xmlns:a16="http://schemas.microsoft.com/office/drawing/2014/main" id="{05FB3239-E9E2-BA64-0BE0-8CF0BD859E1A}"/>
              </a:ext>
            </a:extLst>
          </p:cNvPr>
          <p:cNvSpPr/>
          <p:nvPr/>
        </p:nvSpPr>
        <p:spPr>
          <a:xfrm>
            <a:off x="179502" y="1557338"/>
            <a:ext cx="9454018" cy="841872"/>
          </a:xfrm>
          <a:prstGeom prst="rect">
            <a:avLst/>
          </a:prstGeom>
          <a:solidFill>
            <a:schemeClr val="lt1">
              <a:alpha val="41000"/>
            </a:schemeClr>
          </a:solidFill>
          <a:ln w="19050"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r>
              <a:rPr kumimoji="0" lang="de-DE" sz="1400" b="0" i="0" u="none" strike="noStrike" kern="1200" cap="none" spc="0" normalizeH="0" baseline="0" noProof="0">
                <a:ln>
                  <a:noFill/>
                </a:ln>
                <a:solidFill>
                  <a:srgbClr val="404040"/>
                </a:solidFill>
                <a:effectLst/>
                <a:uLnTx/>
                <a:uFillTx/>
                <a:latin typeface="Arial Black" panose="020B0A04020102020204" pitchFamily="34" charset="0"/>
                <a:ea typeface="+mn-ea"/>
                <a:cs typeface="+mn-cs"/>
              </a:rPr>
              <a:t>Wie würden Sie Ihre derzeitige wirtschaftliche Situation beschreiben?</a:t>
            </a:r>
          </a:p>
        </p:txBody>
      </p:sp>
      <p:grpSp>
        <p:nvGrpSpPr>
          <p:cNvPr id="15" name="Gruppieren 14">
            <a:extLst>
              <a:ext uri="{FF2B5EF4-FFF2-40B4-BE49-F238E27FC236}">
                <a16:creationId xmlns:a16="http://schemas.microsoft.com/office/drawing/2014/main" id="{A0BCF3F8-AA3C-A88C-DD8D-9E65EFFABAC3}"/>
              </a:ext>
            </a:extLst>
          </p:cNvPr>
          <p:cNvGrpSpPr/>
          <p:nvPr/>
        </p:nvGrpSpPr>
        <p:grpSpPr>
          <a:xfrm>
            <a:off x="8651594" y="1069149"/>
            <a:ext cx="1066654" cy="317034"/>
            <a:chOff x="8651594" y="1069149"/>
            <a:chExt cx="1066654" cy="317034"/>
          </a:xfrm>
        </p:grpSpPr>
        <p:sp>
          <p:nvSpPr>
            <p:cNvPr id="16" name="Textfeld 15">
              <a:extLst>
                <a:ext uri="{FF2B5EF4-FFF2-40B4-BE49-F238E27FC236}">
                  <a16:creationId xmlns:a16="http://schemas.microsoft.com/office/drawing/2014/main" id="{E511A0C0-7F56-379B-57DD-0A1A8745DB9A}"/>
                </a:ext>
              </a:extLst>
            </p:cNvPr>
            <p:cNvSpPr txBox="1"/>
            <p:nvPr>
              <p:custDataLst>
                <p:tags r:id="rId4"/>
              </p:custDataLst>
            </p:nvPr>
          </p:nvSpPr>
          <p:spPr>
            <a:xfrm>
              <a:off x="8651594" y="1073777"/>
              <a:ext cx="1054059"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AUSZUG</a:t>
              </a:r>
            </a:p>
          </p:txBody>
        </p:sp>
        <p:cxnSp>
          <p:nvCxnSpPr>
            <p:cNvPr id="17" name="Gerader Verbinder 16">
              <a:extLst>
                <a:ext uri="{FF2B5EF4-FFF2-40B4-BE49-F238E27FC236}">
                  <a16:creationId xmlns:a16="http://schemas.microsoft.com/office/drawing/2014/main" id="{EC671E02-F232-320D-09D1-6DD049D4400F}"/>
                </a:ext>
              </a:extLst>
            </p:cNvPr>
            <p:cNvCxnSpPr/>
            <p:nvPr/>
          </p:nvCxnSpPr>
          <p:spPr>
            <a:xfrm>
              <a:off x="8668936" y="1069149"/>
              <a:ext cx="103659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1B3CEFA3-B9E1-ABFB-48C0-06683BAD6E47}"/>
                </a:ext>
              </a:extLst>
            </p:cNvPr>
            <p:cNvCxnSpPr/>
            <p:nvPr/>
          </p:nvCxnSpPr>
          <p:spPr>
            <a:xfrm>
              <a:off x="8681656" y="1386183"/>
              <a:ext cx="1036592" cy="0"/>
            </a:xfrm>
            <a:prstGeom prst="line">
              <a:avLst/>
            </a:prstGeom>
            <a:ln w="1905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238684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105F97-4CD7-6FC9-223B-AAC22DC138C3}"/>
            </a:ext>
          </a:extLst>
        </p:cNvPr>
        <p:cNvGrpSpPr/>
        <p:nvPr/>
      </p:nvGrpSpPr>
      <p:grpSpPr>
        <a:xfrm>
          <a:off x="0" y="0"/>
          <a:ext cx="0" cy="0"/>
          <a:chOff x="0" y="0"/>
          <a:chExt cx="0" cy="0"/>
        </a:xfrm>
      </p:grpSpPr>
      <p:pic>
        <p:nvPicPr>
          <p:cNvPr id="14" name="Grafik 13" descr="Person, die oben auf einem Berg steht">
            <a:extLst>
              <a:ext uri="{FF2B5EF4-FFF2-40B4-BE49-F238E27FC236}">
                <a16:creationId xmlns:a16="http://schemas.microsoft.com/office/drawing/2014/main" id="{6359C514-36CB-718D-9E9A-CDCC0448B0AA}"/>
              </a:ext>
            </a:extLst>
          </p:cNvPr>
          <p:cNvPicPr>
            <a:picLocks noChangeAspect="1"/>
          </p:cNvPicPr>
          <p:nvPr/>
        </p:nvPicPr>
        <p:blipFill>
          <a:blip r:embed="rId13">
            <a:extLst>
              <a:ext uri="{28A0092B-C50C-407E-A947-70E740481C1C}">
                <a14:useLocalDpi xmlns:a14="http://schemas.microsoft.com/office/drawing/2010/main" val="0"/>
              </a:ext>
            </a:extLst>
          </a:blip>
          <a:srcRect t="26681" r="44185" b="5020"/>
          <a:stretch/>
        </p:blipFill>
        <p:spPr>
          <a:xfrm>
            <a:off x="0" y="2237988"/>
            <a:ext cx="5529064" cy="4165052"/>
          </a:xfrm>
          <a:prstGeom prst="rect">
            <a:avLst/>
          </a:prstGeom>
        </p:spPr>
      </p:pic>
      <p:sp>
        <p:nvSpPr>
          <p:cNvPr id="11" name="Rechteck 10">
            <a:extLst>
              <a:ext uri="{FF2B5EF4-FFF2-40B4-BE49-F238E27FC236}">
                <a16:creationId xmlns:a16="http://schemas.microsoft.com/office/drawing/2014/main" id="{667C728F-2BEB-5F35-C23A-0D17DB86EC3B}"/>
              </a:ext>
            </a:extLst>
          </p:cNvPr>
          <p:cNvSpPr/>
          <p:nvPr/>
        </p:nvSpPr>
        <p:spPr>
          <a:xfrm>
            <a:off x="-5314" y="2237988"/>
            <a:ext cx="5678394" cy="4165052"/>
          </a:xfrm>
          <a:prstGeom prst="rect">
            <a:avLst/>
          </a:prstGeom>
          <a:gradFill flip="none" rotWithShape="1">
            <a:gsLst>
              <a:gs pos="0">
                <a:schemeClr val="accent1">
                  <a:lumMod val="5000"/>
                  <a:lumOff val="95000"/>
                  <a:alpha val="0"/>
                </a:schemeClr>
              </a:gs>
              <a:gs pos="55000">
                <a:schemeClr val="bg1">
                  <a:alpha val="84000"/>
                </a:schemeClr>
              </a:gs>
              <a:gs pos="83000">
                <a:schemeClr val="bg1"/>
              </a:gs>
              <a:gs pos="100000">
                <a:schemeClr val="bg1"/>
              </a:gs>
            </a:gsLst>
            <a:lin ang="0" scaled="1"/>
            <a:tileRect/>
          </a:gra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7" name="Rechteck 6">
            <a:extLst>
              <a:ext uri="{FF2B5EF4-FFF2-40B4-BE49-F238E27FC236}">
                <a16:creationId xmlns:a16="http://schemas.microsoft.com/office/drawing/2014/main" id="{F89D255B-6675-1F23-2461-0B32CF747662}"/>
              </a:ext>
            </a:extLst>
          </p:cNvPr>
          <p:cNvSpPr>
            <a:spLocks noGrp="1" noRot="1" noEditPoints="1" noAdjustHandles="1" noChangeArrowheads="1" noChangeShapeType="1"/>
          </p:cNvSpPr>
          <p:nvPr>
            <p:custDataLst>
              <p:tags r:id="rId2"/>
            </p:custDataLst>
          </p:nvPr>
        </p:nvSpPr>
        <p:spPr>
          <a:xfrm>
            <a:off x="2460720" y="2260618"/>
            <a:ext cx="7126224" cy="4022122"/>
          </a:xfrm>
          <a:prstGeom prst="rect">
            <a:avLst/>
          </a:prstGeom>
          <a:noFill/>
          <a:ln w="0" cap="flat" cmpd="sng" algn="ctr">
            <a:solidFill>
              <a:prstClr val="black">
                <a:alpha val="0"/>
              </a:prst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4953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Segoe UI Light" panose="020B0502040204020203" pitchFamily="34" charset="0"/>
              </a:rPr>
              <a:t>​</a:t>
            </a:r>
          </a:p>
        </p:txBody>
      </p:sp>
      <p:graphicFrame>
        <p:nvGraphicFramePr>
          <p:cNvPr id="6" name="Objekt 5" hidden="1">
            <a:extLst>
              <a:ext uri="{FF2B5EF4-FFF2-40B4-BE49-F238E27FC236}">
                <a16:creationId xmlns:a16="http://schemas.microsoft.com/office/drawing/2014/main" id="{84411C19-53D8-6AD4-EDBD-5FF53C3AB09C}"/>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360" imgH="360" progId="TCLayout.ActiveDocument.1">
                  <p:embed/>
                </p:oleObj>
              </mc:Choice>
              <mc:Fallback>
                <p:oleObj name="think-cell Folie" r:id="rId14" imgW="360" imgH="360" progId="TCLayout.ActiveDocument.1">
                  <p:embed/>
                  <p:pic>
                    <p:nvPicPr>
                      <p:cNvPr id="6" name="Objekt 5" hidden="1">
                        <a:extLst>
                          <a:ext uri="{FF2B5EF4-FFF2-40B4-BE49-F238E27FC236}">
                            <a16:creationId xmlns:a16="http://schemas.microsoft.com/office/drawing/2014/main" id="{84411C19-53D8-6AD4-EDBD-5FF53C3AB09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1602E0AF-4B5A-3DD4-8702-671001C3324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2" name="Titel 1">
            <a:extLst>
              <a:ext uri="{FF2B5EF4-FFF2-40B4-BE49-F238E27FC236}">
                <a16:creationId xmlns:a16="http://schemas.microsoft.com/office/drawing/2014/main" id="{63E6F55C-C64A-C395-9A6F-2A371800DFF0}"/>
              </a:ext>
            </a:extLst>
          </p:cNvPr>
          <p:cNvSpPr>
            <a:spLocks noGrp="1"/>
          </p:cNvSpPr>
          <p:nvPr>
            <p:ph type="title"/>
            <p:custDataLst>
              <p:tags r:id="rId5"/>
            </p:custDataLst>
          </p:nvPr>
        </p:nvSpPr>
        <p:spPr/>
        <p:txBody>
          <a:bodyPr vert="horz"/>
          <a:lstStyle/>
          <a:p>
            <a:r>
              <a:rPr lang="de-DE"/>
              <a:t>Der Fachkräftemangel ist für die Unternehmen die mit Abstand größte Herausforderung.</a:t>
            </a:r>
          </a:p>
        </p:txBody>
      </p:sp>
      <p:sp>
        <p:nvSpPr>
          <p:cNvPr id="12" name="Foliennummernplatzhalter 11">
            <a:extLst>
              <a:ext uri="{FF2B5EF4-FFF2-40B4-BE49-F238E27FC236}">
                <a16:creationId xmlns:a16="http://schemas.microsoft.com/office/drawing/2014/main" id="{8EF383DA-454C-9464-1D27-57EB9F061829}"/>
              </a:ext>
            </a:extLst>
          </p:cNvPr>
          <p:cNvSpPr>
            <a:spLocks noGrp="1"/>
          </p:cNvSpPr>
          <p:nvPr>
            <p:ph type="sldNum" sz="quarter" idx="12"/>
            <p:custDataLst>
              <p:tags r:id="rId6"/>
            </p:custDataLst>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322A94-3156-491B-AD20-567107C600A1}" type="slidenum">
              <a:rPr kumimoji="0" lang="de-DE" sz="800" b="0" i="0" u="none" strike="noStrike" kern="1200" cap="none" spc="0" normalizeH="0" baseline="0" noProof="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800" b="0" i="0" u="none" strike="noStrike" kern="1200" cap="none" spc="0" normalizeH="0" baseline="0" noProof="0">
              <a:ln>
                <a:noFill/>
              </a:ln>
              <a:solidFill>
                <a:srgbClr val="404040">
                  <a:tint val="75000"/>
                </a:srgbClr>
              </a:solidFill>
              <a:effectLst/>
              <a:uLnTx/>
              <a:uFillTx/>
              <a:latin typeface="Arial"/>
              <a:ea typeface="+mn-ea"/>
              <a:cs typeface="+mn-cs"/>
            </a:endParaRPr>
          </a:p>
        </p:txBody>
      </p:sp>
      <p:sp>
        <p:nvSpPr>
          <p:cNvPr id="3" name="Textplatzhalter 2">
            <a:extLst>
              <a:ext uri="{FF2B5EF4-FFF2-40B4-BE49-F238E27FC236}">
                <a16:creationId xmlns:a16="http://schemas.microsoft.com/office/drawing/2014/main" id="{10DF1BE1-DFBD-D058-0D1A-D4C7383CC972}"/>
              </a:ext>
            </a:extLst>
          </p:cNvPr>
          <p:cNvSpPr>
            <a:spLocks noGrp="1"/>
          </p:cNvSpPr>
          <p:nvPr>
            <p:ph type="body" sz="quarter" idx="14"/>
            <p:custDataLst>
              <p:tags r:id="rId7"/>
            </p:custDataLst>
          </p:nvPr>
        </p:nvSpPr>
        <p:spPr/>
        <p:txBody>
          <a:bodyPr/>
          <a:lstStyle/>
          <a:p>
            <a:r>
              <a:rPr lang="de-DE"/>
              <a:t>Altenhilfebarometer 2025 | Jetzige und zukünftige wirtschaftliche Situation</a:t>
            </a:r>
          </a:p>
        </p:txBody>
      </p:sp>
      <p:graphicFrame>
        <p:nvGraphicFramePr>
          <p:cNvPr id="10" name="Bar">
            <a:extLst>
              <a:ext uri="{FF2B5EF4-FFF2-40B4-BE49-F238E27FC236}">
                <a16:creationId xmlns:a16="http://schemas.microsoft.com/office/drawing/2014/main" id="{B15552BC-32F2-B08A-33EF-07BB79C61E95}"/>
              </a:ext>
            </a:extLst>
          </p:cNvPr>
          <p:cNvGraphicFramePr>
            <a:graphicFrameLocks/>
          </p:cNvGraphicFramePr>
          <p:nvPr>
            <p:custDataLst>
              <p:tags r:id="rId8"/>
            </p:custDataLst>
          </p:nvPr>
        </p:nvGraphicFramePr>
        <p:xfrm>
          <a:off x="2460720" y="2260618"/>
          <a:ext cx="7126224" cy="4022122"/>
        </p:xfrm>
        <a:graphic>
          <a:graphicData uri="http://schemas.openxmlformats.org/drawingml/2006/chart">
            <c:chart xmlns:c="http://schemas.openxmlformats.org/drawingml/2006/chart" xmlns:r="http://schemas.openxmlformats.org/officeDocument/2006/relationships" r:id="rId16"/>
          </a:graphicData>
        </a:graphic>
      </p:graphicFrame>
      <p:sp>
        <p:nvSpPr>
          <p:cNvPr id="9" name="Fußnote_Quelle">
            <a:extLst>
              <a:ext uri="{FF2B5EF4-FFF2-40B4-BE49-F238E27FC236}">
                <a16:creationId xmlns:a16="http://schemas.microsoft.com/office/drawing/2014/main" id="{BB420283-8986-3E6E-64D9-D1D672F80D50}"/>
              </a:ext>
            </a:extLst>
          </p:cNvPr>
          <p:cNvSpPr txBox="1"/>
          <p:nvPr>
            <p:custDataLst>
              <p:tags r:id="rId9"/>
            </p:custDataLst>
          </p:nvPr>
        </p:nvSpPr>
        <p:spPr bwMode="auto">
          <a:xfrm>
            <a:off x="179502" y="6601706"/>
            <a:ext cx="4772988" cy="288033"/>
          </a:xfrm>
          <a:prstGeom prst="rect">
            <a:avLst/>
          </a:prstGeom>
          <a:noFill/>
          <a:ln w="9525">
            <a:noFill/>
            <a:miter lim="800000"/>
            <a:headEnd/>
            <a:tailEnd/>
          </a:ln>
        </p:spPr>
        <p:txBody>
          <a:bodyPr wrap="square" lIns="90000" tIns="46800" rIns="90000" bIns="46800" anchor="t" anchorCtr="0">
            <a:noAutofit/>
          </a:bodyPr>
          <a:lstStyle/>
          <a:p>
            <a:pPr marL="0" marR="0" lvl="0" indent="0" algn="l" defTabSz="457200" rtl="0" eaLnBrk="0" fontAlgn="auto" latinLnBrk="0" hangingPunct="0">
              <a:lnSpc>
                <a:spcPct val="100000"/>
              </a:lnSpc>
              <a:spcBef>
                <a:spcPts val="0"/>
              </a:spcBef>
              <a:spcAft>
                <a:spcPts val="0"/>
              </a:spcAft>
              <a:buClr>
                <a:srgbClr val="F77878"/>
              </a:buClr>
              <a:buSzTx/>
              <a:buFont typeface="Wingdings" pitchFamily="2" charset="2"/>
              <a:buNone/>
              <a:tabLst/>
              <a:defRPr/>
            </a:pPr>
            <a:r>
              <a:rPr kumimoji="0" lang="de-DE" altLang="ko-KR" sz="800" b="0" i="0" u="none" strike="noStrike" kern="0" cap="none" spc="0" normalizeH="0" baseline="0" noProof="0">
                <a:ln>
                  <a:noFill/>
                </a:ln>
                <a:solidFill>
                  <a:srgbClr val="C5C5C5"/>
                </a:solidFill>
                <a:effectLst/>
                <a:uLnTx/>
                <a:uFillTx/>
                <a:latin typeface="Arial"/>
                <a:ea typeface="+mn-ea"/>
                <a:cs typeface="+mn-cs"/>
              </a:rPr>
              <a:t>Quelle: </a:t>
            </a:r>
            <a:r>
              <a:rPr kumimoji="0" lang="de-DE" altLang="ko-KR" sz="800" b="0" i="0" u="none" strike="noStrike" kern="0" cap="none" spc="0" normalizeH="0" baseline="0" noProof="0" err="1">
                <a:ln>
                  <a:noFill/>
                </a:ln>
                <a:solidFill>
                  <a:srgbClr val="C5C5C5"/>
                </a:solidFill>
                <a:effectLst/>
                <a:uLnTx/>
                <a:uFillTx/>
                <a:latin typeface="Arial"/>
                <a:ea typeface="+mn-ea"/>
                <a:cs typeface="+mn-cs"/>
              </a:rPr>
              <a:t>Curacon</a:t>
            </a:r>
            <a:r>
              <a:rPr kumimoji="0" lang="de-DE" altLang="ko-KR" sz="800" b="0" i="0" u="none" strike="noStrike" kern="0" cap="none" spc="0" normalizeH="0" baseline="0" noProof="0">
                <a:ln>
                  <a:noFill/>
                </a:ln>
                <a:solidFill>
                  <a:srgbClr val="C5C5C5"/>
                </a:solidFill>
                <a:effectLst/>
                <a:uLnTx/>
                <a:uFillTx/>
                <a:latin typeface="Arial"/>
                <a:ea typeface="+mn-ea"/>
                <a:cs typeface="+mn-cs"/>
              </a:rPr>
              <a:t> Research - Ergebnisse der Befragung zum Altenhilfebarometer 2025</a:t>
            </a:r>
          </a:p>
        </p:txBody>
      </p:sp>
      <p:sp>
        <p:nvSpPr>
          <p:cNvPr id="15" name="Rechteck 14">
            <a:extLst>
              <a:ext uri="{FF2B5EF4-FFF2-40B4-BE49-F238E27FC236}">
                <a16:creationId xmlns:a16="http://schemas.microsoft.com/office/drawing/2014/main" id="{9BE29819-FEF1-7B61-0D78-1737051D486E}"/>
              </a:ext>
            </a:extLst>
          </p:cNvPr>
          <p:cNvSpPr/>
          <p:nvPr/>
        </p:nvSpPr>
        <p:spPr>
          <a:xfrm>
            <a:off x="179502" y="1557338"/>
            <a:ext cx="9454018" cy="582980"/>
          </a:xfrm>
          <a:prstGeom prst="rect">
            <a:avLst/>
          </a:prstGeom>
          <a:solidFill>
            <a:schemeClr val="lt1">
              <a:alpha val="41000"/>
            </a:schemeClr>
          </a:solidFill>
          <a:ln w="19050"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r>
              <a:rPr kumimoji="0" lang="de-DE" sz="1400" b="0" i="0" u="none" strike="noStrike" kern="1200" cap="none" spc="0" normalizeH="0" baseline="0" noProof="0">
                <a:ln>
                  <a:noFill/>
                </a:ln>
                <a:solidFill>
                  <a:srgbClr val="404040"/>
                </a:solidFill>
                <a:effectLst/>
                <a:uLnTx/>
                <a:uFillTx/>
                <a:latin typeface="Arial Black" panose="020B0A04020102020204" pitchFamily="34" charset="0"/>
                <a:ea typeface="+mn-ea"/>
                <a:cs typeface="+mn-cs"/>
              </a:rPr>
              <a:t>Was sind die größten Herausforderungen für Ihr Unternehmen?</a:t>
            </a:r>
          </a:p>
        </p:txBody>
      </p:sp>
      <p:grpSp>
        <p:nvGrpSpPr>
          <p:cNvPr id="16" name="Gruppieren 15">
            <a:extLst>
              <a:ext uri="{FF2B5EF4-FFF2-40B4-BE49-F238E27FC236}">
                <a16:creationId xmlns:a16="http://schemas.microsoft.com/office/drawing/2014/main" id="{9ADB49BE-B3F4-3976-7F55-ECA24664C6D0}"/>
              </a:ext>
            </a:extLst>
          </p:cNvPr>
          <p:cNvGrpSpPr/>
          <p:nvPr/>
        </p:nvGrpSpPr>
        <p:grpSpPr>
          <a:xfrm>
            <a:off x="8651594" y="1069149"/>
            <a:ext cx="1066654" cy="317034"/>
            <a:chOff x="8651594" y="1069149"/>
            <a:chExt cx="1066654" cy="317034"/>
          </a:xfrm>
        </p:grpSpPr>
        <p:sp>
          <p:nvSpPr>
            <p:cNvPr id="17" name="Textfeld 16">
              <a:extLst>
                <a:ext uri="{FF2B5EF4-FFF2-40B4-BE49-F238E27FC236}">
                  <a16:creationId xmlns:a16="http://schemas.microsoft.com/office/drawing/2014/main" id="{6483DB05-A0FF-0B29-9ED6-4CA20F2DA37A}"/>
                </a:ext>
              </a:extLst>
            </p:cNvPr>
            <p:cNvSpPr txBox="1"/>
            <p:nvPr>
              <p:custDataLst>
                <p:tags r:id="rId10"/>
              </p:custDataLst>
            </p:nvPr>
          </p:nvSpPr>
          <p:spPr>
            <a:xfrm>
              <a:off x="8651594" y="1073777"/>
              <a:ext cx="1054059"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AUSZUG</a:t>
              </a:r>
            </a:p>
          </p:txBody>
        </p:sp>
        <p:cxnSp>
          <p:nvCxnSpPr>
            <p:cNvPr id="18" name="Gerader Verbinder 17">
              <a:extLst>
                <a:ext uri="{FF2B5EF4-FFF2-40B4-BE49-F238E27FC236}">
                  <a16:creationId xmlns:a16="http://schemas.microsoft.com/office/drawing/2014/main" id="{E652C748-A97F-5E26-53D4-39748850DA21}"/>
                </a:ext>
              </a:extLst>
            </p:cNvPr>
            <p:cNvCxnSpPr/>
            <p:nvPr/>
          </p:nvCxnSpPr>
          <p:spPr>
            <a:xfrm>
              <a:off x="8668936" y="1069149"/>
              <a:ext cx="103659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AB8E3477-47FB-FFAE-F334-D248560E9606}"/>
                </a:ext>
              </a:extLst>
            </p:cNvPr>
            <p:cNvCxnSpPr/>
            <p:nvPr/>
          </p:nvCxnSpPr>
          <p:spPr>
            <a:xfrm>
              <a:off x="8681656" y="1386183"/>
              <a:ext cx="1036592" cy="0"/>
            </a:xfrm>
            <a:prstGeom prst="line">
              <a:avLst/>
            </a:prstGeom>
            <a:ln w="19050"/>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804763050"/>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BC649689-E552-6B03-A3DF-F0DA9E531397}"/>
              </a:ext>
            </a:extLst>
          </p:cNvPr>
          <p:cNvSpPr>
            <a:spLocks noGrp="1" noRot="1" noEditPoints="1" noAdjustHandles="1" noChangeArrowheads="1" noChangeShapeType="1"/>
          </p:cNvSpPr>
          <p:nvPr>
            <p:custDataLst>
              <p:tags r:id="rId1"/>
            </p:custDataLst>
          </p:nvPr>
        </p:nvSpPr>
        <p:spPr>
          <a:xfrm>
            <a:off x="795786" y="2765022"/>
            <a:ext cx="3410685" cy="297177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sp>
        <p:nvSpPr>
          <p:cNvPr id="21" name="Rechteck 20">
            <a:extLst>
              <a:ext uri="{FF2B5EF4-FFF2-40B4-BE49-F238E27FC236}">
                <a16:creationId xmlns:a16="http://schemas.microsoft.com/office/drawing/2014/main" id="{9F2B4508-C607-BB81-855C-855B3B677E2A}"/>
              </a:ext>
            </a:extLst>
          </p:cNvPr>
          <p:cNvSpPr>
            <a:spLocks noGrp="1" noRot="1" noEditPoints="1" noAdjustHandles="1" noChangeArrowheads="1" noChangeShapeType="1"/>
          </p:cNvSpPr>
          <p:nvPr>
            <p:custDataLst>
              <p:tags r:id="rId2"/>
            </p:custDataLst>
          </p:nvPr>
        </p:nvSpPr>
        <p:spPr>
          <a:xfrm>
            <a:off x="1070104" y="2609575"/>
            <a:ext cx="2935200" cy="1453884"/>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sp>
        <p:nvSpPr>
          <p:cNvPr id="19" name="Rechteck 18">
            <a:extLst>
              <a:ext uri="{FF2B5EF4-FFF2-40B4-BE49-F238E27FC236}">
                <a16:creationId xmlns:a16="http://schemas.microsoft.com/office/drawing/2014/main" id="{F8848615-0E07-269E-6D71-526BF5EDB33D}"/>
              </a:ext>
            </a:extLst>
          </p:cNvPr>
          <p:cNvSpPr>
            <a:spLocks noGrp="1" noRot="1" noEditPoints="1" noAdjustHandles="1" noChangeArrowheads="1" noChangeShapeType="1"/>
          </p:cNvSpPr>
          <p:nvPr>
            <p:custDataLst>
              <p:tags r:id="rId3"/>
            </p:custDataLst>
          </p:nvPr>
        </p:nvSpPr>
        <p:spPr>
          <a:xfrm>
            <a:off x="5132066" y="3896822"/>
            <a:ext cx="4459372" cy="1819650"/>
          </a:xfrm>
          <a:prstGeom prst="rect">
            <a:avLst/>
          </a:prstGeom>
          <a:noFill/>
          <a:ln w="0" cap="flat" cmpd="sng" algn="ctr">
            <a:solidFill>
              <a:prstClr val="black">
                <a:alpha val="0"/>
              </a:prst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4953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Segoe UI Light" panose="020B0502040204020203" pitchFamily="34" charset="0"/>
              </a:rPr>
              <a:t>​</a:t>
            </a:r>
          </a:p>
        </p:txBody>
      </p:sp>
      <p:sp>
        <p:nvSpPr>
          <p:cNvPr id="17" name="Rechteck 16">
            <a:extLst>
              <a:ext uri="{FF2B5EF4-FFF2-40B4-BE49-F238E27FC236}">
                <a16:creationId xmlns:a16="http://schemas.microsoft.com/office/drawing/2014/main" id="{3A0B0D0B-0C8B-DBE1-C784-80A1956DFFE4}"/>
              </a:ext>
            </a:extLst>
          </p:cNvPr>
          <p:cNvSpPr>
            <a:spLocks noGrp="1" noRot="1" noEditPoints="1" noAdjustHandles="1" noChangeArrowheads="1" noChangeShapeType="1"/>
          </p:cNvSpPr>
          <p:nvPr>
            <p:custDataLst>
              <p:tags r:id="rId4"/>
            </p:custDataLst>
          </p:nvPr>
        </p:nvSpPr>
        <p:spPr>
          <a:xfrm>
            <a:off x="357061" y="2729294"/>
            <a:ext cx="4459372" cy="3254254"/>
          </a:xfrm>
          <a:prstGeom prst="rect">
            <a:avLst/>
          </a:prstGeom>
          <a:noFill/>
          <a:ln w="0" cap="flat" cmpd="sng" algn="ctr">
            <a:solidFill>
              <a:prstClr val="black">
                <a:alpha val="0"/>
              </a:prst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4953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Segoe UI Light" panose="020B0502040204020203" pitchFamily="34" charset="0"/>
              </a:rPr>
              <a:t>​</a:t>
            </a:r>
          </a:p>
        </p:txBody>
      </p:sp>
      <p:pic>
        <p:nvPicPr>
          <p:cNvPr id="10" name="Grafik 9" descr="Einer in der Menge">
            <a:extLst>
              <a:ext uri="{FF2B5EF4-FFF2-40B4-BE49-F238E27FC236}">
                <a16:creationId xmlns:a16="http://schemas.microsoft.com/office/drawing/2014/main" id="{2D9FE9A2-830F-0727-DCD2-F7E65A840DBA}"/>
              </a:ext>
            </a:extLst>
          </p:cNvPr>
          <p:cNvPicPr>
            <a:picLocks noChangeAspect="1"/>
          </p:cNvPicPr>
          <p:nvPr/>
        </p:nvPicPr>
        <p:blipFill rotWithShape="1">
          <a:blip r:embed="rId10">
            <a:extLst>
              <a:ext uri="{28A0092B-C50C-407E-A947-70E740481C1C}">
                <a14:useLocalDpi xmlns:a14="http://schemas.microsoft.com/office/drawing/2010/main" val="0"/>
              </a:ext>
            </a:extLst>
          </a:blip>
          <a:srcRect r="58195"/>
          <a:stretch/>
        </p:blipFill>
        <p:spPr>
          <a:xfrm>
            <a:off x="-15552" y="1557338"/>
            <a:ext cx="2648745" cy="4751981"/>
          </a:xfrm>
          <a:prstGeom prst="rect">
            <a:avLst/>
          </a:prstGeom>
        </p:spPr>
      </p:pic>
      <p:sp>
        <p:nvSpPr>
          <p:cNvPr id="13" name="Rechteck 12">
            <a:extLst>
              <a:ext uri="{FF2B5EF4-FFF2-40B4-BE49-F238E27FC236}">
                <a16:creationId xmlns:a16="http://schemas.microsoft.com/office/drawing/2014/main" id="{B499B494-8DE1-E71E-7F18-7E93D31F11EC}"/>
              </a:ext>
            </a:extLst>
          </p:cNvPr>
          <p:cNvSpPr/>
          <p:nvPr/>
        </p:nvSpPr>
        <p:spPr>
          <a:xfrm>
            <a:off x="-5314" y="1506496"/>
            <a:ext cx="3014098" cy="4802823"/>
          </a:xfrm>
          <a:prstGeom prst="rect">
            <a:avLst/>
          </a:prstGeom>
          <a:gradFill flip="none" rotWithShape="1">
            <a:gsLst>
              <a:gs pos="0">
                <a:schemeClr val="accent1">
                  <a:lumMod val="5000"/>
                  <a:lumOff val="95000"/>
                  <a:alpha val="0"/>
                </a:schemeClr>
              </a:gs>
              <a:gs pos="55000">
                <a:schemeClr val="bg1">
                  <a:alpha val="84000"/>
                </a:schemeClr>
              </a:gs>
              <a:gs pos="83000">
                <a:schemeClr val="bg1"/>
              </a:gs>
              <a:gs pos="100000">
                <a:schemeClr val="bg1"/>
              </a:gs>
            </a:gsLst>
            <a:lin ang="0" scaled="1"/>
            <a:tileRect/>
          </a:gra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2" name="Foliennummernplatzhalter 1"/>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322A94-3156-491B-AD20-567107C600A1}" type="slidenum">
              <a:rPr kumimoji="0" lang="en-US"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404040">
                  <a:tint val="75000"/>
                </a:srgbClr>
              </a:solidFill>
              <a:effectLst/>
              <a:uLnTx/>
              <a:uFillTx/>
              <a:latin typeface="Arial"/>
              <a:ea typeface="+mn-ea"/>
              <a:cs typeface="+mn-cs"/>
            </a:endParaRPr>
          </a:p>
        </p:txBody>
      </p:sp>
      <p:sp>
        <p:nvSpPr>
          <p:cNvPr id="3" name="Titel 2"/>
          <p:cNvSpPr>
            <a:spLocks noGrp="1"/>
          </p:cNvSpPr>
          <p:nvPr>
            <p:ph type="title"/>
          </p:nvPr>
        </p:nvSpPr>
        <p:spPr/>
        <p:txBody>
          <a:bodyPr/>
          <a:lstStyle/>
          <a:p>
            <a:r>
              <a:rPr lang="de-DE"/>
              <a:t>Ist das neue Personalbemessungsverfahren doch besser als ursprünglich erwartet?</a:t>
            </a:r>
          </a:p>
        </p:txBody>
      </p:sp>
      <p:sp>
        <p:nvSpPr>
          <p:cNvPr id="4" name="Textplatzhalter 3"/>
          <p:cNvSpPr>
            <a:spLocks noGrp="1"/>
          </p:cNvSpPr>
          <p:nvPr>
            <p:ph type="body" sz="quarter" idx="13"/>
          </p:nvPr>
        </p:nvSpPr>
        <p:spPr/>
        <p:txBody>
          <a:bodyPr/>
          <a:lstStyle/>
          <a:p>
            <a:r>
              <a:rPr lang="de-DE"/>
              <a:t>Altenhilfebarometer 2025 | Personalbemessungsverfahren</a:t>
            </a:r>
          </a:p>
        </p:txBody>
      </p:sp>
      <p:sp>
        <p:nvSpPr>
          <p:cNvPr id="5" name="Rechteck 4">
            <a:extLst>
              <a:ext uri="{FF2B5EF4-FFF2-40B4-BE49-F238E27FC236}">
                <a16:creationId xmlns:a16="http://schemas.microsoft.com/office/drawing/2014/main" id="{39E6FAF9-7272-B31B-F904-9B30DEA45C3B}"/>
              </a:ext>
            </a:extLst>
          </p:cNvPr>
          <p:cNvSpPr/>
          <p:nvPr/>
        </p:nvSpPr>
        <p:spPr>
          <a:xfrm>
            <a:off x="365355" y="1557338"/>
            <a:ext cx="4443630" cy="841872"/>
          </a:xfrm>
          <a:prstGeom prst="rect">
            <a:avLst/>
          </a:prstGeom>
          <a:solidFill>
            <a:schemeClr val="lt1">
              <a:alpha val="41000"/>
            </a:schemeClr>
          </a:solidFill>
          <a:ln w="19050"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r>
              <a:rPr kumimoji="0" lang="de-DE" sz="1400" b="0" i="0" u="none" strike="noStrike" kern="1200" cap="none" spc="0" normalizeH="0" baseline="0" noProof="0">
                <a:ln>
                  <a:noFill/>
                </a:ln>
                <a:solidFill>
                  <a:srgbClr val="404040"/>
                </a:solidFill>
                <a:effectLst/>
                <a:uLnTx/>
                <a:uFillTx/>
                <a:latin typeface="Arial Black" panose="020B0A04020102020204" pitchFamily="34" charset="0"/>
                <a:ea typeface="+mn-ea"/>
                <a:cs typeface="+mn-cs"/>
              </a:rPr>
              <a:t>Werden mit dem neuen PeBeM qualitative und quantitative Anforderungen in der stationären Pflege verbessert?</a:t>
            </a:r>
          </a:p>
        </p:txBody>
      </p:sp>
      <p:sp>
        <p:nvSpPr>
          <p:cNvPr id="14" name="Rechteck 13">
            <a:extLst>
              <a:ext uri="{FF2B5EF4-FFF2-40B4-BE49-F238E27FC236}">
                <a16:creationId xmlns:a16="http://schemas.microsoft.com/office/drawing/2014/main" id="{6A30D186-6BC6-1578-EE01-29744AA0E162}"/>
              </a:ext>
            </a:extLst>
          </p:cNvPr>
          <p:cNvSpPr/>
          <p:nvPr/>
        </p:nvSpPr>
        <p:spPr>
          <a:xfrm>
            <a:off x="5115687" y="1557338"/>
            <a:ext cx="4443630" cy="841872"/>
          </a:xfrm>
          <a:prstGeom prst="rect">
            <a:avLst/>
          </a:prstGeom>
          <a:solidFill>
            <a:schemeClr val="lt1">
              <a:alpha val="41000"/>
            </a:schemeClr>
          </a:solidFill>
          <a:ln w="19050"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r>
              <a:rPr kumimoji="0" lang="de-DE" sz="1400" b="0" i="0" u="none" strike="noStrike" kern="1200" cap="none" spc="0" normalizeH="0" baseline="0" noProof="0">
                <a:ln>
                  <a:noFill/>
                </a:ln>
                <a:solidFill>
                  <a:srgbClr val="404040"/>
                </a:solidFill>
                <a:effectLst/>
                <a:uLnTx/>
                <a:uFillTx/>
                <a:latin typeface="Arial Black" panose="020B0A04020102020204" pitchFamily="34" charset="0"/>
                <a:ea typeface="+mn-ea"/>
                <a:cs typeface="+mn-cs"/>
              </a:rPr>
              <a:t>Sollte das </a:t>
            </a:r>
            <a:r>
              <a:rPr kumimoji="0" lang="de-DE" sz="1400" b="0" i="0" u="none" strike="noStrike" kern="1200" cap="none" spc="0" normalizeH="0" baseline="0" noProof="0" err="1">
                <a:ln>
                  <a:noFill/>
                </a:ln>
                <a:solidFill>
                  <a:srgbClr val="404040"/>
                </a:solidFill>
                <a:effectLst/>
                <a:uLnTx/>
                <a:uFillTx/>
                <a:latin typeface="Arial Black" panose="020B0A04020102020204" pitchFamily="34" charset="0"/>
                <a:ea typeface="+mn-ea"/>
                <a:cs typeface="+mn-cs"/>
              </a:rPr>
              <a:t>PeBeM</a:t>
            </a:r>
            <a:r>
              <a:rPr kumimoji="0" lang="de-DE" sz="1400" b="0" i="0" u="none" strike="noStrike" kern="1200" cap="none" spc="0" normalizeH="0" baseline="0" noProof="0">
                <a:ln>
                  <a:noFill/>
                </a:ln>
                <a:solidFill>
                  <a:srgbClr val="404040"/>
                </a:solidFill>
                <a:effectLst/>
                <a:uLnTx/>
                <a:uFillTx/>
                <a:latin typeface="Arial Black" panose="020B0A04020102020204" pitchFamily="34" charset="0"/>
                <a:ea typeface="+mn-ea"/>
                <a:cs typeface="+mn-cs"/>
              </a:rPr>
              <a:t> aus Ihrer Sicht weiter verfolgt werden?</a:t>
            </a:r>
          </a:p>
        </p:txBody>
      </p:sp>
      <p:graphicFrame>
        <p:nvGraphicFramePr>
          <p:cNvPr id="6" name="Clustered Columns">
            <a:extLst>
              <a:ext uri="{FF2B5EF4-FFF2-40B4-BE49-F238E27FC236}">
                <a16:creationId xmlns:a16="http://schemas.microsoft.com/office/drawing/2014/main" id="{B4BC4FB4-2326-6E4C-25EF-8C912C06BBE9}"/>
              </a:ext>
            </a:extLst>
          </p:cNvPr>
          <p:cNvGraphicFramePr>
            <a:graphicFrameLocks/>
          </p:cNvGraphicFramePr>
          <p:nvPr>
            <p:custDataLst>
              <p:tags r:id="rId5"/>
            </p:custDataLst>
          </p:nvPr>
        </p:nvGraphicFramePr>
        <p:xfrm>
          <a:off x="357061" y="2729294"/>
          <a:ext cx="4459372" cy="325425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7" name="Clustered Columns">
            <a:extLst>
              <a:ext uri="{FF2B5EF4-FFF2-40B4-BE49-F238E27FC236}">
                <a16:creationId xmlns:a16="http://schemas.microsoft.com/office/drawing/2014/main" id="{3B1FF7FB-CAAF-3391-DB6A-704C7ED3F13F}"/>
              </a:ext>
            </a:extLst>
          </p:cNvPr>
          <p:cNvGraphicFramePr>
            <a:graphicFrameLocks/>
          </p:cNvGraphicFramePr>
          <p:nvPr>
            <p:custDataLst>
              <p:tags r:id="rId6"/>
            </p:custDataLst>
          </p:nvPr>
        </p:nvGraphicFramePr>
        <p:xfrm>
          <a:off x="5132066" y="3896822"/>
          <a:ext cx="4459372" cy="1819650"/>
        </p:xfrm>
        <a:graphic>
          <a:graphicData uri="http://schemas.openxmlformats.org/drawingml/2006/chart">
            <c:chart xmlns:c="http://schemas.openxmlformats.org/drawingml/2006/chart" xmlns:r="http://schemas.openxmlformats.org/officeDocument/2006/relationships" r:id="rId12"/>
          </a:graphicData>
        </a:graphic>
      </p:graphicFrame>
      <p:sp>
        <p:nvSpPr>
          <p:cNvPr id="9" name="Fußnote_Quelle">
            <a:extLst>
              <a:ext uri="{FF2B5EF4-FFF2-40B4-BE49-F238E27FC236}">
                <a16:creationId xmlns:a16="http://schemas.microsoft.com/office/drawing/2014/main" id="{E4F6B2BE-2E12-6390-734B-662E948E7EEB}"/>
              </a:ext>
            </a:extLst>
          </p:cNvPr>
          <p:cNvSpPr txBox="1"/>
          <p:nvPr>
            <p:custDataLst>
              <p:tags r:id="rId7"/>
            </p:custDataLst>
          </p:nvPr>
        </p:nvSpPr>
        <p:spPr bwMode="auto">
          <a:xfrm>
            <a:off x="179502" y="6601706"/>
            <a:ext cx="4772988" cy="288033"/>
          </a:xfrm>
          <a:prstGeom prst="rect">
            <a:avLst/>
          </a:prstGeom>
          <a:noFill/>
          <a:ln w="9525">
            <a:noFill/>
            <a:miter lim="800000"/>
            <a:headEnd/>
            <a:tailEnd/>
          </a:ln>
        </p:spPr>
        <p:txBody>
          <a:bodyPr wrap="square" lIns="90000" tIns="46800" rIns="90000" bIns="46800" anchor="t" anchorCtr="0">
            <a:noAutofit/>
          </a:bodyPr>
          <a:lstStyle/>
          <a:p>
            <a:pPr marL="0" marR="0" lvl="0" indent="0" algn="l" defTabSz="457200" rtl="0" eaLnBrk="0" fontAlgn="auto" latinLnBrk="0" hangingPunct="0">
              <a:lnSpc>
                <a:spcPct val="100000"/>
              </a:lnSpc>
              <a:spcBef>
                <a:spcPts val="0"/>
              </a:spcBef>
              <a:spcAft>
                <a:spcPts val="0"/>
              </a:spcAft>
              <a:buClr>
                <a:srgbClr val="F77878"/>
              </a:buClr>
              <a:buSzTx/>
              <a:buFont typeface="Wingdings" pitchFamily="2" charset="2"/>
              <a:buNone/>
              <a:tabLst/>
              <a:defRPr/>
            </a:pPr>
            <a:r>
              <a:rPr kumimoji="0" lang="de-DE" altLang="ko-KR" sz="800" b="0" i="0" u="none" strike="noStrike" kern="0" cap="none" spc="0" normalizeH="0" baseline="0" noProof="0">
                <a:ln>
                  <a:noFill/>
                </a:ln>
                <a:solidFill>
                  <a:srgbClr val="C5C5C5"/>
                </a:solidFill>
                <a:effectLst/>
                <a:uLnTx/>
                <a:uFillTx/>
                <a:latin typeface="Arial"/>
                <a:ea typeface="+mn-ea"/>
                <a:cs typeface="+mn-cs"/>
              </a:rPr>
              <a:t>Quelle: </a:t>
            </a:r>
            <a:r>
              <a:rPr kumimoji="0" lang="de-DE" altLang="ko-KR" sz="800" b="0" i="0" u="none" strike="noStrike" kern="0" cap="none" spc="0" normalizeH="0" baseline="0" noProof="0" err="1">
                <a:ln>
                  <a:noFill/>
                </a:ln>
                <a:solidFill>
                  <a:srgbClr val="C5C5C5"/>
                </a:solidFill>
                <a:effectLst/>
                <a:uLnTx/>
                <a:uFillTx/>
                <a:latin typeface="Arial"/>
                <a:ea typeface="+mn-ea"/>
                <a:cs typeface="+mn-cs"/>
              </a:rPr>
              <a:t>Curacon</a:t>
            </a:r>
            <a:r>
              <a:rPr kumimoji="0" lang="de-DE" altLang="ko-KR" sz="800" b="0" i="0" u="none" strike="noStrike" kern="0" cap="none" spc="0" normalizeH="0" baseline="0" noProof="0">
                <a:ln>
                  <a:noFill/>
                </a:ln>
                <a:solidFill>
                  <a:srgbClr val="C5C5C5"/>
                </a:solidFill>
                <a:effectLst/>
                <a:uLnTx/>
                <a:uFillTx/>
                <a:latin typeface="Arial"/>
                <a:ea typeface="+mn-ea"/>
                <a:cs typeface="+mn-cs"/>
              </a:rPr>
              <a:t> Research - Ergebnisse der Befragung zum Altenhilfebarometer 2025</a:t>
            </a:r>
          </a:p>
        </p:txBody>
      </p:sp>
      <p:grpSp>
        <p:nvGrpSpPr>
          <p:cNvPr id="11" name="Gruppieren 10">
            <a:extLst>
              <a:ext uri="{FF2B5EF4-FFF2-40B4-BE49-F238E27FC236}">
                <a16:creationId xmlns:a16="http://schemas.microsoft.com/office/drawing/2014/main" id="{69190EE0-7228-3341-A3D6-4F5DA5818481}"/>
              </a:ext>
            </a:extLst>
          </p:cNvPr>
          <p:cNvGrpSpPr/>
          <p:nvPr/>
        </p:nvGrpSpPr>
        <p:grpSpPr>
          <a:xfrm>
            <a:off x="8651594" y="1069149"/>
            <a:ext cx="1066654" cy="317034"/>
            <a:chOff x="8651594" y="1069149"/>
            <a:chExt cx="1066654" cy="317034"/>
          </a:xfrm>
        </p:grpSpPr>
        <p:sp>
          <p:nvSpPr>
            <p:cNvPr id="12" name="Textfeld 11">
              <a:extLst>
                <a:ext uri="{FF2B5EF4-FFF2-40B4-BE49-F238E27FC236}">
                  <a16:creationId xmlns:a16="http://schemas.microsoft.com/office/drawing/2014/main" id="{C7A3047A-2765-33F1-F10F-B786488FB0B8}"/>
                </a:ext>
              </a:extLst>
            </p:cNvPr>
            <p:cNvSpPr txBox="1"/>
            <p:nvPr>
              <p:custDataLst>
                <p:tags r:id="rId8"/>
              </p:custDataLst>
            </p:nvPr>
          </p:nvSpPr>
          <p:spPr>
            <a:xfrm>
              <a:off x="8651594" y="1073777"/>
              <a:ext cx="1054059"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AUSZUG</a:t>
              </a:r>
            </a:p>
          </p:txBody>
        </p:sp>
        <p:cxnSp>
          <p:nvCxnSpPr>
            <p:cNvPr id="15" name="Gerader Verbinder 14">
              <a:extLst>
                <a:ext uri="{FF2B5EF4-FFF2-40B4-BE49-F238E27FC236}">
                  <a16:creationId xmlns:a16="http://schemas.microsoft.com/office/drawing/2014/main" id="{E8134478-7FE0-98B6-6C56-F5929890AD19}"/>
                </a:ext>
              </a:extLst>
            </p:cNvPr>
            <p:cNvCxnSpPr/>
            <p:nvPr/>
          </p:nvCxnSpPr>
          <p:spPr>
            <a:xfrm>
              <a:off x="8668936" y="1069149"/>
              <a:ext cx="103659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7959C6B0-DBDD-16C2-7F03-6920DD228803}"/>
                </a:ext>
              </a:extLst>
            </p:cNvPr>
            <p:cNvCxnSpPr/>
            <p:nvPr/>
          </p:nvCxnSpPr>
          <p:spPr>
            <a:xfrm>
              <a:off x="8681656" y="1386183"/>
              <a:ext cx="1036592" cy="0"/>
            </a:xfrm>
            <a:prstGeom prst="line">
              <a:avLst/>
            </a:prstGeom>
            <a:ln w="1905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183769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feld 15">
            <a:extLst>
              <a:ext uri="{FF2B5EF4-FFF2-40B4-BE49-F238E27FC236}">
                <a16:creationId xmlns:a16="http://schemas.microsoft.com/office/drawing/2014/main" id="{D3BE77DC-65D1-12B6-5511-285569B7D45B}"/>
              </a:ext>
            </a:extLst>
          </p:cNvPr>
          <p:cNvSpPr txBox="1"/>
          <p:nvPr/>
        </p:nvSpPr>
        <p:spPr>
          <a:xfrm>
            <a:off x="179502" y="1557338"/>
            <a:ext cx="2196000" cy="4751982"/>
          </a:xfrm>
          <a:prstGeom prst="rect">
            <a:avLst/>
          </a:prstGeom>
          <a:solidFill>
            <a:schemeClr val="accent4"/>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graphicFrame>
        <p:nvGraphicFramePr>
          <p:cNvPr id="6" name="Objek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3" imgW="360" imgH="360" progId="TCLayout.ActiveDocument.1">
                  <p:embed/>
                </p:oleObj>
              </mc:Choice>
              <mc:Fallback>
                <p:oleObj name="think-cell Folie" r:id="rId23" imgW="360" imgH="360" progId="TCLayout.ActiveDocument.1">
                  <p:embed/>
                  <p:pic>
                    <p:nvPicPr>
                      <p:cNvPr id="6" name="Objekt 5"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12" name="Foliennummernplatzhalter 11"/>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322A94-3156-491B-AD20-567107C600A1}" type="slidenum">
              <a:rPr kumimoji="0" lang="de-DE" sz="800" b="0" i="0" u="none" strike="noStrike" kern="1200" cap="none" spc="0" normalizeH="0" baseline="0" noProof="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de-DE" sz="800" b="0" i="0" u="none" strike="noStrike" kern="1200" cap="none" spc="0" normalizeH="0" baseline="0" noProof="0">
              <a:ln>
                <a:noFill/>
              </a:ln>
              <a:solidFill>
                <a:srgbClr val="404040">
                  <a:tint val="75000"/>
                </a:srgbClr>
              </a:solidFill>
              <a:effectLst/>
              <a:uLnTx/>
              <a:uFillTx/>
              <a:latin typeface="Arial"/>
              <a:ea typeface="+mn-ea"/>
              <a:cs typeface="+mn-cs"/>
            </a:endParaRPr>
          </a:p>
        </p:txBody>
      </p:sp>
      <p:sp>
        <p:nvSpPr>
          <p:cNvPr id="2" name="Titel 1"/>
          <p:cNvSpPr>
            <a:spLocks noGrp="1"/>
          </p:cNvSpPr>
          <p:nvPr>
            <p:ph type="title"/>
          </p:nvPr>
        </p:nvSpPr>
        <p:spPr/>
        <p:txBody>
          <a:bodyPr vert="horz"/>
          <a:lstStyle/>
          <a:p>
            <a:r>
              <a:rPr lang="de-DE"/>
              <a:t>Bestehende Kosten- und Wettbewerbsdruck: Stabilisierungs- und Wachstumsstrukturen im Fokus.</a:t>
            </a:r>
          </a:p>
        </p:txBody>
      </p:sp>
      <p:sp>
        <p:nvSpPr>
          <p:cNvPr id="4" name="Textplatzhalter 3"/>
          <p:cNvSpPr>
            <a:spLocks noGrp="1"/>
          </p:cNvSpPr>
          <p:nvPr>
            <p:ph type="body" sz="quarter" idx="13"/>
          </p:nvPr>
        </p:nvSpPr>
        <p:spPr/>
        <p:txBody>
          <a:bodyPr/>
          <a:lstStyle/>
          <a:p>
            <a:r>
              <a:rPr lang="de-DE"/>
              <a:t>Altenhilfebarometer 2025 | Strategisches Zukunftskonzept</a:t>
            </a:r>
          </a:p>
        </p:txBody>
      </p:sp>
      <p:sp>
        <p:nvSpPr>
          <p:cNvPr id="3" name="Textbox 2_rosa">
            <a:extLst>
              <a:ext uri="{FF2B5EF4-FFF2-40B4-BE49-F238E27FC236}">
                <a16:creationId xmlns:a16="http://schemas.microsoft.com/office/drawing/2014/main" id="{69DF0B69-10F9-5CCA-2C77-986DAEF45C97}"/>
              </a:ext>
            </a:extLst>
          </p:cNvPr>
          <p:cNvSpPr/>
          <p:nvPr>
            <p:custDataLst>
              <p:tags r:id="rId4"/>
            </p:custDataLst>
          </p:nvPr>
        </p:nvSpPr>
        <p:spPr>
          <a:xfrm>
            <a:off x="2576736" y="2491510"/>
            <a:ext cx="2196000" cy="1836000"/>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404040"/>
                </a:solidFill>
                <a:effectLst/>
                <a:uLnTx/>
                <a:uFillTx/>
                <a:latin typeface="Arial"/>
                <a:ea typeface="+mn-ea"/>
                <a:cs typeface="+mn-cs"/>
              </a:rPr>
              <a:t>Organisches Wachstum</a:t>
            </a:r>
          </a:p>
        </p:txBody>
      </p:sp>
      <p:sp>
        <p:nvSpPr>
          <p:cNvPr id="10" name="Textbox 2_rosa">
            <a:extLst>
              <a:ext uri="{FF2B5EF4-FFF2-40B4-BE49-F238E27FC236}">
                <a16:creationId xmlns:a16="http://schemas.microsoft.com/office/drawing/2014/main" id="{78A5B35E-3E62-7084-9EED-4581A1D1426E}"/>
              </a:ext>
            </a:extLst>
          </p:cNvPr>
          <p:cNvSpPr/>
          <p:nvPr>
            <p:custDataLst>
              <p:tags r:id="rId5"/>
            </p:custDataLst>
          </p:nvPr>
        </p:nvSpPr>
        <p:spPr>
          <a:xfrm>
            <a:off x="2576736" y="4401135"/>
            <a:ext cx="2196000" cy="1836000"/>
          </a:xfrm>
          <a:prstGeom prst="rect">
            <a:avLst/>
          </a:prstGeom>
          <a:solidFill>
            <a:srgbClr val="F2F2F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404040"/>
                </a:solidFill>
                <a:effectLst/>
                <a:uLnTx/>
                <a:uFillTx/>
                <a:latin typeface="Arial"/>
                <a:ea typeface="+mn-ea"/>
                <a:cs typeface="+mn-cs"/>
              </a:rPr>
              <a:t>Verbundbildung/</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404040"/>
                </a:solidFill>
                <a:effectLst/>
                <a:uLnTx/>
                <a:uFillTx/>
                <a:latin typeface="Arial"/>
                <a:ea typeface="+mn-ea"/>
                <a:cs typeface="+mn-cs"/>
              </a:rPr>
              <a:t>Kooperation</a:t>
            </a:r>
            <a:endParaRPr kumimoji="0" lang="de-DE" sz="2000" b="0" i="0" u="none" strike="noStrike" kern="1200" cap="none" spc="0" normalizeH="0" baseline="0" noProof="0">
              <a:ln>
                <a:noFill/>
              </a:ln>
              <a:solidFill>
                <a:srgbClr val="404040"/>
              </a:solidFill>
              <a:effectLst/>
              <a:uLnTx/>
              <a:uFillTx/>
              <a:latin typeface="Arial"/>
              <a:ea typeface="+mn-ea"/>
              <a:cs typeface="+mn-cs"/>
            </a:endParaRPr>
          </a:p>
          <a:p>
            <a:pPr marL="180000" marR="0" lvl="3" indent="-180000" algn="l" defTabSz="914400" rtl="0" eaLnBrk="1" fontAlgn="auto" latinLnBrk="0" hangingPunct="1">
              <a:lnSpc>
                <a:spcPct val="100000"/>
              </a:lnSpc>
              <a:spcBef>
                <a:spcPts val="0"/>
              </a:spcBef>
              <a:spcAft>
                <a:spcPts val="0"/>
              </a:spcAft>
              <a:buClr>
                <a:srgbClr val="C72A34"/>
              </a:buClr>
              <a:buSzTx/>
              <a:buFont typeface="Wingdings" panose="05000000000000000000" pitchFamily="2" charset="2"/>
              <a:buChar char="§"/>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11" name="Textbox 2_rosa">
            <a:extLst>
              <a:ext uri="{FF2B5EF4-FFF2-40B4-BE49-F238E27FC236}">
                <a16:creationId xmlns:a16="http://schemas.microsoft.com/office/drawing/2014/main" id="{3D2DD22E-FE8A-9A4F-CD0F-BC1306E24F96}"/>
              </a:ext>
            </a:extLst>
          </p:cNvPr>
          <p:cNvSpPr/>
          <p:nvPr>
            <p:custDataLst>
              <p:tags r:id="rId6"/>
            </p:custDataLst>
          </p:nvPr>
        </p:nvSpPr>
        <p:spPr>
          <a:xfrm>
            <a:off x="4919447" y="2492999"/>
            <a:ext cx="2196000" cy="1836000"/>
          </a:xfrm>
          <a:prstGeom prst="rect">
            <a:avLst/>
          </a:prstGeom>
          <a:solidFill>
            <a:srgbClr val="F2F2F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404040"/>
                </a:solidFill>
                <a:effectLst/>
                <a:uLnTx/>
                <a:uFillTx/>
                <a:latin typeface="Arial"/>
                <a:ea typeface="+mn-ea"/>
                <a:cs typeface="+mn-cs"/>
              </a:rPr>
              <a:t>Stabilisierung</a:t>
            </a:r>
            <a:endParaRPr kumimoji="0" lang="de-DE" sz="2000" b="0" i="0" u="none" strike="noStrike" kern="1200" cap="none" spc="0" normalizeH="0" baseline="0" noProof="0">
              <a:ln>
                <a:noFill/>
              </a:ln>
              <a:solidFill>
                <a:srgbClr val="404040"/>
              </a:solidFill>
              <a:effectLst/>
              <a:uLnTx/>
              <a:uFillTx/>
              <a:latin typeface="Arial"/>
              <a:ea typeface="+mn-ea"/>
              <a:cs typeface="+mn-cs"/>
            </a:endParaRPr>
          </a:p>
          <a:p>
            <a:pPr marL="180000" marR="0" lvl="3" indent="-180000" algn="l" defTabSz="914400" rtl="0" eaLnBrk="1" fontAlgn="auto" latinLnBrk="0" hangingPunct="1">
              <a:lnSpc>
                <a:spcPct val="100000"/>
              </a:lnSpc>
              <a:spcBef>
                <a:spcPts val="0"/>
              </a:spcBef>
              <a:spcAft>
                <a:spcPts val="0"/>
              </a:spcAft>
              <a:buClr>
                <a:srgbClr val="C72A34"/>
              </a:buClr>
              <a:buSzTx/>
              <a:buFont typeface="Wingdings" panose="05000000000000000000" pitchFamily="2" charset="2"/>
              <a:buChar char="§"/>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13" name="Textbox 2_rosa">
            <a:extLst>
              <a:ext uri="{FF2B5EF4-FFF2-40B4-BE49-F238E27FC236}">
                <a16:creationId xmlns:a16="http://schemas.microsoft.com/office/drawing/2014/main" id="{DFDADA2E-2E79-14BF-1B90-9026D2EC0630}"/>
              </a:ext>
            </a:extLst>
          </p:cNvPr>
          <p:cNvSpPr/>
          <p:nvPr>
            <p:custDataLst>
              <p:tags r:id="rId7"/>
            </p:custDataLst>
          </p:nvPr>
        </p:nvSpPr>
        <p:spPr>
          <a:xfrm>
            <a:off x="7185248" y="2493176"/>
            <a:ext cx="2196000" cy="1836000"/>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404040"/>
                </a:solidFill>
                <a:effectLst/>
                <a:uLnTx/>
                <a:uFillTx/>
                <a:latin typeface="Arial"/>
                <a:ea typeface="+mn-ea"/>
                <a:cs typeface="+mn-cs"/>
              </a:rPr>
              <a:t>Konsolidierung</a:t>
            </a:r>
          </a:p>
          <a:p>
            <a:pPr marL="0" marR="0" lvl="3" indent="0" algn="l" defTabSz="914400" rtl="0" eaLnBrk="1" fontAlgn="auto" latinLnBrk="0" hangingPunct="1">
              <a:lnSpc>
                <a:spcPct val="100000"/>
              </a:lnSpc>
              <a:spcBef>
                <a:spcPts val="0"/>
              </a:spcBef>
              <a:spcAft>
                <a:spcPts val="0"/>
              </a:spcAft>
              <a:buClr>
                <a:srgbClr val="C72A34"/>
              </a:buClr>
              <a:buSzTx/>
              <a:buFontTx/>
              <a:buNone/>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14" name="Textbox 2_rosa">
            <a:extLst>
              <a:ext uri="{FF2B5EF4-FFF2-40B4-BE49-F238E27FC236}">
                <a16:creationId xmlns:a16="http://schemas.microsoft.com/office/drawing/2014/main" id="{3A0B95E8-6F1B-A82F-20D4-2979712A4813}"/>
              </a:ext>
            </a:extLst>
          </p:cNvPr>
          <p:cNvSpPr/>
          <p:nvPr>
            <p:custDataLst>
              <p:tags r:id="rId8"/>
            </p:custDataLst>
          </p:nvPr>
        </p:nvSpPr>
        <p:spPr>
          <a:xfrm>
            <a:off x="4919447" y="4401135"/>
            <a:ext cx="2196000" cy="1836000"/>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404040"/>
                </a:solidFill>
                <a:effectLst/>
                <a:uLnTx/>
                <a:uFillTx/>
                <a:latin typeface="Arial"/>
                <a:ea typeface="+mn-ea"/>
                <a:cs typeface="+mn-cs"/>
              </a:rPr>
              <a:t>Anorganisches Wachstum</a:t>
            </a:r>
            <a:endParaRPr kumimoji="0" lang="de-DE" sz="2000" b="0" i="0" u="none" strike="noStrike" kern="1200" cap="none" spc="0" normalizeH="0" baseline="0" noProof="0">
              <a:ln>
                <a:noFill/>
              </a:ln>
              <a:solidFill>
                <a:srgbClr val="404040"/>
              </a:solidFill>
              <a:effectLst/>
              <a:uLnTx/>
              <a:uFillTx/>
              <a:latin typeface="Arial"/>
              <a:ea typeface="+mn-ea"/>
              <a:cs typeface="+mn-cs"/>
            </a:endParaRPr>
          </a:p>
          <a:p>
            <a:pPr marL="180000" marR="0" lvl="3" indent="-180000" algn="l" defTabSz="914400" rtl="0" eaLnBrk="1" fontAlgn="auto" latinLnBrk="0" hangingPunct="1">
              <a:lnSpc>
                <a:spcPct val="100000"/>
              </a:lnSpc>
              <a:spcBef>
                <a:spcPts val="0"/>
              </a:spcBef>
              <a:spcAft>
                <a:spcPts val="0"/>
              </a:spcAft>
              <a:buClr>
                <a:srgbClr val="C72A34"/>
              </a:buClr>
              <a:buSzTx/>
              <a:buFont typeface="Wingdings" panose="05000000000000000000" pitchFamily="2" charset="2"/>
              <a:buChar char="§"/>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15" name="Textbox 2_rosa">
            <a:extLst>
              <a:ext uri="{FF2B5EF4-FFF2-40B4-BE49-F238E27FC236}">
                <a16:creationId xmlns:a16="http://schemas.microsoft.com/office/drawing/2014/main" id="{6B7805F2-06D2-0764-58DC-A66D8038129A}"/>
              </a:ext>
            </a:extLst>
          </p:cNvPr>
          <p:cNvSpPr/>
          <p:nvPr>
            <p:custDataLst>
              <p:tags r:id="rId9"/>
            </p:custDataLst>
          </p:nvPr>
        </p:nvSpPr>
        <p:spPr>
          <a:xfrm>
            <a:off x="7185248" y="4401312"/>
            <a:ext cx="2196000" cy="1836000"/>
          </a:xfrm>
          <a:prstGeom prst="rect">
            <a:avLst/>
          </a:prstGeom>
          <a:solidFill>
            <a:srgbClr val="F2F2F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404040"/>
                </a:solidFill>
                <a:effectLst/>
                <a:uLnTx/>
                <a:uFillTx/>
                <a:latin typeface="Arial"/>
                <a:ea typeface="+mn-ea"/>
                <a:cs typeface="+mn-cs"/>
              </a:rPr>
              <a:t>Exit</a:t>
            </a:r>
            <a:endParaRPr kumimoji="0" lang="de-DE" sz="2000" b="0" i="0" u="none" strike="noStrike" kern="1200" cap="none" spc="0" normalizeH="0" baseline="0" noProof="0">
              <a:ln>
                <a:noFill/>
              </a:ln>
              <a:solidFill>
                <a:srgbClr val="404040"/>
              </a:solidFill>
              <a:effectLst/>
              <a:uLnTx/>
              <a:uFillTx/>
              <a:latin typeface="Arial"/>
              <a:ea typeface="+mn-ea"/>
              <a:cs typeface="+mn-cs"/>
            </a:endParaRPr>
          </a:p>
          <a:p>
            <a:pPr marL="180000" marR="0" lvl="3" indent="-180000" algn="l" defTabSz="914400" rtl="0" eaLnBrk="1" fontAlgn="auto" latinLnBrk="0" hangingPunct="1">
              <a:lnSpc>
                <a:spcPct val="100000"/>
              </a:lnSpc>
              <a:spcBef>
                <a:spcPts val="0"/>
              </a:spcBef>
              <a:spcAft>
                <a:spcPts val="0"/>
              </a:spcAft>
              <a:buClr>
                <a:srgbClr val="C72A34"/>
              </a:buClr>
              <a:buSzTx/>
              <a:buFont typeface="Wingdings" panose="05000000000000000000" pitchFamily="2" charset="2"/>
              <a:buChar char="§"/>
              <a:tabLst/>
              <a:defRPr/>
            </a:pPr>
            <a:endParaRPr kumimoji="0" lang="de-DE" sz="1400" b="0" i="0" u="none" strike="noStrike" kern="1200" cap="none" spc="0" normalizeH="0" baseline="0" noProof="0">
              <a:ln>
                <a:noFill/>
              </a:ln>
              <a:solidFill>
                <a:srgbClr val="404040"/>
              </a:solidFill>
              <a:effectLst/>
              <a:uLnTx/>
              <a:uFillTx/>
              <a:latin typeface="Arial"/>
              <a:ea typeface="+mn-ea"/>
              <a:cs typeface="+mn-cs"/>
            </a:endParaRPr>
          </a:p>
        </p:txBody>
      </p:sp>
      <p:sp>
        <p:nvSpPr>
          <p:cNvPr id="7" name="Textfeld 6">
            <a:extLst>
              <a:ext uri="{FF2B5EF4-FFF2-40B4-BE49-F238E27FC236}">
                <a16:creationId xmlns:a16="http://schemas.microsoft.com/office/drawing/2014/main" id="{0522630C-3480-977C-FEC2-22E0E7374F39}"/>
              </a:ext>
            </a:extLst>
          </p:cNvPr>
          <p:cNvSpPr txBox="1"/>
          <p:nvPr>
            <p:custDataLst>
              <p:tags r:id="rId10"/>
            </p:custDataLst>
          </p:nvPr>
        </p:nvSpPr>
        <p:spPr>
          <a:xfrm>
            <a:off x="2576736" y="3292882"/>
            <a:ext cx="2196000" cy="7078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4000" b="0" i="0" u="none" strike="noStrike" kern="1200" cap="none" spc="0" normalizeH="0" baseline="0" noProof="0">
                <a:ln>
                  <a:noFill/>
                </a:ln>
                <a:solidFill>
                  <a:srgbClr val="C72A34"/>
                </a:solidFill>
                <a:effectLst/>
                <a:uLnTx/>
                <a:uFillTx/>
                <a:latin typeface="Arial Black"/>
                <a:ea typeface="+mn-ea"/>
                <a:cs typeface="+mn-cs"/>
              </a:rPr>
              <a:t>30 %</a:t>
            </a:r>
          </a:p>
        </p:txBody>
      </p:sp>
      <p:sp>
        <p:nvSpPr>
          <p:cNvPr id="8" name="Textfeld 7">
            <a:extLst>
              <a:ext uri="{FF2B5EF4-FFF2-40B4-BE49-F238E27FC236}">
                <a16:creationId xmlns:a16="http://schemas.microsoft.com/office/drawing/2014/main" id="{EF05EDAF-AD92-7809-CA16-51364832160E}"/>
              </a:ext>
            </a:extLst>
          </p:cNvPr>
          <p:cNvSpPr txBox="1"/>
          <p:nvPr>
            <p:custDataLst>
              <p:tags r:id="rId11"/>
            </p:custDataLst>
          </p:nvPr>
        </p:nvSpPr>
        <p:spPr>
          <a:xfrm>
            <a:off x="4919447" y="3293493"/>
            <a:ext cx="2196000" cy="7078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4000" b="0" i="0" u="none" strike="noStrike" kern="1200" cap="none" spc="0" normalizeH="0" baseline="0" noProof="0">
                <a:ln>
                  <a:noFill/>
                </a:ln>
                <a:solidFill>
                  <a:srgbClr val="C72A34"/>
                </a:solidFill>
                <a:effectLst/>
                <a:uLnTx/>
                <a:uFillTx/>
                <a:latin typeface="Arial Black"/>
                <a:ea typeface="+mn-ea"/>
                <a:cs typeface="+mn-cs"/>
              </a:rPr>
              <a:t>28 %</a:t>
            </a:r>
          </a:p>
        </p:txBody>
      </p:sp>
      <p:sp>
        <p:nvSpPr>
          <p:cNvPr id="9" name="Textfeld 8">
            <a:extLst>
              <a:ext uri="{FF2B5EF4-FFF2-40B4-BE49-F238E27FC236}">
                <a16:creationId xmlns:a16="http://schemas.microsoft.com/office/drawing/2014/main" id="{1764A9D8-3AD6-C4F1-BC00-E5D8C72CEFF8}"/>
              </a:ext>
            </a:extLst>
          </p:cNvPr>
          <p:cNvSpPr txBox="1"/>
          <p:nvPr>
            <p:custDataLst>
              <p:tags r:id="rId12"/>
            </p:custDataLst>
          </p:nvPr>
        </p:nvSpPr>
        <p:spPr>
          <a:xfrm>
            <a:off x="7185248" y="3283260"/>
            <a:ext cx="2196000" cy="7078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4000" b="0" i="0" u="none" strike="noStrike" kern="1200" cap="none" spc="0" normalizeH="0" baseline="0" noProof="0">
                <a:ln>
                  <a:noFill/>
                </a:ln>
                <a:solidFill>
                  <a:srgbClr val="C72A34"/>
                </a:solidFill>
                <a:effectLst/>
                <a:uLnTx/>
                <a:uFillTx/>
                <a:latin typeface="Arial Black"/>
                <a:ea typeface="+mn-ea"/>
                <a:cs typeface="+mn-cs"/>
              </a:rPr>
              <a:t>17 %</a:t>
            </a:r>
          </a:p>
        </p:txBody>
      </p:sp>
      <p:sp>
        <p:nvSpPr>
          <p:cNvPr id="28" name="Textfeld 27">
            <a:extLst>
              <a:ext uri="{FF2B5EF4-FFF2-40B4-BE49-F238E27FC236}">
                <a16:creationId xmlns:a16="http://schemas.microsoft.com/office/drawing/2014/main" id="{11125689-1946-A2F2-B2FB-08CF1768F281}"/>
              </a:ext>
            </a:extLst>
          </p:cNvPr>
          <p:cNvSpPr txBox="1"/>
          <p:nvPr>
            <p:custDataLst>
              <p:tags r:id="rId13"/>
            </p:custDataLst>
          </p:nvPr>
        </p:nvSpPr>
        <p:spPr>
          <a:xfrm>
            <a:off x="2576736" y="5218387"/>
            <a:ext cx="2196000" cy="7078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4000" b="0" i="0" u="none" strike="noStrike" kern="1200" cap="none" spc="0" normalizeH="0" baseline="0" noProof="0">
                <a:ln>
                  <a:noFill/>
                </a:ln>
                <a:solidFill>
                  <a:srgbClr val="C72A34"/>
                </a:solidFill>
                <a:effectLst/>
                <a:uLnTx/>
                <a:uFillTx/>
                <a:latin typeface="Arial Black"/>
                <a:ea typeface="+mn-ea"/>
                <a:cs typeface="+mn-cs"/>
              </a:rPr>
              <a:t>9 %</a:t>
            </a:r>
          </a:p>
        </p:txBody>
      </p:sp>
      <p:sp>
        <p:nvSpPr>
          <p:cNvPr id="29" name="Textfeld 28">
            <a:extLst>
              <a:ext uri="{FF2B5EF4-FFF2-40B4-BE49-F238E27FC236}">
                <a16:creationId xmlns:a16="http://schemas.microsoft.com/office/drawing/2014/main" id="{C955E7BF-5BC8-3C01-61CF-F0C18D9ABA4B}"/>
              </a:ext>
            </a:extLst>
          </p:cNvPr>
          <p:cNvSpPr txBox="1"/>
          <p:nvPr>
            <p:custDataLst>
              <p:tags r:id="rId14"/>
            </p:custDataLst>
          </p:nvPr>
        </p:nvSpPr>
        <p:spPr>
          <a:xfrm>
            <a:off x="4919447" y="5218998"/>
            <a:ext cx="2196000" cy="7078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4000" b="0" i="0" u="none" strike="noStrike" kern="1200" cap="none" spc="0" normalizeH="0" baseline="0" noProof="0">
                <a:ln>
                  <a:noFill/>
                </a:ln>
                <a:solidFill>
                  <a:srgbClr val="C72A34"/>
                </a:solidFill>
                <a:effectLst/>
                <a:uLnTx/>
                <a:uFillTx/>
                <a:latin typeface="Arial Black"/>
                <a:ea typeface="+mn-ea"/>
                <a:cs typeface="+mn-cs"/>
              </a:rPr>
              <a:t>8 %</a:t>
            </a:r>
          </a:p>
        </p:txBody>
      </p:sp>
      <p:sp>
        <p:nvSpPr>
          <p:cNvPr id="30" name="Textfeld 29">
            <a:extLst>
              <a:ext uri="{FF2B5EF4-FFF2-40B4-BE49-F238E27FC236}">
                <a16:creationId xmlns:a16="http://schemas.microsoft.com/office/drawing/2014/main" id="{5AB3CEC4-3329-72A1-797F-B7EF86BD5CF8}"/>
              </a:ext>
            </a:extLst>
          </p:cNvPr>
          <p:cNvSpPr txBox="1"/>
          <p:nvPr>
            <p:custDataLst>
              <p:tags r:id="rId15"/>
            </p:custDataLst>
          </p:nvPr>
        </p:nvSpPr>
        <p:spPr>
          <a:xfrm>
            <a:off x="7182474" y="5193480"/>
            <a:ext cx="2196000" cy="7078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4000" b="0" i="0" u="none" strike="noStrike" kern="1200" cap="none" spc="0" normalizeH="0" baseline="0" noProof="0">
                <a:ln>
                  <a:noFill/>
                </a:ln>
                <a:solidFill>
                  <a:srgbClr val="C72A34"/>
                </a:solidFill>
                <a:effectLst/>
                <a:uLnTx/>
                <a:uFillTx/>
                <a:latin typeface="Arial Black"/>
                <a:ea typeface="+mn-ea"/>
                <a:cs typeface="+mn-cs"/>
              </a:rPr>
              <a:t>2 %</a:t>
            </a:r>
          </a:p>
        </p:txBody>
      </p:sp>
      <p:sp>
        <p:nvSpPr>
          <p:cNvPr id="32" name="Rechteck 31">
            <a:extLst>
              <a:ext uri="{FF2B5EF4-FFF2-40B4-BE49-F238E27FC236}">
                <a16:creationId xmlns:a16="http://schemas.microsoft.com/office/drawing/2014/main" id="{255625FC-FD70-510D-75BC-3E098F9EF439}"/>
              </a:ext>
            </a:extLst>
          </p:cNvPr>
          <p:cNvSpPr/>
          <p:nvPr/>
        </p:nvSpPr>
        <p:spPr>
          <a:xfrm>
            <a:off x="2576737" y="1557338"/>
            <a:ext cx="6801738" cy="841872"/>
          </a:xfrm>
          <a:prstGeom prst="rect">
            <a:avLst/>
          </a:prstGeom>
          <a:solidFill>
            <a:schemeClr val="lt1">
              <a:alpha val="41000"/>
            </a:schemeClr>
          </a:solidFill>
          <a:ln w="19050"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r>
              <a:rPr kumimoji="0" lang="de-DE" sz="1400" b="0" i="0" u="none" strike="noStrike" kern="1200" cap="none" spc="0" normalizeH="0" baseline="0" noProof="0">
                <a:ln>
                  <a:noFill/>
                </a:ln>
                <a:solidFill>
                  <a:srgbClr val="404040"/>
                </a:solidFill>
                <a:effectLst/>
                <a:uLnTx/>
                <a:uFillTx/>
                <a:latin typeface="Arial Black" panose="020B0A04020102020204" pitchFamily="34" charset="0"/>
                <a:ea typeface="+mn-ea"/>
                <a:cs typeface="+mn-cs"/>
              </a:rPr>
              <a:t>Wie sieht Ihr strategisches Zukunftskonzept aus?</a:t>
            </a:r>
          </a:p>
        </p:txBody>
      </p:sp>
      <p:cxnSp>
        <p:nvCxnSpPr>
          <p:cNvPr id="34" name="Gerader Verbinder 33">
            <a:extLst>
              <a:ext uri="{FF2B5EF4-FFF2-40B4-BE49-F238E27FC236}">
                <a16:creationId xmlns:a16="http://schemas.microsoft.com/office/drawing/2014/main" id="{FEA05B44-ACC5-7C0A-F50D-23D3EAD9E5C4}"/>
              </a:ext>
            </a:extLst>
          </p:cNvPr>
          <p:cNvCxnSpPr/>
          <p:nvPr/>
        </p:nvCxnSpPr>
        <p:spPr>
          <a:xfrm>
            <a:off x="2432720" y="1557338"/>
            <a:ext cx="0" cy="4679797"/>
          </a:xfrm>
          <a:prstGeom prst="line">
            <a:avLst/>
          </a:prstGeom>
        </p:spPr>
        <p:style>
          <a:lnRef idx="1">
            <a:schemeClr val="accent1"/>
          </a:lnRef>
          <a:fillRef idx="0">
            <a:schemeClr val="accent1"/>
          </a:fillRef>
          <a:effectRef idx="0">
            <a:schemeClr val="accent1"/>
          </a:effectRef>
          <a:fontRef idx="minor">
            <a:schemeClr val="tx1"/>
          </a:fontRef>
        </p:style>
      </p:cxnSp>
      <p:sp>
        <p:nvSpPr>
          <p:cNvPr id="35" name="Ellipse 34">
            <a:extLst>
              <a:ext uri="{FF2B5EF4-FFF2-40B4-BE49-F238E27FC236}">
                <a16:creationId xmlns:a16="http://schemas.microsoft.com/office/drawing/2014/main" id="{760376BC-918C-0F32-F7A3-BA2C839156B2}"/>
              </a:ext>
            </a:extLst>
          </p:cNvPr>
          <p:cNvSpPr/>
          <p:nvPr>
            <p:custDataLst>
              <p:tags r:id="rId16"/>
            </p:custDataLst>
          </p:nvPr>
        </p:nvSpPr>
        <p:spPr>
          <a:xfrm>
            <a:off x="306009" y="2287991"/>
            <a:ext cx="1980000" cy="1980000"/>
          </a:xfrm>
          <a:prstGeom prst="ellipse">
            <a:avLst/>
          </a:prstGeom>
          <a:solidFill>
            <a:schemeClr val="accent1"/>
          </a:solidFill>
          <a:ln w="12700" cap="flat" cmpd="sng" algn="ctr">
            <a:solidFill>
              <a:schemeClr val="accent5"/>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300"/>
              </a:spcAft>
              <a:buClrTx/>
              <a:buSzTx/>
              <a:buFontTx/>
              <a:buNone/>
              <a:tabLst/>
              <a:defRPr/>
            </a:pPr>
            <a:r>
              <a:rPr kumimoji="0" lang="de-DE" sz="3600" b="0" i="0" u="none" strike="noStrike" kern="1200" cap="none" spc="0" normalizeH="0" baseline="0" noProof="0">
                <a:ln>
                  <a:noFill/>
                </a:ln>
                <a:solidFill>
                  <a:prstClr val="white"/>
                </a:solidFill>
                <a:effectLst/>
                <a:uLnTx/>
                <a:uFillTx/>
                <a:latin typeface="Arial Black" panose="020B0A04020102020204" pitchFamily="34" charset="0"/>
                <a:ea typeface="+mn-ea"/>
                <a:cs typeface="+mn-cs"/>
              </a:rPr>
              <a:t>50 %</a:t>
            </a:r>
          </a:p>
        </p:txBody>
      </p:sp>
      <p:sp>
        <p:nvSpPr>
          <p:cNvPr id="36" name="Textfeld 35">
            <a:extLst>
              <a:ext uri="{FF2B5EF4-FFF2-40B4-BE49-F238E27FC236}">
                <a16:creationId xmlns:a16="http://schemas.microsoft.com/office/drawing/2014/main" id="{509570E5-6036-8149-C347-209CD3A5AD65}"/>
              </a:ext>
            </a:extLst>
          </p:cNvPr>
          <p:cNvSpPr txBox="1"/>
          <p:nvPr>
            <p:custDataLst>
              <p:tags r:id="rId17"/>
            </p:custDataLst>
          </p:nvPr>
        </p:nvSpPr>
        <p:spPr>
          <a:xfrm>
            <a:off x="179501" y="4340272"/>
            <a:ext cx="2183417" cy="60016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srgbClr val="404040"/>
                </a:solidFill>
                <a:effectLst/>
                <a:uLnTx/>
                <a:uFillTx/>
                <a:latin typeface="Arial"/>
                <a:ea typeface="+mn-ea"/>
                <a:cs typeface="+mn-cs"/>
              </a:rPr>
              <a:t>der teilnehmenden Einrichtungen haben ein strategisches Zukunftskonzept.</a:t>
            </a:r>
          </a:p>
        </p:txBody>
      </p:sp>
      <p:sp>
        <p:nvSpPr>
          <p:cNvPr id="38" name="Fußnote_Quelle">
            <a:extLst>
              <a:ext uri="{FF2B5EF4-FFF2-40B4-BE49-F238E27FC236}">
                <a16:creationId xmlns:a16="http://schemas.microsoft.com/office/drawing/2014/main" id="{11430E62-A64F-2EB2-2AE1-067A189626A9}"/>
              </a:ext>
            </a:extLst>
          </p:cNvPr>
          <p:cNvSpPr txBox="1"/>
          <p:nvPr>
            <p:custDataLst>
              <p:tags r:id="rId18"/>
            </p:custDataLst>
          </p:nvPr>
        </p:nvSpPr>
        <p:spPr bwMode="auto">
          <a:xfrm>
            <a:off x="7182474" y="6244858"/>
            <a:ext cx="2342526" cy="288033"/>
          </a:xfrm>
          <a:prstGeom prst="rect">
            <a:avLst/>
          </a:prstGeom>
          <a:noFill/>
          <a:ln w="9525">
            <a:noFill/>
            <a:miter lim="800000"/>
            <a:headEnd/>
            <a:tailEnd/>
          </a:ln>
        </p:spPr>
        <p:txBody>
          <a:bodyPr wrap="square" lIns="90000" tIns="46800" rIns="90000" bIns="46800" anchor="t" anchorCtr="0">
            <a:noAutofit/>
          </a:bodyPr>
          <a:lstStyle/>
          <a:p>
            <a:pPr marL="0" marR="0" lvl="0" indent="0" algn="l" defTabSz="457200" rtl="0" eaLnBrk="0" fontAlgn="auto" latinLnBrk="0" hangingPunct="0">
              <a:lnSpc>
                <a:spcPct val="100000"/>
              </a:lnSpc>
              <a:spcBef>
                <a:spcPts val="0"/>
              </a:spcBef>
              <a:spcAft>
                <a:spcPts val="0"/>
              </a:spcAft>
              <a:buClr>
                <a:srgbClr val="F77878"/>
              </a:buClr>
              <a:buSzTx/>
              <a:buFont typeface="Wingdings" pitchFamily="2" charset="2"/>
              <a:buNone/>
              <a:tabLst/>
              <a:defRPr/>
            </a:pPr>
            <a:r>
              <a:rPr kumimoji="0" lang="de-DE" altLang="ko-KR" sz="800" b="0" i="0" u="none" strike="noStrike" kern="0" cap="none" spc="0" normalizeH="0" baseline="0" noProof="0">
                <a:ln>
                  <a:noFill/>
                </a:ln>
                <a:solidFill>
                  <a:srgbClr val="404040"/>
                </a:solidFill>
                <a:effectLst/>
                <a:uLnTx/>
                <a:uFillTx/>
                <a:latin typeface="Arial"/>
                <a:ea typeface="+mn-ea"/>
                <a:cs typeface="+mn-cs"/>
              </a:rPr>
              <a:t>Differenz zu 100 %: Keine Angabe/Sonstiges</a:t>
            </a:r>
          </a:p>
        </p:txBody>
      </p:sp>
      <p:sp>
        <p:nvSpPr>
          <p:cNvPr id="39" name="Fußnote_Quelle">
            <a:extLst>
              <a:ext uri="{FF2B5EF4-FFF2-40B4-BE49-F238E27FC236}">
                <a16:creationId xmlns:a16="http://schemas.microsoft.com/office/drawing/2014/main" id="{72F4044D-D5A9-88CC-6305-25BA8CD4EF2C}"/>
              </a:ext>
            </a:extLst>
          </p:cNvPr>
          <p:cNvSpPr txBox="1"/>
          <p:nvPr>
            <p:custDataLst>
              <p:tags r:id="rId19"/>
            </p:custDataLst>
          </p:nvPr>
        </p:nvSpPr>
        <p:spPr bwMode="auto">
          <a:xfrm>
            <a:off x="179502" y="6601706"/>
            <a:ext cx="4772988" cy="288033"/>
          </a:xfrm>
          <a:prstGeom prst="rect">
            <a:avLst/>
          </a:prstGeom>
          <a:noFill/>
          <a:ln w="9525">
            <a:noFill/>
            <a:miter lim="800000"/>
            <a:headEnd/>
            <a:tailEnd/>
          </a:ln>
        </p:spPr>
        <p:txBody>
          <a:bodyPr wrap="square" lIns="90000" tIns="46800" rIns="90000" bIns="46800" anchor="t" anchorCtr="0">
            <a:noAutofit/>
          </a:bodyPr>
          <a:lstStyle/>
          <a:p>
            <a:pPr marL="0" marR="0" lvl="0" indent="0" algn="l" defTabSz="457200" rtl="0" eaLnBrk="0" fontAlgn="auto" latinLnBrk="0" hangingPunct="0">
              <a:lnSpc>
                <a:spcPct val="100000"/>
              </a:lnSpc>
              <a:spcBef>
                <a:spcPts val="0"/>
              </a:spcBef>
              <a:spcAft>
                <a:spcPts val="0"/>
              </a:spcAft>
              <a:buClr>
                <a:srgbClr val="F77878"/>
              </a:buClr>
              <a:buSzTx/>
              <a:buFont typeface="Wingdings" pitchFamily="2" charset="2"/>
              <a:buNone/>
              <a:tabLst/>
              <a:defRPr/>
            </a:pPr>
            <a:r>
              <a:rPr kumimoji="0" lang="de-DE" altLang="ko-KR" sz="800" b="0" i="0" u="none" strike="noStrike" kern="0" cap="none" spc="0" normalizeH="0" baseline="0" noProof="0">
                <a:ln>
                  <a:noFill/>
                </a:ln>
                <a:solidFill>
                  <a:srgbClr val="C5C5C5"/>
                </a:solidFill>
                <a:effectLst/>
                <a:uLnTx/>
                <a:uFillTx/>
                <a:latin typeface="Arial"/>
                <a:ea typeface="+mn-ea"/>
                <a:cs typeface="+mn-cs"/>
              </a:rPr>
              <a:t>Quelle: </a:t>
            </a:r>
            <a:r>
              <a:rPr kumimoji="0" lang="de-DE" altLang="ko-KR" sz="800" b="0" i="0" u="none" strike="noStrike" kern="0" cap="none" spc="0" normalizeH="0" baseline="0" noProof="0" err="1">
                <a:ln>
                  <a:noFill/>
                </a:ln>
                <a:solidFill>
                  <a:srgbClr val="C5C5C5"/>
                </a:solidFill>
                <a:effectLst/>
                <a:uLnTx/>
                <a:uFillTx/>
                <a:latin typeface="Arial"/>
                <a:ea typeface="+mn-ea"/>
                <a:cs typeface="+mn-cs"/>
              </a:rPr>
              <a:t>Curacon</a:t>
            </a:r>
            <a:r>
              <a:rPr kumimoji="0" lang="de-DE" altLang="ko-KR" sz="800" b="0" i="0" u="none" strike="noStrike" kern="0" cap="none" spc="0" normalizeH="0" baseline="0" noProof="0">
                <a:ln>
                  <a:noFill/>
                </a:ln>
                <a:solidFill>
                  <a:srgbClr val="C5C5C5"/>
                </a:solidFill>
                <a:effectLst/>
                <a:uLnTx/>
                <a:uFillTx/>
                <a:latin typeface="Arial"/>
                <a:ea typeface="+mn-ea"/>
                <a:cs typeface="+mn-cs"/>
              </a:rPr>
              <a:t> Research - Ergebnisse der Befragung zum Altenhilfebarometer 2025</a:t>
            </a:r>
          </a:p>
        </p:txBody>
      </p:sp>
      <p:grpSp>
        <p:nvGrpSpPr>
          <p:cNvPr id="40" name="Gruppieren 39">
            <a:extLst>
              <a:ext uri="{FF2B5EF4-FFF2-40B4-BE49-F238E27FC236}">
                <a16:creationId xmlns:a16="http://schemas.microsoft.com/office/drawing/2014/main" id="{FEBED089-B64E-022B-FCE5-67B10EE05547}"/>
              </a:ext>
            </a:extLst>
          </p:cNvPr>
          <p:cNvGrpSpPr/>
          <p:nvPr/>
        </p:nvGrpSpPr>
        <p:grpSpPr>
          <a:xfrm>
            <a:off x="8651594" y="1069149"/>
            <a:ext cx="1066654" cy="317034"/>
            <a:chOff x="8651594" y="1069149"/>
            <a:chExt cx="1066654" cy="317034"/>
          </a:xfrm>
        </p:grpSpPr>
        <p:sp>
          <p:nvSpPr>
            <p:cNvPr id="41" name="Textfeld 40">
              <a:extLst>
                <a:ext uri="{FF2B5EF4-FFF2-40B4-BE49-F238E27FC236}">
                  <a16:creationId xmlns:a16="http://schemas.microsoft.com/office/drawing/2014/main" id="{0FDFF243-91B5-5AD6-80C1-FA956D2D3349}"/>
                </a:ext>
              </a:extLst>
            </p:cNvPr>
            <p:cNvSpPr txBox="1"/>
            <p:nvPr>
              <p:custDataLst>
                <p:tags r:id="rId20"/>
              </p:custDataLst>
            </p:nvPr>
          </p:nvSpPr>
          <p:spPr>
            <a:xfrm>
              <a:off x="8651594" y="1073777"/>
              <a:ext cx="1054059"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404040"/>
                  </a:solidFill>
                  <a:effectLst/>
                  <a:uLnTx/>
                  <a:uFillTx/>
                  <a:latin typeface="Arial"/>
                  <a:ea typeface="+mn-ea"/>
                  <a:cs typeface="+mn-cs"/>
                </a:rPr>
                <a:t>AUSZUG</a:t>
              </a:r>
            </a:p>
          </p:txBody>
        </p:sp>
        <p:cxnSp>
          <p:nvCxnSpPr>
            <p:cNvPr id="42" name="Gerader Verbinder 41">
              <a:extLst>
                <a:ext uri="{FF2B5EF4-FFF2-40B4-BE49-F238E27FC236}">
                  <a16:creationId xmlns:a16="http://schemas.microsoft.com/office/drawing/2014/main" id="{EA9ED509-93C7-4CE5-4E5F-391075E67525}"/>
                </a:ext>
              </a:extLst>
            </p:cNvPr>
            <p:cNvCxnSpPr/>
            <p:nvPr/>
          </p:nvCxnSpPr>
          <p:spPr>
            <a:xfrm>
              <a:off x="8668936" y="1069149"/>
              <a:ext cx="103659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C0F06BD1-6ED7-A60E-1456-5D46E94EC3F6}"/>
                </a:ext>
              </a:extLst>
            </p:cNvPr>
            <p:cNvCxnSpPr/>
            <p:nvPr/>
          </p:nvCxnSpPr>
          <p:spPr>
            <a:xfrm>
              <a:off x="8681656" y="1386183"/>
              <a:ext cx="1036592" cy="0"/>
            </a:xfrm>
            <a:prstGeom prst="line">
              <a:avLst/>
            </a:prstGeom>
            <a:ln w="19050"/>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4039607859"/>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79E4B-A874-EC77-4C3B-6663C6414979}"/>
              </a:ext>
            </a:extLst>
          </p:cNvPr>
          <p:cNvSpPr>
            <a:spLocks noGrp="1"/>
          </p:cNvSpPr>
          <p:nvPr>
            <p:ph type="title"/>
          </p:nvPr>
        </p:nvSpPr>
        <p:spPr/>
        <p:txBody>
          <a:bodyPr anchor="t">
            <a:normAutofit/>
          </a:bodyPr>
          <a:lstStyle/>
          <a:p>
            <a:pPr>
              <a:lnSpc>
                <a:spcPct val="90000"/>
              </a:lnSpc>
            </a:pPr>
            <a:r>
              <a:t>Warum Pflegesatzverhandlungen entscheidend sind</a:t>
            </a:r>
            <a:endParaRPr lang="en-US" sz="1625" dirty="0"/>
          </a:p>
        </p:txBody>
      </p:sp>
      <p:pic>
        <p:nvPicPr>
          <p:cNvPr id="7" name="Content Placeholder 6" descr="Stapel Münzen im Wortbudget.">
            <a:extLst>
              <a:ext uri="{FF2B5EF4-FFF2-40B4-BE49-F238E27FC236}">
                <a16:creationId xmlns:a16="http://schemas.microsoft.com/office/drawing/2014/main" id="{9321F277-9EF9-4C75-B2FB-BEA094168047}"/>
              </a:ext>
            </a:extLst>
          </p:cNvPr>
          <p:cNvPicPr>
            <a:picLocks noGrp="1" noChangeAspect="1"/>
          </p:cNvPicPr>
          <p:nvPr/>
        </p:nvPicPr>
        <p:blipFill>
          <a:blip r:embed="rId3"/>
          <a:srcRect l="18262" r="9839"/>
          <a:stretch>
            <a:fillRect/>
          </a:stretch>
        </p:blipFill>
        <p:spPr>
          <a:xfrm>
            <a:off x="344489" y="1281875"/>
            <a:ext cx="4169080" cy="3725554"/>
          </a:xfrm>
          <a:prstGeom prst="rect">
            <a:avLst/>
          </a:prstGeom>
          <a:noFill/>
        </p:spPr>
      </p:pic>
      <p:sp>
        <p:nvSpPr>
          <p:cNvPr id="5" name="Content Placeholder 4">
            <a:extLst>
              <a:ext uri="{FF2B5EF4-FFF2-40B4-BE49-F238E27FC236}">
                <a16:creationId xmlns:a16="http://schemas.microsoft.com/office/drawing/2014/main" id="{9D1E9F6D-A1BD-3176-967B-FF47741517CE}"/>
              </a:ext>
            </a:extLst>
          </p:cNvPr>
          <p:cNvSpPr>
            <a:spLocks noGrp="1"/>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713444" y="1293459"/>
            <a:ext cx="4704400" cy="4976708"/>
          </a:xfrm>
          <a:prstGeom prst="rect">
            <a:avLst/>
          </a:prstGeom>
        </p:spPr>
        <p:txBody>
          <a:bodyPr>
            <a:normAutofit fontScale="92500" lnSpcReduction="20000"/>
          </a:bodyPr>
          <a:lstStyle>
            <a:lvl1pPr marL="232172" indent="-232172" algn="l" defTabSz="742950" rtl="0" eaLnBrk="1" latinLnBrk="0" hangingPunct="1">
              <a:lnSpc>
                <a:spcPct val="100000"/>
              </a:lnSpc>
              <a:spcBef>
                <a:spcPts val="813"/>
              </a:spcBef>
              <a:buFont typeface="Arial" panose="020B0604020202020204" pitchFamily="34" charset="0"/>
              <a:buChar char="•"/>
              <a:defRPr sz="1138" b="0" i="0" kern="1200">
                <a:solidFill>
                  <a:schemeClr val="tx1"/>
                </a:solidFill>
                <a:latin typeface="+mn-lt"/>
                <a:ea typeface="+mn-ea"/>
                <a:cs typeface="+mn-cs"/>
              </a:defRPr>
            </a:lvl1pPr>
            <a:lvl2pPr marL="417909" indent="-232172" algn="l" defTabSz="742950" rtl="0" eaLnBrk="1" latinLnBrk="0" hangingPunct="1">
              <a:lnSpc>
                <a:spcPct val="100000"/>
              </a:lnSpc>
              <a:spcBef>
                <a:spcPts val="406"/>
              </a:spcBef>
              <a:buFont typeface="Arial" panose="020B0604020202020204" pitchFamily="34" charset="0"/>
              <a:buChar char="•"/>
              <a:defRPr sz="1138" b="0" i="0" kern="1200">
                <a:solidFill>
                  <a:schemeClr val="tx1"/>
                </a:solidFill>
                <a:latin typeface="+mn-lt"/>
                <a:ea typeface="+mn-ea"/>
                <a:cs typeface="+mn-cs"/>
              </a:defRPr>
            </a:lvl2pPr>
            <a:lvl3pPr marL="603647" indent="-232172" algn="l" defTabSz="742950" rtl="0" eaLnBrk="1" latinLnBrk="0" hangingPunct="1">
              <a:lnSpc>
                <a:spcPct val="100000"/>
              </a:lnSpc>
              <a:spcBef>
                <a:spcPts val="406"/>
              </a:spcBef>
              <a:buFont typeface="Arial" panose="020B0604020202020204" pitchFamily="34" charset="0"/>
              <a:buChar char="•"/>
              <a:defRPr sz="1138" b="0" i="0" kern="1200">
                <a:solidFill>
                  <a:schemeClr val="tx1"/>
                </a:solidFill>
                <a:latin typeface="+mn-lt"/>
                <a:ea typeface="+mn-ea"/>
                <a:cs typeface="+mn-cs"/>
              </a:defRPr>
            </a:lvl3pPr>
            <a:lvl4pPr marL="789384" indent="-232172" algn="l" defTabSz="742950" rtl="0" eaLnBrk="1" latinLnBrk="0" hangingPunct="1">
              <a:lnSpc>
                <a:spcPct val="100000"/>
              </a:lnSpc>
              <a:spcBef>
                <a:spcPts val="406"/>
              </a:spcBef>
              <a:buFont typeface="Arial" panose="020B0604020202020204" pitchFamily="34" charset="0"/>
              <a:buChar char="•"/>
              <a:defRPr sz="1138" kern="1200">
                <a:solidFill>
                  <a:schemeClr val="tx1"/>
                </a:solidFill>
                <a:latin typeface="+mn-lt"/>
                <a:ea typeface="+mn-ea"/>
                <a:cs typeface="+mn-cs"/>
              </a:defRPr>
            </a:lvl4pPr>
            <a:lvl5pPr marL="975122" indent="-232172" algn="l" defTabSz="742950" rtl="0" eaLnBrk="1" latinLnBrk="0" hangingPunct="1">
              <a:lnSpc>
                <a:spcPct val="100000"/>
              </a:lnSpc>
              <a:spcBef>
                <a:spcPts val="406"/>
              </a:spcBef>
              <a:buFont typeface="Arial" panose="020B0604020202020204" pitchFamily="34" charset="0"/>
              <a:buChar char="•"/>
              <a:defRPr sz="1138"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0" marR="0" lvl="0"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rgbClr val="6D6F71"/>
                </a:solidFill>
                <a:effectLst/>
                <a:uLnTx/>
                <a:uFillTx/>
                <a:latin typeface="Arial"/>
                <a:ea typeface="+mn-ea"/>
                <a:cs typeface="+mn-cs"/>
              </a:rPr>
              <a:t>Wirtschaftlichen</a:t>
            </a:r>
            <a:r>
              <a:rPr kumimoji="0" lang="en-US" sz="1600" b="1" i="0" u="none" strike="noStrike" kern="1200" cap="none" spc="0" normalizeH="0" baseline="0" noProof="0" dirty="0">
                <a:ln>
                  <a:noFill/>
                </a:ln>
                <a:solidFill>
                  <a:srgbClr val="6D6F71"/>
                </a:solidFill>
                <a:effectLst/>
                <a:uLnTx/>
                <a:uFillTx/>
                <a:latin typeface="Arial"/>
                <a:ea typeface="+mn-ea"/>
                <a:cs typeface="+mn-cs"/>
              </a:rPr>
              <a:t> </a:t>
            </a:r>
            <a:r>
              <a:rPr kumimoji="0" lang="en-US" sz="1600" b="1" i="0" u="none" strike="noStrike" kern="1200" cap="none" spc="0" normalizeH="0" baseline="0" noProof="0" dirty="0" err="1">
                <a:ln>
                  <a:noFill/>
                </a:ln>
                <a:solidFill>
                  <a:srgbClr val="6D6F71"/>
                </a:solidFill>
                <a:effectLst/>
                <a:uLnTx/>
                <a:uFillTx/>
                <a:latin typeface="Arial"/>
                <a:ea typeface="+mn-ea"/>
                <a:cs typeface="+mn-cs"/>
              </a:rPr>
              <a:t>Erfolg</a:t>
            </a:r>
            <a:r>
              <a:rPr kumimoji="0" lang="en-US" sz="1600" b="1" i="0" u="none" strike="noStrike" kern="1200" cap="none" spc="0" normalizeH="0" baseline="0" noProof="0" dirty="0">
                <a:ln>
                  <a:noFill/>
                </a:ln>
                <a:solidFill>
                  <a:srgbClr val="6D6F71"/>
                </a:solidFill>
                <a:effectLst/>
                <a:uLnTx/>
                <a:uFillTx/>
                <a:latin typeface="Arial"/>
                <a:ea typeface="+mn-ea"/>
                <a:cs typeface="+mn-cs"/>
              </a:rPr>
              <a:t> </a:t>
            </a:r>
            <a:r>
              <a:rPr kumimoji="0" lang="en-US" sz="1600" b="1" i="0" u="none" strike="noStrike" kern="1200" cap="none" spc="0" normalizeH="0" baseline="0" noProof="0" dirty="0" err="1">
                <a:ln>
                  <a:noFill/>
                </a:ln>
                <a:solidFill>
                  <a:srgbClr val="6D6F71"/>
                </a:solidFill>
                <a:effectLst/>
                <a:uLnTx/>
                <a:uFillTx/>
                <a:latin typeface="Arial"/>
                <a:ea typeface="+mn-ea"/>
                <a:cs typeface="+mn-cs"/>
              </a:rPr>
              <a:t>sichern</a:t>
            </a:r>
            <a:endParaRPr kumimoji="0" lang="en-US" sz="1600" b="1"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r>
              <a:rPr kumimoji="0" sz="1600" b="0" i="0" u="none" strike="noStrike" kern="1200" cap="none" spc="0" normalizeH="0" baseline="0" noProof="0" dirty="0" err="1">
                <a:ln>
                  <a:noFill/>
                </a:ln>
                <a:solidFill>
                  <a:srgbClr val="6D6F71"/>
                </a:solidFill>
                <a:effectLst/>
                <a:uLnTx/>
                <a:uFillTx/>
                <a:latin typeface="Arial"/>
                <a:ea typeface="+mn-ea"/>
                <a:cs typeface="+mn-cs"/>
              </a:rPr>
              <a:t>Pflegesatzverhandlung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bestimmen</a:t>
            </a:r>
            <a:r>
              <a:rPr kumimoji="0" sz="1600" b="0" i="0" u="none" strike="noStrike" kern="1200" cap="none" spc="0" normalizeH="0" baseline="0" noProof="0" dirty="0">
                <a:ln>
                  <a:noFill/>
                </a:ln>
                <a:solidFill>
                  <a:srgbClr val="6D6F71"/>
                </a:solidFill>
                <a:effectLst/>
                <a:uLnTx/>
                <a:uFillTx/>
                <a:latin typeface="Arial"/>
                <a:ea typeface="+mn-ea"/>
                <a:cs typeface="+mn-cs"/>
              </a:rPr>
              <a:t> die </a:t>
            </a:r>
            <a:r>
              <a:rPr kumimoji="0" sz="1600" b="0" i="0" u="none" strike="noStrike" kern="1200" cap="none" spc="0" normalizeH="0" baseline="0" noProof="0" dirty="0" err="1">
                <a:ln>
                  <a:noFill/>
                </a:ln>
                <a:solidFill>
                  <a:srgbClr val="6D6F71"/>
                </a:solidFill>
                <a:effectLst/>
                <a:uLnTx/>
                <a:uFillTx/>
                <a:latin typeface="Arial"/>
                <a:ea typeface="+mn-ea"/>
                <a:cs typeface="+mn-cs"/>
              </a:rPr>
              <a:t>Vergütung</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sichern</a:t>
            </a:r>
            <a:r>
              <a:rPr kumimoji="0" sz="1600" b="0" i="0" u="none" strike="noStrike" kern="1200" cap="none" spc="0" normalizeH="0" baseline="0" noProof="0" dirty="0">
                <a:ln>
                  <a:noFill/>
                </a:ln>
                <a:solidFill>
                  <a:srgbClr val="6D6F71"/>
                </a:solidFill>
                <a:effectLst/>
                <a:uLnTx/>
                <a:uFillTx/>
                <a:latin typeface="Arial"/>
                <a:ea typeface="+mn-ea"/>
                <a:cs typeface="+mn-cs"/>
              </a:rPr>
              <a:t> die </a:t>
            </a:r>
            <a:r>
              <a:rPr kumimoji="0" sz="1600" b="0" i="0" u="none" strike="noStrike" kern="1200" cap="none" spc="0" normalizeH="0" baseline="0" noProof="0" dirty="0" err="1">
                <a:ln>
                  <a:noFill/>
                </a:ln>
                <a:solidFill>
                  <a:srgbClr val="6D6F71"/>
                </a:solidFill>
                <a:effectLst/>
                <a:uLnTx/>
                <a:uFillTx/>
                <a:latin typeface="Arial"/>
                <a:ea typeface="+mn-ea"/>
                <a:cs typeface="+mn-cs"/>
              </a:rPr>
              <a:t>finanziell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Stabilität</a:t>
            </a:r>
            <a:r>
              <a:rPr kumimoji="0" sz="1600" b="0" i="0" u="none" strike="noStrike" kern="1200" cap="none" spc="0" normalizeH="0" baseline="0" noProof="0" dirty="0">
                <a:ln>
                  <a:noFill/>
                </a:ln>
                <a:solidFill>
                  <a:srgbClr val="6D6F71"/>
                </a:solidFill>
                <a:effectLst/>
                <a:uLnTx/>
                <a:uFillTx/>
                <a:latin typeface="Arial"/>
                <a:ea typeface="+mn-ea"/>
                <a:cs typeface="+mn-cs"/>
              </a:rPr>
              <a:t> der </a:t>
            </a:r>
            <a:r>
              <a:rPr kumimoji="0" sz="1600" b="0" i="0" u="none" strike="noStrike" kern="1200" cap="none" spc="0" normalizeH="0" baseline="0" noProof="0" dirty="0" err="1">
                <a:ln>
                  <a:noFill/>
                </a:ln>
                <a:solidFill>
                  <a:srgbClr val="6D6F71"/>
                </a:solidFill>
                <a:effectLst/>
                <a:uLnTx/>
                <a:uFillTx/>
                <a:latin typeface="Arial"/>
                <a:ea typeface="+mn-ea"/>
                <a:cs typeface="+mn-cs"/>
              </a:rPr>
              <a:t>Pflegeeinrichtung</a:t>
            </a:r>
            <a:r>
              <a:rPr kumimoji="0" sz="1600" b="0" i="0" u="none" strike="noStrike" kern="1200" cap="none" spc="0" normalizeH="0" baseline="0" noProof="0" dirty="0">
                <a:ln>
                  <a:noFill/>
                </a:ln>
                <a:solidFill>
                  <a:srgbClr val="6D6F71"/>
                </a:solidFill>
                <a:effectLst/>
                <a:uLnTx/>
                <a:uFillTx/>
                <a:latin typeface="Arial"/>
                <a:ea typeface="+mn-ea"/>
                <a:cs typeface="+mn-cs"/>
              </a:rPr>
              <a:t>.</a:t>
            </a:r>
            <a:endParaRPr kumimoji="0" lang="de-DE" sz="1600" b="0"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rgbClr val="6D6F71"/>
                </a:solidFill>
                <a:effectLst/>
                <a:uLnTx/>
                <a:uFillTx/>
                <a:latin typeface="Arial"/>
                <a:ea typeface="+mn-ea"/>
                <a:cs typeface="+mn-cs"/>
              </a:rPr>
              <a:t>Investitionen</a:t>
            </a:r>
            <a:r>
              <a:rPr kumimoji="0" lang="en-US" sz="1600" b="1" i="0" u="none" strike="noStrike" kern="1200" cap="none" spc="0" normalizeH="0" baseline="0" noProof="0" dirty="0">
                <a:ln>
                  <a:noFill/>
                </a:ln>
                <a:solidFill>
                  <a:srgbClr val="6D6F71"/>
                </a:solidFill>
                <a:effectLst/>
                <a:uLnTx/>
                <a:uFillTx/>
                <a:latin typeface="Arial"/>
                <a:ea typeface="+mn-ea"/>
                <a:cs typeface="+mn-cs"/>
              </a:rPr>
              <a:t> </a:t>
            </a:r>
            <a:r>
              <a:rPr kumimoji="0" lang="en-US" sz="1600" b="1" i="0" u="none" strike="noStrike" kern="1200" cap="none" spc="0" normalizeH="0" baseline="0" noProof="0" dirty="0" err="1">
                <a:ln>
                  <a:noFill/>
                </a:ln>
                <a:solidFill>
                  <a:srgbClr val="6D6F71"/>
                </a:solidFill>
                <a:effectLst/>
                <a:uLnTx/>
                <a:uFillTx/>
                <a:latin typeface="Arial"/>
                <a:ea typeface="+mn-ea"/>
                <a:cs typeface="+mn-cs"/>
              </a:rPr>
              <a:t>ermöglichen</a:t>
            </a:r>
            <a:endParaRPr kumimoji="0" lang="en-US" sz="1600" b="1"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r>
              <a:rPr kumimoji="0" sz="1600" b="0" i="0" u="none" strike="noStrike" kern="1200" cap="none" spc="0" normalizeH="0" baseline="0" noProof="0" dirty="0" err="1">
                <a:ln>
                  <a:noFill/>
                </a:ln>
                <a:solidFill>
                  <a:srgbClr val="6D6F71"/>
                </a:solidFill>
                <a:effectLst/>
                <a:uLnTx/>
                <a:uFillTx/>
                <a:latin typeface="Arial"/>
                <a:ea typeface="+mn-ea"/>
                <a:cs typeface="+mn-cs"/>
              </a:rPr>
              <a:t>Erfolgreich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Verhandlung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erlaub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Investitionen</a:t>
            </a:r>
            <a:r>
              <a:rPr kumimoji="0" sz="1600" b="0" i="0" u="none" strike="noStrike" kern="1200" cap="none" spc="0" normalizeH="0" baseline="0" noProof="0" dirty="0">
                <a:ln>
                  <a:noFill/>
                </a:ln>
                <a:solidFill>
                  <a:srgbClr val="6D6F71"/>
                </a:solidFill>
                <a:effectLst/>
                <a:uLnTx/>
                <a:uFillTx/>
                <a:latin typeface="Arial"/>
                <a:ea typeface="+mn-ea"/>
                <a:cs typeface="+mn-cs"/>
              </a:rPr>
              <a:t> in Personal, </a:t>
            </a:r>
            <a:r>
              <a:rPr kumimoji="0" sz="1600" b="0" i="0" u="none" strike="noStrike" kern="1200" cap="none" spc="0" normalizeH="0" baseline="0" noProof="0" dirty="0" err="1">
                <a:ln>
                  <a:noFill/>
                </a:ln>
                <a:solidFill>
                  <a:srgbClr val="6D6F71"/>
                </a:solidFill>
                <a:effectLst/>
                <a:uLnTx/>
                <a:uFillTx/>
                <a:latin typeface="Arial"/>
                <a:ea typeface="+mn-ea"/>
                <a:cs typeface="+mn-cs"/>
              </a:rPr>
              <a:t>Ausstattung</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Qualitätssicherung</a:t>
            </a:r>
            <a:r>
              <a:rPr kumimoji="0" sz="1600" b="0" i="0" u="none" strike="noStrike" kern="1200" cap="none" spc="0" normalizeH="0" baseline="0" noProof="0" dirty="0">
                <a:ln>
                  <a:noFill/>
                </a:ln>
                <a:solidFill>
                  <a:srgbClr val="6D6F71"/>
                </a:solidFill>
                <a:effectLst/>
                <a:uLnTx/>
                <a:uFillTx/>
                <a:latin typeface="Arial"/>
                <a:ea typeface="+mn-ea"/>
                <a:cs typeface="+mn-cs"/>
              </a:rPr>
              <a:t>.</a:t>
            </a:r>
            <a:endParaRPr kumimoji="0" lang="de-DE" sz="1600" b="0"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rgbClr val="6D6F71"/>
                </a:solidFill>
                <a:effectLst/>
                <a:uLnTx/>
                <a:uFillTx/>
                <a:latin typeface="Arial"/>
                <a:ea typeface="+mn-ea"/>
                <a:cs typeface="+mn-cs"/>
              </a:rPr>
              <a:t>Strategische</a:t>
            </a:r>
            <a:r>
              <a:rPr kumimoji="0" lang="en-US" sz="1600" b="1" i="0" u="none" strike="noStrike" kern="1200" cap="none" spc="0" normalizeH="0" baseline="0" noProof="0" dirty="0">
                <a:ln>
                  <a:noFill/>
                </a:ln>
                <a:solidFill>
                  <a:srgbClr val="6D6F71"/>
                </a:solidFill>
                <a:effectLst/>
                <a:uLnTx/>
                <a:uFillTx/>
                <a:latin typeface="Arial"/>
                <a:ea typeface="+mn-ea"/>
                <a:cs typeface="+mn-cs"/>
              </a:rPr>
              <a:t> </a:t>
            </a:r>
            <a:r>
              <a:rPr kumimoji="0" lang="en-US" sz="1600" b="1" i="0" u="none" strike="noStrike" kern="1200" cap="none" spc="0" normalizeH="0" baseline="0" noProof="0" dirty="0" err="1">
                <a:ln>
                  <a:noFill/>
                </a:ln>
                <a:solidFill>
                  <a:srgbClr val="6D6F71"/>
                </a:solidFill>
                <a:effectLst/>
                <a:uLnTx/>
                <a:uFillTx/>
                <a:latin typeface="Arial"/>
                <a:ea typeface="+mn-ea"/>
                <a:cs typeface="+mn-cs"/>
              </a:rPr>
              <a:t>Verhandlungsführung</a:t>
            </a:r>
            <a:endParaRPr kumimoji="0" lang="en-US" sz="1600" b="1"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r>
              <a:rPr kumimoji="0" sz="1600" b="0" i="0" u="none" strike="noStrike" kern="1200" cap="none" spc="0" normalizeH="0" baseline="0" noProof="0" dirty="0" err="1">
                <a:ln>
                  <a:noFill/>
                </a:ln>
                <a:solidFill>
                  <a:srgbClr val="6D6F71"/>
                </a:solidFill>
                <a:effectLst/>
                <a:uLnTx/>
                <a:uFillTx/>
                <a:latin typeface="Arial"/>
                <a:ea typeface="+mn-ea"/>
                <a:cs typeface="+mn-cs"/>
              </a:rPr>
              <a:t>Geschäftsführer</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müss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Verhandlung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strategisch</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planen</a:t>
            </a:r>
            <a:r>
              <a:rPr kumimoji="0" sz="1600" b="0" i="0" u="none" strike="noStrike" kern="1200" cap="none" spc="0" normalizeH="0" baseline="0" noProof="0" dirty="0">
                <a:ln>
                  <a:noFill/>
                </a:ln>
                <a:solidFill>
                  <a:srgbClr val="6D6F71"/>
                </a:solidFill>
                <a:effectLst/>
                <a:uLnTx/>
                <a:uFillTx/>
                <a:latin typeface="Arial"/>
                <a:ea typeface="+mn-ea"/>
                <a:cs typeface="+mn-cs"/>
              </a:rPr>
              <a:t>, um </a:t>
            </a:r>
            <a:r>
              <a:rPr kumimoji="0" sz="1600" b="0" i="0" u="none" strike="noStrike" kern="1200" cap="none" spc="0" normalizeH="0" baseline="0" noProof="0" dirty="0" err="1">
                <a:ln>
                  <a:noFill/>
                </a:ln>
                <a:solidFill>
                  <a:srgbClr val="6D6F71"/>
                </a:solidFill>
                <a:effectLst/>
                <a:uLnTx/>
                <a:uFillTx/>
                <a:latin typeface="Arial"/>
                <a:ea typeface="+mn-ea"/>
                <a:cs typeface="+mn-cs"/>
              </a:rPr>
              <a:t>Interessen</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gesetzlich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Anforderung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zu</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erfüllen</a:t>
            </a:r>
            <a:r>
              <a:rPr kumimoji="0" sz="1600" b="0" i="0" u="none" strike="noStrike" kern="1200" cap="none" spc="0" normalizeH="0" baseline="0" noProof="0" dirty="0">
                <a:ln>
                  <a:noFill/>
                </a:ln>
                <a:solidFill>
                  <a:srgbClr val="6D6F71"/>
                </a:solidFill>
                <a:effectLst/>
                <a:uLnTx/>
                <a:uFillTx/>
                <a:latin typeface="Arial"/>
                <a:ea typeface="+mn-ea"/>
                <a:cs typeface="+mn-cs"/>
              </a:rPr>
              <a:t>.</a:t>
            </a:r>
            <a:endParaRPr kumimoji="0" lang="de-DE" sz="1600" b="0"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rgbClr val="6D6F71"/>
                </a:solidFill>
                <a:effectLst/>
                <a:uLnTx/>
                <a:uFillTx/>
                <a:latin typeface="Arial"/>
                <a:ea typeface="+mn-ea"/>
                <a:cs typeface="+mn-cs"/>
              </a:rPr>
              <a:t>Transparenz</a:t>
            </a:r>
            <a:r>
              <a:rPr kumimoji="0" lang="en-US" sz="1600" b="1" i="0" u="none" strike="noStrike" kern="1200" cap="none" spc="0" normalizeH="0" baseline="0" noProof="0" dirty="0">
                <a:ln>
                  <a:noFill/>
                </a:ln>
                <a:solidFill>
                  <a:srgbClr val="6D6F71"/>
                </a:solidFill>
                <a:effectLst/>
                <a:uLnTx/>
                <a:uFillTx/>
                <a:latin typeface="Arial"/>
                <a:ea typeface="+mn-ea"/>
                <a:cs typeface="+mn-cs"/>
              </a:rPr>
              <a:t> und </a:t>
            </a:r>
            <a:r>
              <a:rPr kumimoji="0" lang="en-US" sz="1600" b="1" i="0" u="none" strike="noStrike" kern="1200" cap="none" spc="0" normalizeH="0" baseline="0" noProof="0" dirty="0" err="1">
                <a:ln>
                  <a:noFill/>
                </a:ln>
                <a:solidFill>
                  <a:srgbClr val="6D6F71"/>
                </a:solidFill>
                <a:effectLst/>
                <a:uLnTx/>
                <a:uFillTx/>
                <a:latin typeface="Arial"/>
                <a:ea typeface="+mn-ea"/>
                <a:cs typeface="+mn-cs"/>
              </a:rPr>
              <a:t>Glaubwürdigkeit</a:t>
            </a:r>
            <a:endParaRPr kumimoji="0" lang="en-US" sz="1600" b="1"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r>
              <a:rPr kumimoji="0" sz="1600" b="0" i="0" u="none" strike="noStrike" kern="1200" cap="none" spc="0" normalizeH="0" baseline="0" noProof="0" dirty="0" err="1">
                <a:ln>
                  <a:noFill/>
                </a:ln>
                <a:solidFill>
                  <a:srgbClr val="6D6F71"/>
                </a:solidFill>
                <a:effectLst/>
                <a:uLnTx/>
                <a:uFillTx/>
                <a:latin typeface="Arial"/>
                <a:ea typeface="+mn-ea"/>
                <a:cs typeface="+mn-cs"/>
              </a:rPr>
              <a:t>Nachvollziehbar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Kalkulationen</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klare</a:t>
            </a:r>
            <a:r>
              <a:rPr kumimoji="0" sz="1600" b="0" i="0" u="none" strike="noStrike" kern="1200" cap="none" spc="0" normalizeH="0" baseline="0" noProof="0" dirty="0">
                <a:ln>
                  <a:noFill/>
                </a:ln>
                <a:solidFill>
                  <a:srgbClr val="6D6F71"/>
                </a:solidFill>
                <a:effectLst/>
                <a:uLnTx/>
                <a:uFillTx/>
                <a:latin typeface="Arial"/>
                <a:ea typeface="+mn-ea"/>
                <a:cs typeface="+mn-cs"/>
              </a:rPr>
              <a:t> Argumentation </a:t>
            </a:r>
            <a:r>
              <a:rPr kumimoji="0" sz="1600" b="0" i="0" u="none" strike="noStrike" kern="1200" cap="none" spc="0" normalizeH="0" baseline="0" noProof="0" dirty="0" err="1">
                <a:ln>
                  <a:noFill/>
                </a:ln>
                <a:solidFill>
                  <a:srgbClr val="6D6F71"/>
                </a:solidFill>
                <a:effectLst/>
                <a:uLnTx/>
                <a:uFillTx/>
                <a:latin typeface="Arial"/>
                <a:ea typeface="+mn-ea"/>
                <a:cs typeface="+mn-cs"/>
              </a:rPr>
              <a:t>stärken</a:t>
            </a:r>
            <a:r>
              <a:rPr kumimoji="0" sz="1600" b="0" i="0" u="none" strike="noStrike" kern="1200" cap="none" spc="0" normalizeH="0" baseline="0" noProof="0" dirty="0">
                <a:ln>
                  <a:noFill/>
                </a:ln>
                <a:solidFill>
                  <a:srgbClr val="6D6F71"/>
                </a:solidFill>
                <a:effectLst/>
                <a:uLnTx/>
                <a:uFillTx/>
                <a:latin typeface="Arial"/>
                <a:ea typeface="+mn-ea"/>
                <a:cs typeface="+mn-cs"/>
              </a:rPr>
              <a:t> die </a:t>
            </a:r>
            <a:r>
              <a:rPr kumimoji="0" sz="1600" b="0" i="0" u="none" strike="noStrike" kern="1200" cap="none" spc="0" normalizeH="0" baseline="0" noProof="0" dirty="0" err="1">
                <a:ln>
                  <a:noFill/>
                </a:ln>
                <a:solidFill>
                  <a:srgbClr val="6D6F71"/>
                </a:solidFill>
                <a:effectLst/>
                <a:uLnTx/>
                <a:uFillTx/>
                <a:latin typeface="Arial"/>
                <a:ea typeface="+mn-ea"/>
                <a:cs typeface="+mn-cs"/>
              </a:rPr>
              <a:t>Verhandlungsposition</a:t>
            </a:r>
            <a:r>
              <a:rPr kumimoji="0" sz="1600" b="0" i="0" u="none" strike="noStrike" kern="1200" cap="none" spc="0" normalizeH="0" baseline="0" noProof="0" dirty="0">
                <a:ln>
                  <a:noFill/>
                </a:ln>
                <a:solidFill>
                  <a:srgbClr val="6D6F71"/>
                </a:solidFill>
                <a:effectLst/>
                <a:uLnTx/>
                <a:uFillTx/>
                <a:latin typeface="Arial"/>
                <a:ea typeface="+mn-ea"/>
                <a:cs typeface="+mn-cs"/>
              </a:rPr>
              <a:t> und das </a:t>
            </a:r>
            <a:r>
              <a:rPr kumimoji="0" sz="1600" b="0" i="0" u="none" strike="noStrike" kern="1200" cap="none" spc="0" normalizeH="0" baseline="0" noProof="0" dirty="0" err="1">
                <a:ln>
                  <a:noFill/>
                </a:ln>
                <a:solidFill>
                  <a:srgbClr val="6D6F71"/>
                </a:solidFill>
                <a:effectLst/>
                <a:uLnTx/>
                <a:uFillTx/>
                <a:latin typeface="Arial"/>
                <a:ea typeface="+mn-ea"/>
                <a:cs typeface="+mn-cs"/>
              </a:rPr>
              <a:t>Vertrauen</a:t>
            </a:r>
            <a:r>
              <a:rPr kumimoji="0" sz="1600" b="0" i="0" u="none" strike="noStrike" kern="1200" cap="none" spc="0" normalizeH="0" baseline="0" noProof="0" dirty="0">
                <a:ln>
                  <a:noFill/>
                </a:ln>
                <a:solidFill>
                  <a:srgbClr val="6D6F71"/>
                </a:solidFill>
                <a:effectLst/>
                <a:uLnTx/>
                <a:uFillTx/>
                <a:latin typeface="Arial"/>
                <a:ea typeface="+mn-ea"/>
                <a:cs typeface="+mn-cs"/>
              </a:rPr>
              <a:t>.</a:t>
            </a:r>
            <a:endParaRPr kumimoji="0" lang="en-US" sz="1600" b="0" i="0" u="none" strike="noStrike" kern="1200" cap="none" spc="0" normalizeH="0" baseline="0" noProof="0" dirty="0">
              <a:ln>
                <a:noFill/>
              </a:ln>
              <a:solidFill>
                <a:srgbClr val="6D6F71"/>
              </a:solidFill>
              <a:effectLst/>
              <a:uLnTx/>
              <a:uFillTx/>
              <a:latin typeface="Arial"/>
              <a:ea typeface="+mn-ea"/>
              <a:cs typeface="+mn-cs"/>
            </a:endParaRPr>
          </a:p>
        </p:txBody>
      </p:sp>
      <p:sp>
        <p:nvSpPr>
          <p:cNvPr id="4" name="Foliennummernplatzhalter 3">
            <a:extLst>
              <a:ext uri="{FF2B5EF4-FFF2-40B4-BE49-F238E27FC236}">
                <a16:creationId xmlns:a16="http://schemas.microsoft.com/office/drawing/2014/main" id="{01CD495E-D28C-6EF9-09DF-A726E9D5ECE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322A94-3156-491B-AD20-567107C600A1}" type="slidenum">
              <a:rPr kumimoji="0" lang="en-US"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404040">
                  <a:tint val="75000"/>
                </a:srgbClr>
              </a:solidFill>
              <a:effectLst/>
              <a:uLnTx/>
              <a:uFillTx/>
              <a:latin typeface="Arial"/>
              <a:ea typeface="+mn-ea"/>
              <a:cs typeface="+mn-cs"/>
            </a:endParaRPr>
          </a:p>
        </p:txBody>
      </p:sp>
    </p:spTree>
    <p:extLst>
      <p:ext uri="{BB962C8B-B14F-4D97-AF65-F5344CB8AC3E}">
        <p14:creationId xmlns:p14="http://schemas.microsoft.com/office/powerpoint/2010/main" val="185171935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719D66-04B6-887B-25D3-E3ABD0305DAA}"/>
              </a:ext>
            </a:extLst>
          </p:cNvPr>
          <p:cNvSpPr>
            <a:spLocks noGrp="1"/>
          </p:cNvSpPr>
          <p:nvPr>
            <p:ph type="title"/>
          </p:nvPr>
        </p:nvSpPr>
        <p:spPr/>
        <p:txBody>
          <a:bodyPr anchor="t">
            <a:normAutofit/>
          </a:bodyPr>
          <a:lstStyle/>
          <a:p>
            <a:pPr>
              <a:lnSpc>
                <a:spcPct val="90000"/>
              </a:lnSpc>
            </a:pPr>
            <a:r>
              <a:t>Gesetzliche Vorgaben für Pflegesatzverhandlungen</a:t>
            </a:r>
          </a:p>
        </p:txBody>
      </p:sp>
      <p:pic>
        <p:nvPicPr>
          <p:cNvPr id="7" name="Content Placeholder 6" descr="Kaufvertrag für neues Haus">
            <a:extLst>
              <a:ext uri="{FF2B5EF4-FFF2-40B4-BE49-F238E27FC236}">
                <a16:creationId xmlns:a16="http://schemas.microsoft.com/office/drawing/2014/main" id="{194A1A92-4734-4B1A-BAFE-9E2F8F9BEC6B}"/>
              </a:ext>
            </a:extLst>
          </p:cNvPr>
          <p:cNvPicPr>
            <a:picLocks noGrp="1" noChangeAspect="1"/>
          </p:cNvPicPr>
          <p:nvPr/>
        </p:nvPicPr>
        <p:blipFill>
          <a:blip r:embed="rId3"/>
          <a:srcRect l="9905" r="15399" b="1"/>
          <a:stretch>
            <a:fillRect/>
          </a:stretch>
        </p:blipFill>
        <p:spPr>
          <a:xfrm>
            <a:off x="344488" y="1281875"/>
            <a:ext cx="3990415" cy="3565896"/>
          </a:xfrm>
          <a:prstGeom prst="rect">
            <a:avLst/>
          </a:prstGeom>
          <a:noFill/>
        </p:spPr>
      </p:pic>
      <p:sp>
        <p:nvSpPr>
          <p:cNvPr id="5" name="Content Placeholder 4">
            <a:extLst>
              <a:ext uri="{FF2B5EF4-FFF2-40B4-BE49-F238E27FC236}">
                <a16:creationId xmlns:a16="http://schemas.microsoft.com/office/drawing/2014/main" id="{16260B9D-847C-5127-FD62-7184691B829D}"/>
              </a:ext>
            </a:extLst>
          </p:cNvPr>
          <p:cNvSpPr>
            <a:spLocks noGrp="1"/>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606290" y="1281874"/>
            <a:ext cx="4704400" cy="5043769"/>
          </a:xfrm>
          <a:prstGeom prst="rect">
            <a:avLst/>
          </a:prstGeom>
        </p:spPr>
        <p:txBody>
          <a:bodyPr>
            <a:normAutofit fontScale="92500" lnSpcReduction="20000"/>
          </a:bodyPr>
          <a:lstStyle>
            <a:lvl1pPr marL="232172" indent="-232172" algn="l" defTabSz="742950" rtl="0" eaLnBrk="1" latinLnBrk="0" hangingPunct="1">
              <a:lnSpc>
                <a:spcPct val="100000"/>
              </a:lnSpc>
              <a:spcBef>
                <a:spcPts val="813"/>
              </a:spcBef>
              <a:buFont typeface="Arial" panose="020B0604020202020204" pitchFamily="34" charset="0"/>
              <a:buChar char="•"/>
              <a:defRPr sz="1138" b="0" i="0" kern="1200">
                <a:solidFill>
                  <a:schemeClr val="tx1"/>
                </a:solidFill>
                <a:latin typeface="+mn-lt"/>
                <a:ea typeface="+mn-ea"/>
                <a:cs typeface="+mn-cs"/>
              </a:defRPr>
            </a:lvl1pPr>
            <a:lvl2pPr marL="417909" indent="-232172" algn="l" defTabSz="742950" rtl="0" eaLnBrk="1" latinLnBrk="0" hangingPunct="1">
              <a:lnSpc>
                <a:spcPct val="100000"/>
              </a:lnSpc>
              <a:spcBef>
                <a:spcPts val="406"/>
              </a:spcBef>
              <a:buFont typeface="Arial" panose="020B0604020202020204" pitchFamily="34" charset="0"/>
              <a:buChar char="•"/>
              <a:defRPr sz="1138" b="0" i="0" kern="1200">
                <a:solidFill>
                  <a:schemeClr val="tx1"/>
                </a:solidFill>
                <a:latin typeface="+mn-lt"/>
                <a:ea typeface="+mn-ea"/>
                <a:cs typeface="+mn-cs"/>
              </a:defRPr>
            </a:lvl2pPr>
            <a:lvl3pPr marL="603647" indent="-232172" algn="l" defTabSz="742950" rtl="0" eaLnBrk="1" latinLnBrk="0" hangingPunct="1">
              <a:lnSpc>
                <a:spcPct val="100000"/>
              </a:lnSpc>
              <a:spcBef>
                <a:spcPts val="406"/>
              </a:spcBef>
              <a:buFont typeface="Arial" panose="020B0604020202020204" pitchFamily="34" charset="0"/>
              <a:buChar char="•"/>
              <a:defRPr sz="1138" b="0" i="0" kern="1200">
                <a:solidFill>
                  <a:schemeClr val="tx1"/>
                </a:solidFill>
                <a:latin typeface="+mn-lt"/>
                <a:ea typeface="+mn-ea"/>
                <a:cs typeface="+mn-cs"/>
              </a:defRPr>
            </a:lvl3pPr>
            <a:lvl4pPr marL="789384" indent="-232172" algn="l" defTabSz="742950" rtl="0" eaLnBrk="1" latinLnBrk="0" hangingPunct="1">
              <a:lnSpc>
                <a:spcPct val="100000"/>
              </a:lnSpc>
              <a:spcBef>
                <a:spcPts val="406"/>
              </a:spcBef>
              <a:buFont typeface="Arial" panose="020B0604020202020204" pitchFamily="34" charset="0"/>
              <a:buChar char="•"/>
              <a:defRPr sz="1138" kern="1200">
                <a:solidFill>
                  <a:schemeClr val="tx1"/>
                </a:solidFill>
                <a:latin typeface="+mn-lt"/>
                <a:ea typeface="+mn-ea"/>
                <a:cs typeface="+mn-cs"/>
              </a:defRPr>
            </a:lvl4pPr>
            <a:lvl5pPr marL="975122" indent="-232172" algn="l" defTabSz="742950" rtl="0" eaLnBrk="1" latinLnBrk="0" hangingPunct="1">
              <a:lnSpc>
                <a:spcPct val="100000"/>
              </a:lnSpc>
              <a:spcBef>
                <a:spcPts val="406"/>
              </a:spcBef>
              <a:buFont typeface="Arial" panose="020B0604020202020204" pitchFamily="34" charset="0"/>
              <a:buChar char="•"/>
              <a:defRPr sz="1138"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0" marR="0" lvl="0"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rgbClr val="6D6F71"/>
                </a:solidFill>
                <a:effectLst/>
                <a:uLnTx/>
                <a:uFillTx/>
                <a:latin typeface="Arial"/>
                <a:ea typeface="+mn-ea"/>
                <a:cs typeface="+mn-cs"/>
              </a:rPr>
              <a:t>Rechtliche</a:t>
            </a:r>
            <a:r>
              <a:rPr kumimoji="0" lang="en-US" sz="1600" b="1" i="0" u="none" strike="noStrike" kern="1200" cap="none" spc="0" normalizeH="0" baseline="0" noProof="0" dirty="0">
                <a:ln>
                  <a:noFill/>
                </a:ln>
                <a:solidFill>
                  <a:srgbClr val="6D6F71"/>
                </a:solidFill>
                <a:effectLst/>
                <a:uLnTx/>
                <a:uFillTx/>
                <a:latin typeface="Arial"/>
                <a:ea typeface="+mn-ea"/>
                <a:cs typeface="+mn-cs"/>
              </a:rPr>
              <a:t> </a:t>
            </a:r>
            <a:r>
              <a:rPr kumimoji="0" lang="en-US" sz="1600" b="1" i="0" u="none" strike="noStrike" kern="1200" cap="none" spc="0" normalizeH="0" baseline="0" noProof="0" dirty="0" err="1">
                <a:ln>
                  <a:noFill/>
                </a:ln>
                <a:solidFill>
                  <a:srgbClr val="6D6F71"/>
                </a:solidFill>
                <a:effectLst/>
                <a:uLnTx/>
                <a:uFillTx/>
                <a:latin typeface="Arial"/>
                <a:ea typeface="+mn-ea"/>
                <a:cs typeface="+mn-cs"/>
              </a:rPr>
              <a:t>Grundlagen</a:t>
            </a:r>
            <a:endParaRPr kumimoji="0" lang="en-US" sz="1600" b="1"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r>
              <a:rPr kumimoji="0" sz="1600" b="0" i="0" u="none" strike="noStrike" kern="1200" cap="none" spc="0" normalizeH="0" baseline="0" noProof="0" dirty="0">
                <a:ln>
                  <a:noFill/>
                </a:ln>
                <a:solidFill>
                  <a:srgbClr val="6D6F71"/>
                </a:solidFill>
                <a:effectLst/>
                <a:uLnTx/>
                <a:uFillTx/>
                <a:latin typeface="Arial"/>
                <a:ea typeface="+mn-ea"/>
                <a:cs typeface="+mn-cs"/>
              </a:rPr>
              <a:t>SGB XI und SGB V </a:t>
            </a:r>
            <a:r>
              <a:rPr kumimoji="0" sz="1600" b="0" i="0" u="none" strike="noStrike" kern="1200" cap="none" spc="0" normalizeH="0" baseline="0" noProof="0" dirty="0" err="1">
                <a:ln>
                  <a:noFill/>
                </a:ln>
                <a:solidFill>
                  <a:srgbClr val="6D6F71"/>
                </a:solidFill>
                <a:effectLst/>
                <a:uLnTx/>
                <a:uFillTx/>
                <a:latin typeface="Arial"/>
                <a:ea typeface="+mn-ea"/>
                <a:cs typeface="+mn-cs"/>
              </a:rPr>
              <a:t>regeln</a:t>
            </a:r>
            <a:r>
              <a:rPr kumimoji="0" sz="1600" b="0" i="0" u="none" strike="noStrike" kern="1200" cap="none" spc="0" normalizeH="0" baseline="0" noProof="0" dirty="0">
                <a:ln>
                  <a:noFill/>
                </a:ln>
                <a:solidFill>
                  <a:srgbClr val="6D6F71"/>
                </a:solidFill>
                <a:effectLst/>
                <a:uLnTx/>
                <a:uFillTx/>
                <a:latin typeface="Arial"/>
                <a:ea typeface="+mn-ea"/>
                <a:cs typeface="+mn-cs"/>
              </a:rPr>
              <a:t> die </a:t>
            </a:r>
            <a:r>
              <a:rPr kumimoji="0" sz="1600" b="0" i="0" u="none" strike="noStrike" kern="1200" cap="none" spc="0" normalizeH="0" baseline="0" noProof="0" dirty="0" err="1">
                <a:ln>
                  <a:noFill/>
                </a:ln>
                <a:solidFill>
                  <a:srgbClr val="6D6F71"/>
                </a:solidFill>
                <a:effectLst/>
                <a:uLnTx/>
                <a:uFillTx/>
                <a:latin typeface="Arial"/>
                <a:ea typeface="+mn-ea"/>
                <a:cs typeface="+mn-cs"/>
              </a:rPr>
              <a:t>Finanzierung</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Pflichten</a:t>
            </a:r>
            <a:r>
              <a:rPr kumimoji="0" sz="1600" b="0" i="0" u="none" strike="noStrike" kern="1200" cap="none" spc="0" normalizeH="0" baseline="0" noProof="0" dirty="0">
                <a:ln>
                  <a:noFill/>
                </a:ln>
                <a:solidFill>
                  <a:srgbClr val="6D6F71"/>
                </a:solidFill>
                <a:effectLst/>
                <a:uLnTx/>
                <a:uFillTx/>
                <a:latin typeface="Arial"/>
                <a:ea typeface="+mn-ea"/>
                <a:cs typeface="+mn-cs"/>
              </a:rPr>
              <a:t> der </a:t>
            </a:r>
            <a:r>
              <a:rPr kumimoji="0" sz="1600" b="0" i="0" u="none" strike="noStrike" kern="1200" cap="none" spc="0" normalizeH="0" baseline="0" noProof="0" dirty="0" err="1">
                <a:ln>
                  <a:noFill/>
                </a:ln>
                <a:solidFill>
                  <a:srgbClr val="6D6F71"/>
                </a:solidFill>
                <a:effectLst/>
                <a:uLnTx/>
                <a:uFillTx/>
                <a:latin typeface="Arial"/>
                <a:ea typeface="+mn-ea"/>
                <a:cs typeface="+mn-cs"/>
              </a:rPr>
              <a:t>Pflegeeinrichtungen</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Kostenträger</a:t>
            </a:r>
            <a:r>
              <a:rPr kumimoji="0" sz="1600" b="0" i="0" u="none" strike="noStrike" kern="1200" cap="none" spc="0" normalizeH="0" baseline="0" noProof="0" dirty="0">
                <a:ln>
                  <a:noFill/>
                </a:ln>
                <a:solidFill>
                  <a:srgbClr val="6D6F71"/>
                </a:solidFill>
                <a:effectLst/>
                <a:uLnTx/>
                <a:uFillTx/>
                <a:latin typeface="Arial"/>
                <a:ea typeface="+mn-ea"/>
                <a:cs typeface="+mn-cs"/>
              </a:rPr>
              <a:t>.</a:t>
            </a:r>
            <a:endParaRPr kumimoji="0" lang="de-DE" sz="1600" b="0"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rgbClr val="6D6F71"/>
                </a:solidFill>
                <a:effectLst/>
                <a:uLnTx/>
                <a:uFillTx/>
                <a:latin typeface="Arial"/>
                <a:ea typeface="+mn-ea"/>
                <a:cs typeface="+mn-cs"/>
              </a:rPr>
              <a:t>Vertragsrechtliche</a:t>
            </a:r>
            <a:r>
              <a:rPr kumimoji="0" lang="en-US" sz="1600" b="1" i="0" u="none" strike="noStrike" kern="1200" cap="none" spc="0" normalizeH="0" baseline="0" noProof="0" dirty="0">
                <a:ln>
                  <a:noFill/>
                </a:ln>
                <a:solidFill>
                  <a:srgbClr val="6D6F71"/>
                </a:solidFill>
                <a:effectLst/>
                <a:uLnTx/>
                <a:uFillTx/>
                <a:latin typeface="Arial"/>
                <a:ea typeface="+mn-ea"/>
                <a:cs typeface="+mn-cs"/>
              </a:rPr>
              <a:t> </a:t>
            </a:r>
            <a:r>
              <a:rPr kumimoji="0" lang="en-US" sz="1600" b="1" i="0" u="none" strike="noStrike" kern="1200" cap="none" spc="0" normalizeH="0" baseline="0" noProof="0" dirty="0" err="1">
                <a:ln>
                  <a:noFill/>
                </a:ln>
                <a:solidFill>
                  <a:srgbClr val="6D6F71"/>
                </a:solidFill>
                <a:effectLst/>
                <a:uLnTx/>
                <a:uFillTx/>
                <a:latin typeface="Arial"/>
                <a:ea typeface="+mn-ea"/>
                <a:cs typeface="+mn-cs"/>
              </a:rPr>
              <a:t>Aspekte</a:t>
            </a:r>
            <a:endParaRPr kumimoji="0" lang="en-US" sz="1600" b="1"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r>
              <a:rPr kumimoji="0" sz="1600" b="0" i="0" u="none" strike="noStrike" kern="1200" cap="none" spc="0" normalizeH="0" baseline="0" noProof="0" dirty="0" err="1">
                <a:ln>
                  <a:noFill/>
                </a:ln>
                <a:solidFill>
                  <a:srgbClr val="6D6F71"/>
                </a:solidFill>
                <a:effectLst/>
                <a:uLnTx/>
                <a:uFillTx/>
                <a:latin typeface="Arial"/>
                <a:ea typeface="+mn-ea"/>
                <a:cs typeface="+mn-cs"/>
              </a:rPr>
              <a:t>Pflegeverträge</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Zusatzvereinbarung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erforder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präzis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vertraglich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Gestaltung</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rechtlich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Prüfung</a:t>
            </a:r>
            <a:r>
              <a:rPr kumimoji="0" sz="1600" b="0" i="0" u="none" strike="noStrike" kern="1200" cap="none" spc="0" normalizeH="0" baseline="0" noProof="0" dirty="0">
                <a:ln>
                  <a:noFill/>
                </a:ln>
                <a:solidFill>
                  <a:srgbClr val="6D6F71"/>
                </a:solidFill>
                <a:effectLst/>
                <a:uLnTx/>
                <a:uFillTx/>
                <a:latin typeface="Arial"/>
                <a:ea typeface="+mn-ea"/>
                <a:cs typeface="+mn-cs"/>
              </a:rPr>
              <a:t>.</a:t>
            </a:r>
            <a:endParaRPr kumimoji="0" lang="de-DE" sz="1600" b="0"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rgbClr val="6D6F71"/>
                </a:solidFill>
                <a:effectLst/>
                <a:uLnTx/>
                <a:uFillTx/>
                <a:latin typeface="Arial"/>
                <a:ea typeface="+mn-ea"/>
                <a:cs typeface="+mn-cs"/>
              </a:rPr>
              <a:t>Verhandlungsprozess</a:t>
            </a:r>
            <a:endParaRPr kumimoji="0" lang="en-US" sz="1600" b="1"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r>
              <a:rPr kumimoji="0" sz="1600" b="0" i="0" u="none" strike="noStrike" kern="1200" cap="none" spc="0" normalizeH="0" baseline="0" noProof="0" dirty="0" err="1">
                <a:ln>
                  <a:noFill/>
                </a:ln>
                <a:solidFill>
                  <a:srgbClr val="6D6F71"/>
                </a:solidFill>
                <a:effectLst/>
                <a:uLnTx/>
                <a:uFillTx/>
                <a:latin typeface="Arial"/>
                <a:ea typeface="+mn-ea"/>
                <a:cs typeface="+mn-cs"/>
              </a:rPr>
              <a:t>Pflegesatzverhandlung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erfolge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mit</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Kostenträgern</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unter</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Einhaltung</a:t>
            </a:r>
            <a:r>
              <a:rPr kumimoji="0" sz="1600" b="0" i="0" u="none" strike="noStrike" kern="1200" cap="none" spc="0" normalizeH="0" baseline="0" noProof="0" dirty="0">
                <a:ln>
                  <a:noFill/>
                </a:ln>
                <a:solidFill>
                  <a:srgbClr val="6D6F71"/>
                </a:solidFill>
                <a:effectLst/>
                <a:uLnTx/>
                <a:uFillTx/>
                <a:latin typeface="Arial"/>
                <a:ea typeface="+mn-ea"/>
                <a:cs typeface="+mn-cs"/>
              </a:rPr>
              <a:t> von </a:t>
            </a:r>
            <a:r>
              <a:rPr kumimoji="0" sz="1600" b="0" i="0" u="none" strike="noStrike" kern="1200" cap="none" spc="0" normalizeH="0" baseline="0" noProof="0" dirty="0" err="1">
                <a:ln>
                  <a:noFill/>
                </a:ln>
                <a:solidFill>
                  <a:srgbClr val="6D6F71"/>
                </a:solidFill>
                <a:effectLst/>
                <a:uLnTx/>
                <a:uFillTx/>
                <a:latin typeface="Arial"/>
                <a:ea typeface="+mn-ea"/>
                <a:cs typeface="+mn-cs"/>
              </a:rPr>
              <a:t>Fristen</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Dokumentationspflichten</a:t>
            </a:r>
            <a:r>
              <a:rPr kumimoji="0" sz="1600" b="0" i="0" u="none" strike="noStrike" kern="1200" cap="none" spc="0" normalizeH="0" baseline="0" noProof="0" dirty="0">
                <a:ln>
                  <a:noFill/>
                </a:ln>
                <a:solidFill>
                  <a:srgbClr val="6D6F71"/>
                </a:solidFill>
                <a:effectLst/>
                <a:uLnTx/>
                <a:uFillTx/>
                <a:latin typeface="Arial"/>
                <a:ea typeface="+mn-ea"/>
                <a:cs typeface="+mn-cs"/>
              </a:rPr>
              <a:t>.</a:t>
            </a:r>
            <a:endParaRPr kumimoji="0" lang="de-DE" sz="1600" b="0"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6D6F71"/>
              </a:solidFill>
              <a:effectLst/>
              <a:uLnTx/>
              <a:uFillTx/>
              <a:latin typeface="Arial"/>
              <a:ea typeface="+mn-ea"/>
              <a:cs typeface="+mn-cs"/>
            </a:endParaRPr>
          </a:p>
          <a:p>
            <a:pPr marL="0" marR="0" lvl="0"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rgbClr val="6D6F71"/>
                </a:solidFill>
                <a:effectLst/>
                <a:uLnTx/>
                <a:uFillTx/>
                <a:latin typeface="Arial"/>
                <a:ea typeface="+mn-ea"/>
                <a:cs typeface="+mn-cs"/>
              </a:rPr>
              <a:t>Bedeutung</a:t>
            </a:r>
            <a:r>
              <a:rPr kumimoji="0" lang="en-US" sz="1600" b="1" i="0" u="none" strike="noStrike" kern="1200" cap="none" spc="0" normalizeH="0" baseline="0" noProof="0" dirty="0">
                <a:ln>
                  <a:noFill/>
                </a:ln>
                <a:solidFill>
                  <a:srgbClr val="6D6F71"/>
                </a:solidFill>
                <a:effectLst/>
                <a:uLnTx/>
                <a:uFillTx/>
                <a:latin typeface="Arial"/>
                <a:ea typeface="+mn-ea"/>
                <a:cs typeface="+mn-cs"/>
              </a:rPr>
              <a:t> der </a:t>
            </a:r>
            <a:r>
              <a:rPr kumimoji="0" lang="en-US" sz="1600" b="1" i="0" u="none" strike="noStrike" kern="1200" cap="none" spc="0" normalizeH="0" baseline="0" noProof="0" dirty="0" err="1">
                <a:ln>
                  <a:noFill/>
                </a:ln>
                <a:solidFill>
                  <a:srgbClr val="6D6F71"/>
                </a:solidFill>
                <a:effectLst/>
                <a:uLnTx/>
                <a:uFillTx/>
                <a:latin typeface="Arial"/>
                <a:ea typeface="+mn-ea"/>
                <a:cs typeface="+mn-cs"/>
              </a:rPr>
              <a:t>Vorbereitung</a:t>
            </a:r>
            <a:endParaRPr kumimoji="0" lang="en-US" sz="1600" b="1" i="0" u="none" strike="noStrike" kern="1200" cap="none" spc="0" normalizeH="0" baseline="0" noProof="0" dirty="0">
              <a:ln>
                <a:noFill/>
              </a:ln>
              <a:solidFill>
                <a:srgbClr val="6D6F71"/>
              </a:solidFill>
              <a:effectLst/>
              <a:uLnTx/>
              <a:uFillTx/>
              <a:latin typeface="Arial"/>
              <a:ea typeface="+mn-ea"/>
              <a:cs typeface="+mn-cs"/>
            </a:endParaRPr>
          </a:p>
          <a:p>
            <a:pPr marL="0" marR="0" lvl="1" indent="0" algn="l" defTabSz="742950" rtl="0" eaLnBrk="1" fontAlgn="auto" latinLnBrk="0" hangingPunct="1">
              <a:lnSpc>
                <a:spcPct val="124000"/>
              </a:lnSpc>
              <a:spcBef>
                <a:spcPts val="300"/>
              </a:spcBef>
              <a:spcAft>
                <a:spcPts val="0"/>
              </a:spcAft>
              <a:buClrTx/>
              <a:buSzTx/>
              <a:buFont typeface="Arial" panose="020B0604020202020204" pitchFamily="34" charset="0"/>
              <a:buNone/>
              <a:tabLst/>
              <a:defRPr/>
            </a:pPr>
            <a:r>
              <a:rPr kumimoji="0" sz="1600" b="0" i="0" u="none" strike="noStrike" kern="1200" cap="none" spc="0" normalizeH="0" baseline="0" noProof="0" dirty="0" err="1">
                <a:ln>
                  <a:noFill/>
                </a:ln>
                <a:solidFill>
                  <a:srgbClr val="6D6F71"/>
                </a:solidFill>
                <a:effectLst/>
                <a:uLnTx/>
                <a:uFillTx/>
                <a:latin typeface="Arial"/>
                <a:ea typeface="+mn-ea"/>
                <a:cs typeface="+mn-cs"/>
              </a:rPr>
              <a:t>Rechtlich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Analys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sichert</a:t>
            </a:r>
            <a:r>
              <a:rPr kumimoji="0" sz="1600" b="0" i="0" u="none" strike="noStrike" kern="1200" cap="none" spc="0" normalizeH="0" baseline="0" noProof="0" dirty="0">
                <a:ln>
                  <a:noFill/>
                </a:ln>
                <a:solidFill>
                  <a:srgbClr val="6D6F71"/>
                </a:solidFill>
                <a:effectLst/>
                <a:uLnTx/>
                <a:uFillTx/>
                <a:latin typeface="Arial"/>
                <a:ea typeface="+mn-ea"/>
                <a:cs typeface="+mn-cs"/>
              </a:rPr>
              <a:t> Argumentation ab und </a:t>
            </a:r>
            <a:r>
              <a:rPr kumimoji="0" sz="1600" b="0" i="0" u="none" strike="noStrike" kern="1200" cap="none" spc="0" normalizeH="0" baseline="0" noProof="0" dirty="0" err="1">
                <a:ln>
                  <a:noFill/>
                </a:ln>
                <a:solidFill>
                  <a:srgbClr val="6D6F71"/>
                </a:solidFill>
                <a:effectLst/>
                <a:uLnTx/>
                <a:uFillTx/>
                <a:latin typeface="Arial"/>
                <a:ea typeface="+mn-ea"/>
                <a:cs typeface="+mn-cs"/>
              </a:rPr>
              <a:t>verhindert</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Konflikte</a:t>
            </a:r>
            <a:r>
              <a:rPr kumimoji="0" sz="1600" b="0" i="0" u="none" strike="noStrike" kern="1200" cap="none" spc="0" normalizeH="0" baseline="0" noProof="0" dirty="0">
                <a:ln>
                  <a:noFill/>
                </a:ln>
                <a:solidFill>
                  <a:srgbClr val="6D6F71"/>
                </a:solidFill>
                <a:effectLst/>
                <a:uLnTx/>
                <a:uFillTx/>
                <a:latin typeface="Arial"/>
                <a:ea typeface="+mn-ea"/>
                <a:cs typeface="+mn-cs"/>
              </a:rPr>
              <a:t> und </a:t>
            </a:r>
            <a:r>
              <a:rPr kumimoji="0" sz="1600" b="0" i="0" u="none" strike="noStrike" kern="1200" cap="none" spc="0" normalizeH="0" baseline="0" noProof="0" dirty="0" err="1">
                <a:ln>
                  <a:noFill/>
                </a:ln>
                <a:solidFill>
                  <a:srgbClr val="6D6F71"/>
                </a:solidFill>
                <a:effectLst/>
                <a:uLnTx/>
                <a:uFillTx/>
                <a:latin typeface="Arial"/>
                <a:ea typeface="+mn-ea"/>
                <a:cs typeface="+mn-cs"/>
              </a:rPr>
              <a:t>rechtliche</a:t>
            </a:r>
            <a:r>
              <a:rPr kumimoji="0" sz="1600" b="0" i="0" u="none" strike="noStrike" kern="1200" cap="none" spc="0" normalizeH="0" baseline="0" noProof="0" dirty="0">
                <a:ln>
                  <a:noFill/>
                </a:ln>
                <a:solidFill>
                  <a:srgbClr val="6D6F71"/>
                </a:solidFill>
                <a:effectLst/>
                <a:uLnTx/>
                <a:uFillTx/>
                <a:latin typeface="Arial"/>
                <a:ea typeface="+mn-ea"/>
                <a:cs typeface="+mn-cs"/>
              </a:rPr>
              <a:t> </a:t>
            </a:r>
            <a:r>
              <a:rPr kumimoji="0" sz="1600" b="0" i="0" u="none" strike="noStrike" kern="1200" cap="none" spc="0" normalizeH="0" baseline="0" noProof="0" dirty="0" err="1">
                <a:ln>
                  <a:noFill/>
                </a:ln>
                <a:solidFill>
                  <a:srgbClr val="6D6F71"/>
                </a:solidFill>
                <a:effectLst/>
                <a:uLnTx/>
                <a:uFillTx/>
                <a:latin typeface="Arial"/>
                <a:ea typeface="+mn-ea"/>
                <a:cs typeface="+mn-cs"/>
              </a:rPr>
              <a:t>Auseinandersetzungen</a:t>
            </a:r>
            <a:r>
              <a:rPr kumimoji="0" sz="1600" b="0" i="0" u="none" strike="noStrike" kern="1200" cap="none" spc="0" normalizeH="0" baseline="0" noProof="0" dirty="0">
                <a:ln>
                  <a:noFill/>
                </a:ln>
                <a:solidFill>
                  <a:srgbClr val="6D6F71"/>
                </a:solidFill>
                <a:effectLst/>
                <a:uLnTx/>
                <a:uFillTx/>
                <a:latin typeface="Arial"/>
                <a:ea typeface="+mn-ea"/>
                <a:cs typeface="+mn-cs"/>
              </a:rPr>
              <a:t>.</a:t>
            </a:r>
            <a:endParaRPr kumimoji="0" lang="en-US" sz="1600" b="0" i="0" u="none" strike="noStrike" kern="1200" cap="none" spc="0" normalizeH="0" baseline="0" noProof="0" dirty="0">
              <a:ln>
                <a:noFill/>
              </a:ln>
              <a:solidFill>
                <a:srgbClr val="6D6F71"/>
              </a:solidFill>
              <a:effectLst/>
              <a:uLnTx/>
              <a:uFillTx/>
              <a:latin typeface="Arial"/>
              <a:ea typeface="+mn-ea"/>
              <a:cs typeface="+mn-cs"/>
            </a:endParaRPr>
          </a:p>
        </p:txBody>
      </p:sp>
      <p:sp>
        <p:nvSpPr>
          <p:cNvPr id="4" name="Foliennummernplatzhalter 3">
            <a:extLst>
              <a:ext uri="{FF2B5EF4-FFF2-40B4-BE49-F238E27FC236}">
                <a16:creationId xmlns:a16="http://schemas.microsoft.com/office/drawing/2014/main" id="{B03FA91B-C63C-409B-2790-0CE093F2401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322A94-3156-491B-AD20-567107C600A1}" type="slidenum">
              <a:rPr kumimoji="0" lang="en-US" sz="800" b="0"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404040">
                  <a:tint val="75000"/>
                </a:srgbClr>
              </a:solidFill>
              <a:effectLst/>
              <a:uLnTx/>
              <a:uFillTx/>
              <a:latin typeface="Arial"/>
              <a:ea typeface="+mn-ea"/>
              <a:cs typeface="+mn-cs"/>
            </a:endParaRPr>
          </a:p>
        </p:txBody>
      </p:sp>
    </p:spTree>
    <p:extLst>
      <p:ext uri="{BB962C8B-B14F-4D97-AF65-F5344CB8AC3E}">
        <p14:creationId xmlns:p14="http://schemas.microsoft.com/office/powerpoint/2010/main" val="13078164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5gsAAAAAAAAAAAAAIAD///////////////8AAAD///////////////8DAAAAAgD///////8DAAAAAgD///////8DAAAABAD///////////////////////////////////////////////////////////////////////////////////////////////////////////////////////////////////////////////////////////////////////////////////////////////////////////////////////////////////////////////////////////////////////////////////////////////////////////////////////////////////////////////////////////////////////////////////////////////////////////////////////////////////////////////////////////////////////////////8BACAA////////////////AAAO////////AwAAAAQA////////////////////////////////////////////////////////////////////////////////////////////////////////////////////////////////////////////////////////////////////////////////////////////////////////////////////////////////////////////////////////////////////////////////////////////////////////////////////////////////////////////////////////////////////////////////////////////////////////////////////////////////////////////////////////////////////////////////////////////////////////////////////////AgACAP///////wUAAAACABAAC0ep3gfpk7lCprSComl/asMEAAAAAAADAAAAAAADAAAAAwADAAAAAAADAAAAAwADAAIA////////BQAAAAMAEAALgP3uEwJ1iUua1lBSITXhvAQAAAABAAMAAAACAAMAAAAEAAMAAAACAAMAAAAEAAQAAwD///////8FAAAABAAQAAuvjUbvCCD9Tqvqxx2PZI2PBAAAAAIAAwAAAAMAAwAAAAE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CwOAAAAAAAAAAAAAP////+DAIMAAAAFX2lkABAAAAAER6neB+mTuUKmtIKiaX9qwwNEYXRhABsAAAAETGlua2VkU2hhcGVEYXRhAAUAAAAAAAJOYW1lABkAAABMaW5rZWRTaGFwZXNEYXRhUHJvcGVydHkAEFZlcnNpb24AAAAAAAlMYXN0V3JpdGUA2+z9+3YBAAAAAQD/////nQCdAAAABV9pZAAQAAAABID97hMCdYlLmtZQUiE14bwDRGF0YQAqAAAACFByZXNlbnRhdGlvblNjYW5uZWRGb3JMaW5rZWRTaGFwZXMAAQACTmFtZQAkAAAATGlua2VkU2hhcGVQcmVzZW50YXRpb25TZXR0aW5nc0RhdGEAEFZlcnNpb24AAAAAAAlMYXN0V3JpdGUAFe39+3YBAAAAAgD/////gwCDAAAABV9pZAAQAAAABK+NRu8IIP1Oq+rHHY9kjY8DRGF0YQAbAAAABExpbmtlZFNoYXBlRGF0YQAFAAAAAAACTmFtZQAZAAAATGlua2VkU2hhcGVzRGF0YVByb3BlcnR5ABBWZXJzaW9uAAEAAAAJTGFzdFdyaXRlAAF1CoGW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hCwAAAAAAAAAAAAAgAf///////////////wAAAP///////////////wUAAAADAP///////wUAAAAEAP///////////////////////////////////////////////////////////////////////////////////////////////////////////////////////////////////////////////////////////////////////////////////////////////////////////////////////////////////////////////////////////////////////////////////////////////////////////////////////////////////////////////////////////////////////////////////////////////////////////////////////////////////////////////////////////////////////////////////////////////wEAIAH///////////////8AAA7///////8FAAAABAD///////////////////////////////////////////////////////////////////////////////////////////////////////////////////////////////////////////////////////////////////////////////////////////////////////////////////////////////////////////////////////////////////////////////////////////////////////////////////////////////////////////////////////////////////////////////////////////////////////////////////////////////////////////////////////////////////////////////////////////////////////////////////////8CAAEBAwAAAAIA////////GgAGTGlua2VkU2hhcGVzRGF0YVByb3BlcnR5XzAEAAAAAAAFAAAAAwAFAAAABAADAAEBAwAAAAMA////////JQAGTGlua2VkU2hhcGVQcmVzZW50YXRpb25TZXR0aW5nc0RhdGFfMAQAAAABAAUAAAAAAAUAAAACAAQAAgEDAAAABAD///////8aAAZMaW5rZWRTaGFwZXNEYXRhUHJvcGVydHlfMQQAAAACAAUAAAACAAUAAAABAAU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815184686853419"/>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2gsAAAAAAAAAAAAAIAD///////////////8AAAD///////////////8DAAAAAgD///////8DAAAAAgD///////8DAAAAAgD///////8DAAAAAgD///////8DAAAAAgD///////////////////////////////////////////////////////////////////////////////////////////////////////////////////////////////////////////////////////////////////////////////////////////////////////////////////////////////////////////////////////////////////////////////////////////////////////////////////////////////////////////////////////////////////////////////////////////////////////////////////////////////////////////////8BACAA////////////////AAAO////////AwAAAAQA////////////////////////////////////////////////////////////////////////////////////////////////////////////////////////////////////////////////////////////////////////////////////////////////////////////////////////////////////////////////////////////////////////////////////////////////////////////////////////////////////////////////////////////////////////////////////////////////////////////////////////////////////////////////////////////////////////////////////////////////////////////////////////AgAFAP///////wUAAAACABAAC1YOuHqG0cpNjH6ZyOExqFEEAAAAAAADAAAAAAADAAAAAwADAAAAAAADAAAAAwADAAAAAAD///////8DAAAAAAD///////8DAAAAAAD///////8DAAIA////////BQAAAAMAEAALQv/BoluW1kauTS4/nhNdaAQAAAABAAMAAAACAAMAAAAEAAMAAAACAP///////wQAAQD///////8FAAAABAAQAAsi/K3LAAw4RoRTvbEru9dX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g64eobRyk2MfpnI4TGoUQREYXRhAAUAAAAAAk5hbWUADQAAAExpbmtEYXRhTGlzdAAQVmVyc2lvbgAAAAAACUxhc3RXcml0ZQDi3HY1lwEAAAABAP////9hAGEAAAAFX2lkABAAAAAEQv/BoluW1kauTS4/nhNdaAREYXRhAAUAAAAAAk5hbWUADQAAAExpbmtEYXRhTGlzdAAQVmVyc2lvbgABAAAACUxhc3RXcml0ZQDi3HY1lwEAAAACAP////9wAHAAAAAFX2lkABAAAAAEIvytywAMOEaEU72xK7vXVwNEYXRhABYAAAACUGVyc29uYWxJZAABAAAAAAACTmFtZQALAAAAUGVyc29uYWxJZAAQVmVyc2lvbgAAAAAACUxhc3RXcml0ZQAA3XY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CAP///////wUAAAACAP///////wUAAAACAP///////wUAAAACAP///////wUAAAACAP///////////////////////////////////////////////////////////////////////////////////////////////////////////////////////////////////////////////////////////////////////////////////////////////////////////////////////////////////////////////////////////////////////////////////////////////////////////////////////////////////////////////////////////////////////////////////////////////////////////////////////////////////////////////wEAIAH///////////////8AAA7///////8FAAAABAD///////////////////////////////////////////////////////////////////////////////////////////////////////////////////////////////////////////////////////////////////////////////////////////////////////////////////////////////////////////////////////////////////////////////////////////////////////////////////////////////////////////////////////////////////////////////////////////////////////////////////////////////////////////////////////////////////////////////////////////////////////////////////////8CAAUBAwAAAAIA////////DgAGTGlua0RhdGFMaXN0XzAEAAAAAAAFAAAAAAAFAAAAAwAFAAAAAAAFAAAAAwAFAAAAAAAFAAAABAAFAAAAAAD///////8FAAAAAAD///////8DAAIBAwAAAAMA////////DgAGTGlua0RhdGFMaXN0XzEEAAAAAQAFAAAAAgAFAAAABAAFAAAAAgAFAAAABAAEAAMBAwAAAAQA////////DAAGUGVyc29uYWxJZF8wBAAAAAIABQAAAAMABQAAAAEABQAAAAM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54717760949"/>
  <p:tag name="EMPOWERCHARTSPROPERTIES_B_LENGTH" val="24576"/>
  <p:tag name="DOWN_MIGRATION_INITIAL_LAYOUT_REQUIRED" val="9.2.99"/>
  <p:tag name="RUNTIME_ID" val="fdcb5c2d-ddd2-4ccc-beb7-1406a936479e"/>
</p:tagLst>
</file>

<file path=ppt/tags/tag10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wD///////////////////////////////////////////////////////////////////////////////////////////////////////////////////////////////////////////////////////////////////////////////////////////////////////////////////////////////////////////////////////////////////////////////////////////////////////////////////////////////////////////////////////////////////////////////////////////////////////////////////////////////////////////////////////////////////////////////////////////////8BACAA////////////////AAAO////////AwAAAAMA////////////////////////////////////////////////////////////////////////////////////////////////////////////////////////////////////////////////////////////////////////////////////////////////////////////////////////////////////////////////////////////////////////////////////////////////////////////////////////////////////////////////////////////////////////////////////////////////////////////////////////////////////////////////////////////////////////////////////////////////////////////////////////AgABAP///////wUAAAACABAAC4qGzyuKdIpBsNlEqXwP9mIEAAAAAAADAAAAAAADAAAABAADAAIA////////BQAAAAMAEAALAdbPzBKZl0aWbhtNJQOCswQAAAABAAMAAAAEAAMAAAABAAMAAAAAAP///////wQAAQD///////8FAAAABAAQAAvxoiFeBLlmRJtkflHTC2Tz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obPK4p0ikGw2USpfA/2YgREYXRhAAUAAAAAAk5hbWUADQAAAExpbmtEYXRhTGlzdAAQVmVyc2lvbgABAAAACUxhc3RXcml0ZQDrB3c1lwEAAAABAP////9hAGEAAAAFX2lkABAAAAAEAdbPzBKZl0aWbhtNJQOCswREYXRhAAUAAAAAAk5hbWUADQAAAExpbmtEYXRhTGlzdAAQVmVyc2lvbgAAAAAACUxhc3RXcml0ZQDrB3c1lwEAAAACAP////9wAHAAAAAFX2lkABAAAAAE8aIhXgS5ZkSbZH5R0wtk8wNEYXRhABYAAAACUGVyc29uYWxJZAABAAAAAAACTmFtZQALAAAAUGVyc29uYWxJZAAQVmVyc2lvbgAAAAAACUxhc3RXcml0ZQD+B3c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EAP///////////////////////////////////////////////////////////////////////////////////////////////////////////////////////////////////////////////////////////////////////////////////////////////////////////////////////////////////////////////////////////////////////////////////////////////////////////////////////////////////////////////////////////////////////////////////////////////////////////////////////////////////////////////////////////////////////////////wEAIAH///////////////8AAA7///////8FAAAABAD///////////////////////////////////////////////////////////////////////////////////////////////////////////////////////////////////////////////////////////////////////////////////////////////////////////////////////////////////////////////////////////////////////////////////////////////////////////////////////////////////////////////////////////////////////////////////////////////////////////////////////////////////////////////////////////////////////////////////////////////////////////////////////8CAAEBAwAAAAIA////////DgAGTGlua0RhdGFMaXN0XzEEAAAAAAAFAAAAAwAFAAAABAADAAIBAwAAAAMA////////DgAGTGlua0RhdGFMaXN0XzAEAAAAAQAFAAAAAAAFAAAAAgAFAAAAAAAFAAAABAAEAAMBAwAAAAQA////////DAAGUGVyc29uYWxJZF8wBAAAAAIABQAAAAI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54827622146"/>
  <p:tag name="EMPOWERCHARTSPROPERTIES_B_LENGTH" val="24576"/>
  <p:tag name="DOWN_MIGRATION_INITIAL_LAYOUT_REQUIRED" val="9.2.99"/>
  <p:tag name="RUNTIME_ID" val="5bba2c3e-c304-438e-9146-d17ce19e1604"/>
</p:tagLst>
</file>

<file path=ppt/tags/tag10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2gsAAAAAAAAAAAAAIAD///////////////8AAAD///////////////8DAAAABAD///////8DAAAABAD///////8DAAAABAD///////8DAAAABAD///////////////////////////////////////////////////////////////////////////////////////////////////////////////////////////////////////////////////////////////////////////////////////////////////////////////////////////////////////////////////////////////////////////////////////////////////////////////////////////////////////////////////////////////////////////////////////////////////////////////////////////////////////////////////////////////8BACAA////////////////AAAO////////AwAAAAMA////////////////////////////////////////////////////////////////////////////////////////////////////////////////////////////////////////////////////////////////////////////////////////////////////////////////////////////////////////////////////////////////////////////////////////////////////////////////////////////////////////////////////////////////////////////////////////////////////////////////////////////////////////////////////////////////////////////////////////////////////////////////////////AgACAP///////wUAAAACABAAC9waUaJN11JNhar35T+ssHQEAAAAAAADAAAABAADAAAAAwADAAAABAADAAAAAwADAAIA////////BQAAAAMAEAAL+PobzexEL0yjpkAf6hEYSQQAAAABAAMAAAACAAMAAAABAAMAAAACAP///////wQABAD///////8FAAAABAAQAAsEXUc2HyXVQIbtf4oURsTFBAAAAAIAAwAAAAAAAw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BpRok3XUk2FqvflP6ywdAREYXRhAAUAAAAAAk5hbWUADQAAAExpbmtEYXRhTGlzdAAQVmVyc2lvbgAAAAAACUxhc3RXcml0ZQAZCHc1lwEAAAABAP////9hAGEAAAAFX2lkABAAAAAE+PobzexEL0yjpkAf6hEYSQREYXRhAAUAAAAAAk5hbWUADQAAAExpbmtEYXRhTGlzdAAQVmVyc2lvbgABAAAACUxhc3RXcml0ZQAZCHc1lwEAAAACAP////9wAHAAAAAFX2lkABAAAAAEBF1HNh8l1UCG7X+KFEbExQNEYXRhABYAAAACUGVyc29uYWxJZAABAAAAAAACTmFtZQALAAAAUGVyc29uYWxJZAAQVmVyc2lvbgAAAAAACUxhc3RXcml0ZQA4CHc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54828454735"/>
  <p:tag name="EMPOWERCHARTSPROPERTIES_B_LENGTH" val="24576"/>
  <p:tag name="DOWN_MIGRATION_INITIAL_LAYOUT_REQUIRED" val="9.2.99"/>
  <p:tag name="RUNTIME_ID" val="25053c79-aab1-43bc-b506-74a3ad0f9842"/>
</p:tagLst>
</file>

<file path=ppt/tags/tag10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MAAAAAAAAAAwAAAAMAAAAA/////wUACgwAAAAAAAAAAAAAIAD///////////////8AAAD///////////////8DAAAAAgD///////8DAAAAAgD///////////////////////////////////////////////////////////////////////////////////////////////////////////////////////////////////////////////////////////////////////////////////////////////////////////////////////////////////////////////////////////////////////////////////////////////////////////////////////////////////////////////////////////////////////////////////////////////////////////////////////////////////////////////////////////////////////////////////////////////8BACAA////////////////AAAO////////AwAAAAQA////////////////////////////////////////////////////////////////////////////////////////////////////////////////////////////////////////////////////////////////////////////////////////////////////////////////////////////////////////////////////////////////////////////////////////////////////////////////////////////////////////////////////////////////////////////////////////////////////////////////////////////////////////////////////////////////////////////////////////////////////////////////////////AgACAP///////wUAAAACABAACxhVNAEgwcVHlJGZkEcOQ3cEAAAAAAADAAAAAAADAAAAAwADAAAAAAD///////8DAAEA////////BQAAAAMAEAAL3xIgSR1kRkifsNLwzqK4dQQAAAABAAMAAAACAAMAAAAEAAQAAQD///////8FAAAABAAQAAs/L1Ba5iY3RIfiB5OPPIro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FU0ASDBxUeUkZmQRw5DdwREYXRhAAUAAAAAAk5hbWUADQAAAExpbmtEYXRhTGlzdAAQVmVyc2lvbgABAAAACUxhc3RXcml0ZQCDCnc1lwEAAAABAP////9hAGEAAAAFX2lkABAAAAAE3xIgSR1kRkifsNLwzqK4dQREYXRhAAUAAAAAAk5hbWUADQAAAExpbmtEYXRhTGlzdAAQVmVyc2lvbgAAAAAACUxhc3RXcml0ZQCDCnc1lwEAAAACAP////9wAHAAAAAFX2lkABAAAAAEPy9QWuYmN0SH4geTjzyK6ANEYXRhABYAAAACUGVyc29uYWxJZAABAAAAAAACTmFtZQALAAAAUGVyc29uYWxJZAAQVmVyc2lvbgAAAAAACUxhc3RXcml0ZQCUCnc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CAP///////wUAAAAEAP///////wUAAAAEAP///////wUAAAAEAP///////wUAAAAEAP///////////////////////////////////////////////////////////////////////////////////////////////////////////////////////////////////////////////////////////////////////////////////////////////////////////////////////////////////////////////////////////////////////////////////////////////////////////////////////////////////////////////////////////////////////////////////////////////////////////////////////////////wEAIAH///////////////8AAA7///////8FAAAABAD///////////////////////////////////////////////////////////////////////////////////////////////////////////////////////////////////////////////////////////////////////////////////////////////////////////////////////////////////////////////////////////////////////////////////////////////////////////////////////////////////////////////////////////////////////////////////////////////////////////////////////////////////////////////////////////////////////////////////////////////////////////////////////8CAAIBAwAAAAIA////////DgAGTGlua0RhdGFMaXN0XzEEAAAAAAAFAAAAAwAFAAAABAAFAAAAAAAFAAAABAADAAEBAwAAAAMA////////DgAGTGlua0RhdGFMaXN0XzAEAAAAAQAFAAAAAAAFAAAAAgAEAAYBAwAAAAQA////////DAAGUGVyc29uYWxJZF8wBAAAAAIABQAAAAIABQAAAAEABQAAAAI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54834287233"/>
  <p:tag name="EMPOWERCHARTSPROPERTIES_B_LENGTH" val="24576"/>
  <p:tag name="DOWN_MIGRATION_INITIAL_LAYOUT_REQUIRED" val="9.2.99"/>
  <p:tag name="RUNTIME_ID" val="7ff7d9c0-db51-49b1-ad4c-c913a172e471"/>
</p:tagLst>
</file>

<file path=ppt/tags/tag10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tgsAAAAAAAAAAAAAIAD///////////////8AAAD///////////////8DAAAABAD///////8DAAAABAD///////8DAAAABAD///////8DAAAAAgD///////////////////////////////////////////////////////////////////////////////////////////////////////////////////////////////////////////////////////////////////////////////////////////////////////////////////////////////////////////////////////////////////////////////////////////////////////////////////////////////////////////////////////////////////////////////////////////////////////////////////////////////////////////////////////////////8BACAA////////////////AAAO////////AwAAAAMA////////////////////////////////////////////////////////////////////////////////////////////////////////////////////////////////////////////////////////////////////////////////////////////////////////////////////////////////////////////////////////////////////////////////////////////////////////////////////////////////////////////////////////////////////////////////////////////////////////////////////////////////////////////////////////////////////////////////////////////////////////////////////////AgAEAP///////wUAAAACABAACzwEl0Xy5WpMv7njyBy/ud0EAAAAAAADAAAABAADAAAAAwADAAAABAADAAAAAwADAAAABAADAAAAAwADAAAAAAADAAAAAwADAAQA////////BQAAAAMAEAALO8Oz/YGgVkiNhXMdVXaA4gQAAAABAAMAAAACAAMAAAABAAMAAAACAP///////wMAAAACAP///////wMAAAACAP///////wQAAwD///////8FAAAABAAQAAtZG10nRdfySoC7Y2ll1vEHBAAAAAIAAwAAAAAAAw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ASXRfLlaky/uePIHL+53QREYXRhAAUAAAAAAk5hbWUADQAAAExpbmtEYXRhTGlzdAAQVmVyc2lvbgABAAAACUxhc3RXcml0ZQA7vq41lwEAAAABAP////9hAGEAAAAFX2lkABAAAAAEO8Oz/YGgVkiNhXMdVXaA4gREYXRhAAUAAAAAAk5hbWUADQAAAExpbmtEYXRhTGlzdAAQVmVyc2lvbgAAAAAACUxhc3RXcml0ZQArvq41lwEAAAACAP////9wAHAAAAAFX2lkABAAAAAEWRtdJ0XX8kqAu2NpZdbxBwNEYXRhABYAAAACUGVyc29uYWxJZAABAAAAAAACTmFtZQALAAAAUGVyc29uYWxJZAAQVmVyc2lvbgAAAAAACUxhc3RXcml0ZQBZvq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DAP///////wUAAAADAP///////////////////////////////////////////////////////////////////////////////////////////////////////////////////////////////////////////////////////////////////////////////////////////////////////////////////////////////////////////////////////////////////////////////////////////////////////////////////////////////////////////////////////////////////////////////////////////////////////////////////////////////////////////////////////////////wEAIAH///////////////8AAA7///////8FAAAABAD///////////////////////////////////////////////////////////////////////////////////////////////////////////////////////////////////////////////////////////////////////////////////////////////////////////////////////////////////////////////////////////////////////////////////////////////////////////////////////////////////////////////////////////////////////////////////////////////////////////////////////////////////////////////////////////////////////////////////////////////////////////////////////8CAAQBAwAAAAIA////////DgAGTGlua0RhdGFMaXN0XzEEAAAAAAAFAAAAAwAFAAAABAAFAAAAAwD///////8FAAAAAwD///////8FAAAAAwD///////8DAAQBAwAAAAMA////////DgAGTGlua0RhdGFMaXN0XzAEAAAAAQAFAAAAAAAFAAAAAgAFAAAAAAAFAAAAAg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91339455657"/>
  <p:tag name="EMPOWERCHARTSPROPERTIES_B_LENGTH" val="24576"/>
  <p:tag name="DOWN_MIGRATION_INITIAL_LAYOUT_REQUIRED" val="9.2.99"/>
  <p:tag name="RUNTIME_ID" val="10eb4b5d-4a8b-45d2-a4bd-48c7081f9b36"/>
</p:tagLst>
</file>

<file path=ppt/tags/tag10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wUAzgsAAAAAAAAAAAAAIAD///////////////8AAAD///////////////8DAAAAAgD///////8DAAAAAgD///////8DAAAAAgD///////8DAAAAAgD///////8DAAAAAgD///////8DAAAAAgD///////8DAAAAAgD///////////////////////////////////////////////////////////////////////////////////////////////////////////////////////////////////////////////////////////////////////////////////////////////////////////////////////////////////////////////////////////////////////////////////////////////////////////////////////////////////////////////////////////////////////////////////////////////////////////////8BACAA////////////////AAAO////////AwAAAAQA////////////////////////////////////////////////////////////////////////////////////////////////////////////////////////////////////////////////////////////////////////////////////////////////////////////////////////////////////////////////////////////////////////////////////////////////////////////////////////////////////////////////////////////////////////////////////////////////////////////////////////////////////////////////////////////////////////////////////////////////////////////////////////AgAHAP///////wUAAAACABAAC/3wYmPY+11Gu+Gs14KK8o4EAAAAAAADAAAAAAADAAAAAwADAAAAAAD///////8DAAAAAAD///////8DAAAAAAD///////8DAAAAAAD///////8DAAAAAAD///////8DAAAAAAD///////8DAAEA////////BQAAAAMAEAALGJwIaT7IgU+/PZbdLlThUAQAAAABAAMAAAACAAMAAAAEAAQAAQD///////8FAAAABAAQAAuaisa7VO7GQ6rxReLgrJi5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BiY9j7XUa74azXgoryjgREYXRhAAUAAAAAAk5hbWUADQAAAExpbmtEYXRhTGlzdAAQVmVyc2lvbgAAAAAACUxhc3RXcml0ZQC2vq41lwEAAAABAP////9hAGEAAAAFX2lkABAAAAAEGJwIaT7IgU+/PZbdLlThUAREYXRhAAUAAAAAAk5hbWUADQAAAExpbmtEYXRhTGlzdAAQVmVyc2lvbgABAAAACUxhc3RXcml0ZQC2vq41lwEAAAACAP////9wAHAAAAAFX2lkABAAAAAEmorGu1TuxkOq8UXi4KyYuQNEYXRhABYAAAACUGVyc29uYWxJZAABAAAAAAACTmFtZQALAAAAUGVyc29uYWxJZAAQVmVyc2lvbgAAAAAACUxhc3RXcml0ZQDGvq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UAAAACAP///////wUAAAACAP///////wUAAAACAP///////////////////////////////////////////////////////////////////////////////////////////////////////////////////////////////////////////////////////////////////////////////////////////////////////////////////////////////////////////////////////////////////////////////////////////////////////////////////////////////////////////////////////////////////////////////////////////////////////////////wEAIAH///////////////8AAA7///////8FAAAABAD///////////////////////////////////////////////////////////////////////////////////////////////////////////////////////////////////////////////////////////////////////////////////////////////////////////////////////////////////////////////////////////////////////////////////////////////////////////////////////////////////////////////////////////////////////////////////////////////////////////////////////////////////////////////////////////////////////////////////////////////////////////////////////8CAAcBAwAAAAIA////////DgAGTGlua0RhdGFMaXN0XzAEAAAAAAAFAAAAAAAFAAAAAwAFAAAAAAD///////8FAAAAAAD///////8FAAAAAAD///////8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91340477295"/>
  <p:tag name="EMPOWERCHARTSPROPERTIES_B_LENGTH" val="24576"/>
  <p:tag name="DOWN_MIGRATION_INITIAL_LAYOUT_REQUIRED" val="9.2.99"/>
  <p:tag name="RUNTIME_ID" val="a8b808b3-0e80-474e-abe2-c57bf180160b"/>
</p:tagLst>
</file>

<file path=ppt/tags/tag106.xml><?xml version="1.0" encoding="utf-8"?>
<p:tagLst xmlns:a="http://schemas.openxmlformats.org/drawingml/2006/main" xmlns:r="http://schemas.openxmlformats.org/officeDocument/2006/relationships" xmlns:p="http://schemas.openxmlformats.org/presentationml/2006/main">
  <p:tag name="MIO_SHAPETYPES_TEXTELEMENT" val="MIO_FOOTNOTE"/>
  <p:tag name="MIO_GUID" val="a157cc83-2741-44ad-8ec9-61ce4e2c7685"/>
  <p:tag name="MIO_EK" val="652"/>
  <p:tag name="MIO_EKGUID" val="8b0b4110-6ccd-4223-a904-7c58940fb73f"/>
  <p:tag name="MIO_UPDATE" val="True"/>
  <p:tag name="MIO_VERSION" val="08.02.2021 13:37:34"/>
  <p:tag name="MIO_DBID" val="F71ED0A2-672B-4E8B-BF42-C978919BF8E2"/>
  <p:tag name="MIO_LASTDOWNLOADED" val="12.04.2023 15:50:42.919"/>
  <p:tag name="MIO_OBJECTNAME" val="Fußnote_Quelle"/>
  <p:tag name="MIO_LASTEDITORNAME" val="Daniela Heisig"/>
</p:tagLst>
</file>

<file path=ppt/tags/tag107.xml><?xml version="1.0" encoding="utf-8"?>
<p:tagLst xmlns:a="http://schemas.openxmlformats.org/drawingml/2006/main" xmlns:r="http://schemas.openxmlformats.org/officeDocument/2006/relationships" xmlns:p="http://schemas.openxmlformats.org/presentationml/2006/main">
  <p:tag name="MIO_SHAPETYPES_TEXTELEMENT" val="MIO_FOOTNOTE"/>
  <p:tag name="MIO_GUID" val="a157cc83-2741-44ad-8ec9-61ce4e2c7685"/>
  <p:tag name="MIO_EK" val="652"/>
  <p:tag name="MIO_EKGUID" val="8b0b4110-6ccd-4223-a904-7c58940fb73f"/>
  <p:tag name="MIO_UPDATE" val="True"/>
  <p:tag name="MIO_VERSION" val="08.02.2021 13:37:34"/>
  <p:tag name="MIO_DBID" val="F71ED0A2-672B-4E8B-BF42-C978919BF8E2"/>
  <p:tag name="MIO_LASTDOWNLOADED" val="12.04.2023 15:50:42.919"/>
  <p:tag name="MIO_OBJECTNAME" val="Fußnote_Quelle"/>
  <p:tag name="MIO_LASTEDITORNAME" val="Daniela Heisig"/>
</p:tagLst>
</file>

<file path=ppt/tags/tag10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qgsAAAAAAAAAAAAAIAD///////////////8AAAD///////////////8DAAAAAgD///////8DAAAAAgD///////8DAAAAAwD///////8DAAAAAwD///////8DAAAAAwD///////////////////////////////////////////////////////////////////////////////////////////////////////////////////////////////////////////////////////////////////////////////////////////////////////////////////////////////////////////////////////////////////////////////////////////////////////////////////////////////////////////////////////////////////////////////////////////////////////////////////////////////////////////////8BACAA////////////////AAAO////////AwAAAAQA////////////////////////////////////////////////////////////////////////////////////////////////////////////////////////////////////////////////////////////////////////////////////////////////////////////////////////////////////////////////////////////////////////////////////////////////////////////////////////////////////////////////////////////////////////////////////////////////////////////////////////////////////////////////////////////////////////////////////////////////////////////////////////AgACAP///////wUAAAACABAAC+X5cDzlN+dGifBKK2NzzVEEAAAAAAADAAAAAAADAAAAAwADAAAAAAADAAAAAwADAAUA////////BQAAAAMAEAAL9bqDdH7cwkWJ/MjiAoGK/QQAAAABAAMAAAACAAMAAAAEAAMAAAACAAMAAAAEAAMAAAAAAAMAAAAEAAMAAAAAAAMAAAAEAAMAAAAAAAMAAAAEAAQABQD///////8FAAAABAAQAAvz0bLjPC7SQ6TR6VaHjwRQBAAAAAIAAwAAAAMAAwAAAAEAAwAAAAMA////////AwAAAAM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5flwPOU350aJ8EorY3PNUQREYXRhAAUAAAAAAk5hbWUADQAAAExpbmtEYXRhTGlzdAAQVmVyc2lvbgABAAAACUxhc3RXcml0ZQBxwKE1lwEAAAABAP////9hAGEAAAAFX2lkABAAAAAE9bqDdH7cwkWJ/MjiAoGK/QREYXRhAAUAAAAAAk5hbWUADQAAAExpbmtEYXRhTGlzdAAQVmVyc2lvbgAAAAAACUxhc3RXcml0ZQBxwKE1lwEAAAACAP////9wAHAAAAAFX2lkABAAAAAE89Gy4zwu0kOk0elWh48EUANEYXRhABYAAAACUGVyc29uYWxJZAABAAAAAAACTmFtZQALAAAAUGVyc29uYWxJZAAQVmVyc2lvbgAAAAAACUxhc3RXcml0ZQCRwKE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UAAAADAP///////////////////////////////////////////////////////////////////////////////////////////////////////////////////////////////////////////////////////////////////////////////////////////////////////////////////////////////////////////////////////////////////////////////////////////////////////////////////////////////////////////////////////////////////////////////////////////////////////////////////////////////////////////////wEAIAH///////////////8AAA7///////8FAAAABAD///////////////////////////////////////////////////////////////////////////////////////////////////////////////////////////////////////////////////////////////////////////////////////////////////////////////////////////////////////////////////////////////////////////////////////////////////////////////////////////////////////////////////////////////////////////////////////////////////////////////////////////////////////////////////////////////////////////////////////////////////////////////////////8CAAIBAwAAAAIA////////DgAGTGlua0RhdGFMaXN0XzEEAAAAAAAFAAAAAwAFAAAABAAFAAAAAwD///////8DAAUBAwAAAAMA////////DgAGTGlua0RhdGFMaXN0XzAEAAAAAQAFAAAAAAAFAAAAAg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82825309097"/>
  <p:tag name="EMPOWERCHARTSPROPERTIES_B_LENGTH" val="24576"/>
  <p:tag name="DOWN_MIGRATION_INITIAL_LAYOUT_REQUIRED" val="9.2.99"/>
  <p:tag name="RUNTIME_ID" val="aa757304-a160-40cd-98d7-51f217a5e0fd"/>
</p:tagLst>
</file>

<file path=ppt/tags/tag109.xml><?xml version="1.0" encoding="utf-8"?>
<p:tagLst xmlns:a="http://schemas.openxmlformats.org/drawingml/2006/main" xmlns:r="http://schemas.openxmlformats.org/officeDocument/2006/relationships" xmlns:p="http://schemas.openxmlformats.org/presentationml/2006/main">
  <p:tag name="MIO_GUID" val="364de5f9-7294-4197-8dd5-fa4e50037d3c"/>
  <p:tag name="MIO_EKGUID" val="6942188f-3d13-4455-b352-24a2d9666838"/>
  <p:tag name="MIO_UPDATE" val="True"/>
  <p:tag name="MIO_VERSION" val="03.11.2020 10:14:14"/>
  <p:tag name="MIO_DBID" val="F71ED0A2-672B-4E8B-BF42-C978919BF8E2"/>
  <p:tag name="MIO_LASTDOWNLOADED" val="03.11.2020 20:29:04.748"/>
  <p:tag name="MIO_OBJECTNAME" val="Master_Neu"/>
  <p:tag name="MIO_LASTEDITORNAME" val="Janine Eulert"/>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S77tk6Sr4di2oHQ2xy7Fg"/>
</p:tagLst>
</file>

<file path=ppt/tags/tag112.xml><?xml version="1.0" encoding="utf-8"?>
<p:tagLst xmlns:a="http://schemas.openxmlformats.org/drawingml/2006/main" xmlns:r="http://schemas.openxmlformats.org/officeDocument/2006/relationships" xmlns:p="http://schemas.openxmlformats.org/presentationml/2006/main">
  <p:tag name="EMPOWERBULLETV2" val="empowerBulletV2"/>
  <p:tag name="MIO_GUID" val="f278e369-e05e-4869-b35c-c70ca8ffef1c"/>
  <p:tag name="MIO_EKGUID" val="a562dd9f-18de-4c84-861f-614774ac3957"/>
  <p:tag name="MIO_UPDATE" val="True"/>
  <p:tag name="MIO_VERSION" val="28.03.2021 19:02:56"/>
  <p:tag name="MIO_DBID" val="F71ED0A2-672B-4E8B-BF42-C978919BF8E2"/>
  <p:tag name="MIO_LASTDOWNLOADED" val="13.03.2024 08:47:14.293"/>
  <p:tag name="MIO_OBJECTNAME" val="_Textbox_Standard_14pt_oben"/>
  <p:tag name="MIO_LASTEDITORNAME" val="Daniela Heisig"/>
</p:tagLst>
</file>

<file path=ppt/tags/tag113.xml><?xml version="1.0" encoding="utf-8"?>
<p:tagLst xmlns:a="http://schemas.openxmlformats.org/drawingml/2006/main" xmlns:r="http://schemas.openxmlformats.org/officeDocument/2006/relationships" xmlns:p="http://schemas.openxmlformats.org/presentationml/2006/main">
  <p:tag name="EMPOWERBULLETV2" val="empowerBulletV2"/>
  <p:tag name="MIO_GUID" val="f278e369-e05e-4869-b35c-c70ca8ffef1c"/>
  <p:tag name="MIO_EKGUID" val="a562dd9f-18de-4c84-861f-614774ac3957"/>
  <p:tag name="MIO_UPDATE" val="True"/>
  <p:tag name="MIO_VERSION" val="28.03.2021 19:02:56"/>
  <p:tag name="MIO_DBID" val="F71ED0A2-672B-4E8B-BF42-C978919BF8E2"/>
  <p:tag name="MIO_LASTDOWNLOADED" val="13.03.2024 15:27:40.402"/>
  <p:tag name="MIO_OBJECTNAME" val="_Textbox_Standard_14pt_oben"/>
  <p:tag name="MIO_LASTEDITORNAME" val="Daniela Heisig"/>
</p:tagLst>
</file>

<file path=ppt/tags/tag114.xml><?xml version="1.0" encoding="utf-8"?>
<p:tagLst xmlns:a="http://schemas.openxmlformats.org/drawingml/2006/main" xmlns:r="http://schemas.openxmlformats.org/officeDocument/2006/relationships" xmlns:p="http://schemas.openxmlformats.org/presentationml/2006/main">
  <p:tag name="MIO_EK" val="1738"/>
  <p:tag name="MIO_GUID" val="5765716e-60f4-4bc5-8f57-bfb060e09e43"/>
  <p:tag name="MIO_EKGUID" val="5d3f4c3f-4a0e-469c-bae2-3436577180ed"/>
  <p:tag name="MIO_UPDATE" val="True"/>
  <p:tag name="MIO_VERSION" val="04.12.2020 14:27:52"/>
  <p:tag name="MIO_DBID" val="F71ED0A2-672B-4E8B-BF42-C978919BF8E2"/>
  <p:tag name="MIO_LASTDOWNLOADED" val="13.03.2024 15:39:36.074"/>
  <p:tag name="MIO_OBJECTNAME" val="Blitz_Achtung"/>
  <p:tag name="MIO_LASTEDITORNAME" val="Janine Eulert"/>
</p:tagLst>
</file>

<file path=ppt/tags/tag115.xml><?xml version="1.0" encoding="utf-8"?>
<p:tagLst xmlns:a="http://schemas.openxmlformats.org/drawingml/2006/main" xmlns:r="http://schemas.openxmlformats.org/officeDocument/2006/relationships" xmlns:p="http://schemas.openxmlformats.org/presentationml/2006/main">
  <p:tag name="MIO_GUID" val="0a5b5f4c-a21e-4231-9a04-844f1b939c21"/>
  <p:tag name="MIO_EKGUID" val="3bd898d3-54c8-417d-af7c-15ed776fb1f1"/>
  <p:tag name="MIO_UPDATE" val="True"/>
  <p:tag name="MIO_VERSION" val="20.03.2021 21:50:51"/>
  <p:tag name="MIO_DBID" val="F71ED0A2-672B-4E8B-BF42-C978919BF8E2"/>
  <p:tag name="MIO_LASTDOWNLOADED" val="13.03.2024 15:40:50.426"/>
  <p:tag name="MIO_OBJECTNAME" val="Post-it gelb klein"/>
  <p:tag name="MIO_LASTEDITORNAME" val="Daniela Heisig"/>
</p:tagLst>
</file>

<file path=ppt/tags/tag116.xml><?xml version="1.0" encoding="utf-8"?>
<p:tagLst xmlns:a="http://schemas.openxmlformats.org/drawingml/2006/main" xmlns:r="http://schemas.openxmlformats.org/officeDocument/2006/relationships" xmlns:p="http://schemas.openxmlformats.org/presentationml/2006/main">
  <p:tag name="MIO_GUID" val="757d2e24-3a2e-4dd9-81f2-435eb32d49c2"/>
</p:tagLst>
</file>

<file path=ppt/tags/tag117.xml><?xml version="1.0" encoding="utf-8"?>
<p:tagLst xmlns:a="http://schemas.openxmlformats.org/drawingml/2006/main" xmlns:r="http://schemas.openxmlformats.org/officeDocument/2006/relationships" xmlns:p="http://schemas.openxmlformats.org/presentationml/2006/main">
  <p:tag name="MIO_GUID" val="be9f5207-e579-4e60-9060-50d7e54561ca"/>
</p:tagLst>
</file>

<file path=ppt/tags/tag118.xml><?xml version="1.0" encoding="utf-8"?>
<p:tagLst xmlns:a="http://schemas.openxmlformats.org/drawingml/2006/main" xmlns:r="http://schemas.openxmlformats.org/officeDocument/2006/relationships" xmlns:p="http://schemas.openxmlformats.org/presentationml/2006/main">
  <p:tag name="MIO_GUID" val="364de5f9-7294-4197-8dd5-fa4e50037d3c"/>
  <p:tag name="MIO_EKGUID" val="6942188f-3d13-4455-b352-24a2d9666838"/>
  <p:tag name="MIO_UPDATE" val="True"/>
  <p:tag name="MIO_VERSION" val="03.11.2020 10:14:14"/>
  <p:tag name="MIO_DBID" val="F71ED0A2-672B-4E8B-BF42-C978919BF8E2"/>
  <p:tag name="MIO_LASTDOWNLOADED" val="03.11.2020 20:29:04.748"/>
  <p:tag name="MIO_OBJECTNAME" val="Master_Neu"/>
  <p:tag name="MIO_LASTEDITORNAME" val="Janine Eulert"/>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S8J5A2c5OlKQ9N_u77.a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uS77tk6Sr4di2oHQ2xy7Fg"/>
</p:tagLst>
</file>

<file path=ppt/tags/tag121.xml><?xml version="1.0" encoding="utf-8"?>
<p:tagLst xmlns:a="http://schemas.openxmlformats.org/drawingml/2006/main" xmlns:r="http://schemas.openxmlformats.org/officeDocument/2006/relationships" xmlns:p="http://schemas.openxmlformats.org/presentationml/2006/main">
  <p:tag name="EMPOWERBULLETV2" val="empowerBulletV2"/>
  <p:tag name="MIO_GUID" val="f278e369-e05e-4869-b35c-c70ca8ffef1c"/>
  <p:tag name="MIO_EKGUID" val="a562dd9f-18de-4c84-861f-614774ac3957"/>
  <p:tag name="MIO_UPDATE" val="True"/>
  <p:tag name="MIO_VERSION" val="28.03.2021 19:02:56"/>
  <p:tag name="MIO_DBID" val="F71ED0A2-672B-4E8B-BF42-C978919BF8E2"/>
  <p:tag name="MIO_LASTDOWNLOADED" val="13.03.2024 08:47:14.293"/>
  <p:tag name="MIO_OBJECTNAME" val="_Textbox_Standard_14pt_oben"/>
  <p:tag name="MIO_LASTEDITORNAME" val="Daniela Heisig"/>
</p:tagLst>
</file>

<file path=ppt/tags/tag122.xml><?xml version="1.0" encoding="utf-8"?>
<p:tagLst xmlns:a="http://schemas.openxmlformats.org/drawingml/2006/main" xmlns:r="http://schemas.openxmlformats.org/officeDocument/2006/relationships" xmlns:p="http://schemas.openxmlformats.org/presentationml/2006/main">
  <p:tag name="EMPOWERBULLETV2" val="empowerBulletV2"/>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wMAgAwAAAAAAAAAAAAAIAD///////////////8AAAD///////////////8DAAAAAgD///////////////////////////////////////////////////////////////////////////////////////////////////////////////////////////////////////////////////////////////////////////////////////////////////////////////////////////////////////////////////////////////////////////////////////////////////////////////////////////////////////////////////////////////////////////////////////////////////////////////////////////////////////////////////////////////////////////////////////////////////////////////8BACAA////////////////AAAO////////AwAAAAIA////////////////////////////////////////////////////////////////////////////////////////////////////////////////////////////////////////////////////////////////////////////////////////////////////////////////////////////////////////////////////////////////////////////////////////////////////////////////////////////////////////////////////////////////////////////////////////////////////////////////////////////////////////////////////////////////////////////////////////////////////////////////////////AgABAP///////wQAAAACABAAC1Ed4iWwdItFohMtV4ZmeJ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Ed4iWwdItFohMtV4ZmeJUDRGF0YQAWAAAAAlBlcnNvbmFsSWQAAQAAAAAAAk5hbWUACwAAAFBlcnNvbmFsSWQAEFZlcnNpb24AAAAAAAlMYXN0V3JpdGUAhCJ9B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93808380785830"/>
  <p:tag name="EMPOWERCHARTSPROPERTIES_A_LENGTH" val="24576"/>
  <p:tag name="RUNTIME_ID" val="9d00923f-e76f-4f34-8d8d-47f17d9d3724"/>
</p:tagLst>
</file>

<file path=ppt/tags/tag12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EBAQEBAQEBAQEBAQEBAQEAAAAAAAAAAwAAAAMAAAAA/////wMALAwAAAAAAAAAAAAAIAD///////////////8AAAD///////////////8DAAAAAgD///////8DAAAAAgD///////8DAAAAAgD///////8DAAAAAgD///////8DAAAAAgD///////8DAAAAAgD///////8DAAAAAgD///////8DAAAAAgD///////////////////////////////////////////////////////////////////////////////////////////////////////////////////////////////////////////////////////////////////////////////////////////////////////////////////////////////////////////////////////////////////////////////////////////////////////////////////////////////////////////////////////////////////////////////////////////////8BACAA////////////////AAAO////////AwAAAAIA////////////////////////////////////////////////////////////////////////////////////////////////////////////////////////////////////////////////////////////////////////////////////////////////////////////////////////////////////////////////////////////////////////////////////////////////////////////////////////////////////////////////////////////////////////////////////////////////////////////////////////////////////////////////////////////////////////////////////////////////////////////////////////AgAIAP///////wQAAAACABAAC4hnU7u11bVNtPbk78i8sxgFAAAAAAADAAAAAAADAAAAAQADAAAAAAD///////8DAAAAAAD///////8DAAAAAAD///////8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hnU7u11bVNtPbk78i8sxgDRGF0YQAWAAAAAlBlcnNvbmFsSWQAAQAAAAAAAk5hbWUACwAAAFBlcnNvbmFsSWQAEFZlcnNpb24AAAAAAAlMYXN0V3JpdGUAFyN9B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93808381828099"/>
  <p:tag name="EMPOWERCHARTSPROPERTIES_A_LENGTH" val="24576"/>
  <p:tag name="RUNTIME_ID" val="41b95a91-b958-4464-909c-a82662ee2fc2"/>
</p:tagLst>
</file>

<file path=ppt/tags/tag124.xml><?xml version="1.0" encoding="utf-8"?>
<p:tagLst xmlns:a="http://schemas.openxmlformats.org/drawingml/2006/main" xmlns:r="http://schemas.openxmlformats.org/officeDocument/2006/relationships" xmlns:p="http://schemas.openxmlformats.org/presentationml/2006/main">
  <p:tag name="EMPOWERBULLETV2" val="empowerBulletV2"/>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1GGqdAyKuVGjQ1hqBLaCA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GGqdAyKuVGjQ1hqBLaCAsDRGF0YQAWAAAAAlBlcnNvbmFsSWQAAQAAAAAAAk5hbWUACwAAAFBlcnNvbmFsSWQAEFZlcnNpb24AAAAAAAlMYXN0V3JpdGUANiN9B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93808382206097"/>
  <p:tag name="EMPOWERCHARTSPROPERTIES_A_LENGTH" val="24576"/>
  <p:tag name="RUNTIME_ID" val="0ef39303-e247-458f-96fe-7a86a90b40cd"/>
</p:tagLst>
</file>

<file path=ppt/tags/tag12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wMAdAwAAAAAAAAAAAAAIAD///////////////8AAAD///////////////8DAAAAAgD///////8DAAAAAgD///////////////////////////////////////////////////////////////////////////////////////////////////////////////////////////////////////////////////////////////////////////////////////////////////////////////////////////////////////////////////////////////////////////////////////////////////////////////////////////////////////////////////////////////////////////////////////////////////////////////////////////////////////////////////////////////////////////////////////////////8BACAA////////////////AAAO////////AwAAAAIA////////////////////////////////////////////////////////////////////////////////////////////////////////////////////////////////////////////////////////////////////////////////////////////////////////////////////////////////////////////////////////////////////////////////////////////////////////////////////////////////////////////////////////////////////////////////////////////////////////////////////////////////////////////////////////////////////////////////////////////////////////////////////////AgACAP///////wQAAAACABAACxWWbTdrhUxLhQi0VxHZ3FU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BWWbTdrhUxLhQi0VxHZ3FUDRGF0YQAWAAAAAlBlcnNvbmFsSWQAAQAAAAAAAk5hbWUACwAAAFBlcnNvbmFsSWQAEFZlcnNpb24AAAAAAAlMYXN0V3JpdGUATCN9B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93808382518868"/>
  <p:tag name="EMPOWERCHARTSPROPERTIES_A_LENGTH" val="24576"/>
  <p:tag name="RUNTIME_ID" val="de233e02-a9f9-4888-baf3-7ca25fb26d16"/>
</p:tagLst>
</file>

<file path=ppt/tags/tag12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zbNR86/LE9LvQ6FwWX9Zp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bNR86/LE9LvQ6FwWX9ZpUDRGF0YQAWAAAAAlBlcnNvbmFsSWQAAQAAAAAAAk5hbWUACwAAAFBlcnNvbmFsSWQAEFZlcnNpb24AAAAAAAlMYXN0V3JpdGUAayN9B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93808382831287"/>
  <p:tag name="EMPOWERCHARTSPROPERTIES_A_LENGTH" val="24576"/>
  <p:tag name="RUNTIME_ID" val="06e9b6cf-1a80-4125-ad24-e1e9848f51b2"/>
</p:tagLst>
</file>

<file path=ppt/tags/tag12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EBAQEBAQEBAQEBAQEBAQEAAAAAAAAAAwAAAAMAAAAA/////wMAOAwAAAAAAAAAAAAAIAD///////////////8AAAD///////////////8DAAAAAgD///////8DAAAAAgD///////8DAAAAAgD///////8DAAAAAgD///////8DAAAAAgD///////8DAAAAAgD///////8DAAAAAgD///////////////////////////////////////////////////////////////////////////////////////////////////////////////////////////////////////////////////////////////////////////////////////////////////////////////////////////////////////////////////////////////////////////////////////////////////////////////////////////////////////////////////////////////////////////////////////////////////////////////8BACAA////////////////AAAO////////AwAAAAIA////////////////////////////////////////////////////////////////////////////////////////////////////////////////////////////////////////////////////////////////////////////////////////////////////////////////////////////////////////////////////////////////////////////////////////////////////////////////////////////////////////////////////////////////////////////////////////////////////////////////////////////////////////////////////////////////////////////////////////////////////////////////////////AgAHAP///////wQAAAACABAACw9Vcp82fTVLvR+HuY/nj4MFAAAAAAADAAAAAAADAAAAAQADAAAAAAD///////8DAAAAAAD///////8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9Vcp82fTVLvR+HuY/nj4MDRGF0YQAWAAAAAlBlcnNvbmFsSWQAAQAAAAAAAk5hbWUACwAAAFBlcnNvbmFsSWQAEFZlcnNpb24AAAAAAAlMYXN0V3JpdGUAmiN9B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93808383208731"/>
  <p:tag name="EMPOWERCHARTSPROPERTIES_A_LENGTH" val="24576"/>
  <p:tag name="RUNTIME_ID" val="5b898b50-91a5-4801-b058-2be6ce5187f3"/>
</p:tagLst>
</file>

<file path=ppt/tags/tag12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EAAAAAAAAAAwAAAAMAAAAA/////wMAdAwAAAAAAAAAAAAAIAD///////////////8AAAD///////////////8DAAAAAgD///////8DAAAAAgD///////////////////////////////////////////////////////////////////////////////////////////////////////////////////////////////////////////////////////////////////////////////////////////////////////////////////////////////////////////////////////////////////////////////////////////////////////////////////////////////////////////////////////////////////////////////////////////////////////////////////////////////////////////////////////////////////////////////////////////////8BACAA////////////////AAAO////////AwAAAAIA////////////////////////////////////////////////////////////////////////////////////////////////////////////////////////////////////////////////////////////////////////////////////////////////////////////////////////////////////////////////////////////////////////////////////////////////////////////////////////////////////////////////////////////////////////////////////////////////////////////////////////////////////////////////////////////////////////////////////////////////////////////////////////AgACAP///////wQAAAACABAAC2hIhp/ZjGZIkj+zWEwj/8I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FQMAAAAAAAAAAAAACAB////////////////AAAA////////////////BAAAAAIA////////BAAAAAIA////////BAAAAAIA////////BAAAAAIA////////BAAAAAIA////////////////////////////////////////////////////////////////////////////////////////////////////////////////////////////////////////////////////////////////////////////////////////////////////////////////////////////////////////////////////////////////////////////////////////////////////////////////////////////////////////////////////////////////////////////////////////////////////////////////////////////////////////////////AQAgAf///////////////wAADv///////wQAAAACAP///////////////////////////////////////////////////////////////////////////////////////////////////////////////////////////////////////////////////////////////////////////////////////////////////////////////////////////////////////////////////////////////////////////////////////////////////////////////////////////////////////////////////////////////////////////////////////////////////////////////////////////////////////////////////////////////////////////////////////////////////////////////////////wIABQEDAAAAAgD///////8MAAZQZXJzb25hbElkXzAFAAAAAAAEAAAAAAAEAAAAAQA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GhIhp/ZjGZIkj+zWEwj/8IDRGF0YQAWAAAAAlBlcnNvbmFsSWQAAQAAAAAAAk5hbWUACwAAAFBlcnNvbmFsSWQAEFZlcnNpb24AAAAAAAlMYXN0V3JpdGUAwCN9B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93808383521514"/>
  <p:tag name="EMPOWERCHARTSPROPERTIES_A_LENGTH" val="24576"/>
  <p:tag name="RUNTIME_ID" val="08e4cf73-aec4-4029-815d-aa3c64cb5db6"/>
</p:tagLst>
</file>

<file path=ppt/tags/tag129.xml><?xml version="1.0" encoding="utf-8"?>
<p:tagLst xmlns:a="http://schemas.openxmlformats.org/drawingml/2006/main" xmlns:r="http://schemas.openxmlformats.org/officeDocument/2006/relationships" xmlns:p="http://schemas.openxmlformats.org/presentationml/2006/main">
  <p:tag name="MIO_GUID" val="880a4a66-8fec-4523-bd4c-cd4c45a2fb7d"/>
  <p:tag name="MIO_EK" val="1581"/>
  <p:tag name="MIO_EKGUID" val="d6ab74d3-761f-48ed-9e32-c598fa03f8ea"/>
  <p:tag name="MIO_UPDATE" val="True"/>
  <p:tag name="MIO_VERSION" val="04.09.2017 15:34:22"/>
  <p:tag name="MIO_DBID" val="93CE0FBA-B3BB-4E1E-BBB6-A9A62221D87F"/>
  <p:tag name="MIO_LASTDOWNLOADED" val="30.01.2019 13:49:47"/>
  <p:tag name="MIO_OBJECTNAME" val="Triangle blackberry"/>
  <p:tag name="MIO_LASTEDITORNAME" val="Jörn Presterl"/>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w//RyYdCl5HuLR/uOROMl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RyYdCl5HuLR/uOROMlQDRGF0YQAWAAAAAlBlcnNvbmFsSWQAAQAAAAAAAk5hbWUACwAAAFBlcnNvbmFsSWQAEFZlcnNpb24AAAAAAAlMYXN0V3JpdGUA3yN9B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93808383833907"/>
  <p:tag name="EMPOWERCHARTSPROPERTIES_A_LENGTH" val="24576"/>
  <p:tag name="RUNTIME_ID" val="7566e3c4-f6e5-40da-9aaf-656e7920f5dd"/>
</p:tagLst>
</file>

<file path=ppt/tags/tag13.xml><?xml version="1.0" encoding="utf-8"?>
<p:tagLst xmlns:a="http://schemas.openxmlformats.org/drawingml/2006/main" xmlns:r="http://schemas.openxmlformats.org/officeDocument/2006/relationships" xmlns:p="http://schemas.openxmlformats.org/presentationml/2006/main">
  <p:tag name="MIO_FALLBACK_LAYOUT" val="3"/>
  <p:tag name="MIO_SHOW_DATE" val="False"/>
  <p:tag name="MIO_SHOW_FOOTER" val="False"/>
  <p:tag name="MIO_SHOW_PAGENUMBER" val="True"/>
  <p:tag name="MIO_AVOID_BLANK_LAYOUT" val="True"/>
  <p:tag name="MIO_CD_LAYOUT_VALID_AREA" val="False"/>
  <p:tag name="MIO_NUMBER_OF_VALID_LAYOUTS" val="10"/>
  <p:tag name="MIO_HDS" val="True"/>
  <p:tag name="MIO_SKIPVERSION" val="01.01.0001 00:00:00"/>
  <p:tag name="MIO_EKGUID" val="3aa13002-4a92-457a-bec6-30e6201b5dc7"/>
  <p:tag name="MIO_UPDATE" val="True"/>
  <p:tag name="MIO_DBID" val="F71ED0A2-672B-4E8B-BF42-C978919BF8E2"/>
  <p:tag name="MIO_OBJECTNAME" val="Curacon Master A4"/>
  <p:tag name="MIO_EMBED_FONT" val="False"/>
  <p:tag name="MIO_MATCH_COLOR_SCHEME" val="False"/>
  <p:tag name="MIO_VERSION" val="12.06.2025 11:59:58"/>
  <p:tag name="MIO_CONTENTTAG" val="vhU9X4ywO0q/qVtfvDoY8A=="/>
  <p:tag name="MIO_LASTDOWNLOADED" val="01.12.2025 20:10:40.691"/>
  <p:tag name="MIO_CDID" val="05b0b4d6-e096-47ba-838b-591dcade8541"/>
</p:tagLst>
</file>

<file path=ppt/tags/tag130.xml><?xml version="1.0" encoding="utf-8"?>
<p:tagLst xmlns:a="http://schemas.openxmlformats.org/drawingml/2006/main" xmlns:r="http://schemas.openxmlformats.org/officeDocument/2006/relationships" xmlns:p="http://schemas.openxmlformats.org/presentationml/2006/main">
  <p:tag name="MIO_EKGUID" val="82c390cd-9182-42d1-8a66-72fe10f9dc62"/>
  <p:tag name="MIO_GUID" val="7e601f9d-3b88-4543-8af6-285694afad5b"/>
  <p:tag name="MIO_UPDATE" val="True"/>
  <p:tag name="MIO_VERSION" val="27.04.2022 07:44:50"/>
  <p:tag name="MIO_DBID" val="F71ED0A2-672B-4E8B-BF42-C978919BF8E2"/>
  <p:tag name="MIO_LASTDOWNLOADED" val="13.03.2024 16:03:32.458"/>
  <p:tag name="MIO_OBJECTNAME" val="Händeschütteln_Fläche_Hintergrund"/>
  <p:tag name="MIO_LASTEDITORNAME" val="Jule Kettler"/>
</p:tagLst>
</file>

<file path=ppt/tags/tag131.xml><?xml version="1.0" encoding="utf-8"?>
<p:tagLst xmlns:a="http://schemas.openxmlformats.org/drawingml/2006/main" xmlns:r="http://schemas.openxmlformats.org/officeDocument/2006/relationships" xmlns:p="http://schemas.openxmlformats.org/presentationml/2006/main">
  <p:tag name="MIO_EKGUID" val="29e2cd4a-bb00-4644-8f53-c0910b17ff47"/>
  <p:tag name="MIO_GUID" val="933c9148-fff6-42d2-be9b-c9e8259eb03c"/>
  <p:tag name="MIO_UPDATE" val="True"/>
  <p:tag name="MIO_VERSION" val="11.05.2022 05:51:30"/>
  <p:tag name="MIO_DBID" val="F71ED0A2-672B-4E8B-BF42-C978919BF8E2"/>
  <p:tag name="MIO_LASTDOWNLOADED" val="13.03.2024 15:56:30.437"/>
  <p:tag name="MIO_OBJECTNAME" val="Kugelschreiber_Kreis"/>
  <p:tag name="MIO_LASTEDITORNAME" val="Jule Kettler"/>
</p:tagLst>
</file>

<file path=ppt/tags/tag132.xml><?xml version="1.0" encoding="utf-8"?>
<p:tagLst xmlns:a="http://schemas.openxmlformats.org/drawingml/2006/main" xmlns:r="http://schemas.openxmlformats.org/officeDocument/2006/relationships" xmlns:p="http://schemas.openxmlformats.org/presentationml/2006/main">
  <p:tag name="MIO_EKGUID" val="31b090d6-2a26-4f25-883b-59bd67ab7b8d"/>
  <p:tag name="MIO_GUID" val="3a52995a-d3dc-4a87-a08e-4160638f2f4e"/>
  <p:tag name="MIO_UPDATE" val="True"/>
  <p:tag name="MIO_VERSION" val="04.05.2022 09:56:17"/>
  <p:tag name="MIO_DBID" val="F71ED0A2-672B-4E8B-BF42-C978919BF8E2"/>
  <p:tag name="MIO_LASTDOWNLOADED" val="13.03.2024 15:59:16.420"/>
  <p:tag name="MIO_OBJECTNAME" val="Klemmbrett_Kreis"/>
  <p:tag name="MIO_LASTEDITORNAME" val="Jule Kettler"/>
</p:tagLst>
</file>

<file path=ppt/tags/tag133.xml><?xml version="1.0" encoding="utf-8"?>
<p:tagLst xmlns:a="http://schemas.openxmlformats.org/drawingml/2006/main" xmlns:r="http://schemas.openxmlformats.org/officeDocument/2006/relationships" xmlns:p="http://schemas.openxmlformats.org/presentationml/2006/main">
  <p:tag name="MIO_GUID" val="05458d05-10a7-40bb-9186-b987c5657070"/>
  <p:tag name="MIO_EK" val="1909"/>
  <p:tag name="MIO_EK_DESIGN" val="543"/>
  <p:tag name="MIO_VERSION_DESIGN" val="12.05.2015 12:19:14"/>
  <p:tag name="MIO_DBID_DESIGN" val="5A6B061C-4E0F-4296-8318-E7D2B78CDA89"/>
  <p:tag name="MIO_EKGUID" val="38a83528-5772-4c00-a0b1-047fc631a2e8"/>
  <p:tag name="MIO_UPDATE" val="True"/>
  <p:tag name="MIO_VERSION" val="22.01.2021 13:05:59"/>
  <p:tag name="MIO_DBID" val="F71ED0A2-672B-4E8B-BF42-C978919BF8E2"/>
  <p:tag name="MIO_LASTDOWNLOADED" val="13.03.2024 15:51:35.912"/>
  <p:tag name="MIO_OBJECTNAME" val="Projektplan_2"/>
  <p:tag name="MIO_LASTEDITORNAME" val="Janine Eulert"/>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A.9VGTZhtk8V.tbVu8Z7w"/>
</p:tagLst>
</file>

<file path=ppt/tags/tag136.xml><?xml version="1.0" encoding="utf-8"?>
<p:tagLst xmlns:a="http://schemas.openxmlformats.org/drawingml/2006/main" xmlns:r="http://schemas.openxmlformats.org/officeDocument/2006/relationships" xmlns:p="http://schemas.openxmlformats.org/presentationml/2006/main">
  <p:tag name="MIO_GUID" val="364de5f9-7294-4197-8dd5-fa4e50037d3c"/>
  <p:tag name="MIO_EKGUID" val="6942188f-3d13-4455-b352-24a2d9666838"/>
  <p:tag name="MIO_UPDATE" val="True"/>
  <p:tag name="MIO_VERSION" val="03.11.2020 10:14:14"/>
  <p:tag name="MIO_DBID" val="F71ED0A2-672B-4E8B-BF42-C978919BF8E2"/>
  <p:tag name="MIO_LASTDOWNLOADED" val="03.11.2020 20:29:04.748"/>
  <p:tag name="MIO_OBJECTNAME" val="Master_Neu"/>
  <p:tag name="MIO_LASTEDITORNAME" val="Janine Eulert"/>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uS77tk6Sr4di2oHQ2xy7Fg"/>
</p:tagLst>
</file>

<file path=ppt/tags/tag139.xml><?xml version="1.0" encoding="utf-8"?>
<p:tagLst xmlns:a="http://schemas.openxmlformats.org/drawingml/2006/main" xmlns:r="http://schemas.openxmlformats.org/officeDocument/2006/relationships" xmlns:p="http://schemas.openxmlformats.org/presentationml/2006/main">
  <p:tag name="MIO_GUID" val="014cf987-f920-4e72-b99f-63d0f5be172d"/>
  <p:tag name="MIO_EKGUID" val="d68a2871-9331-40c4-a0b5-043346ebb0ab"/>
  <p:tag name="MIO_UPDATE" val="True"/>
  <p:tag name="MIO_VERSION" val="09.12.2020 07:23:04"/>
  <p:tag name="MIO_DBID" val="F71ED0A2-672B-4E8B-BF42-C978919BF8E2"/>
  <p:tag name="MIO_LASTDOWNLOADED" val="30.01.2025 14:17:15.288"/>
  <p:tag name="MIO_OBJECTNAME" val="Schnittmenge_1"/>
  <p:tag name="MIO_LASTEDITORNAME" val="Daniela Heisig"/>
  <p:tag name="EMPOWERBULLETV2" val="empowerBulletV2"/>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MIO_EKGUID" val="51cd090e-7e7a-4a63-9315-57c2d236bb09"/>
  <p:tag name="MIO_GUID" val="4079b4dd-b425-43be-9738-f244cb6ddb4b"/>
  <p:tag name="MIO_UPDATE" val="True"/>
  <p:tag name="MIO_VERSION" val="04.12.2020 14:25:50"/>
  <p:tag name="MIO_DBID" val="F71ED0A2-672B-4E8B-BF42-C978919BF8E2"/>
  <p:tag name="MIO_LASTDOWNLOADED" val="30.01.2025 14:18:18.591"/>
  <p:tag name="MIO_OBJECTNAME" val="Textbox 2_rosa"/>
  <p:tag name="MIO_LASTEDITORNAME" val="Janine Eulert"/>
  <p:tag name="EMPOWERBULLETV2" val="empowerBulletV2"/>
</p:tagLst>
</file>

<file path=ppt/tags/tag141.xml><?xml version="1.0" encoding="utf-8"?>
<p:tagLst xmlns:a="http://schemas.openxmlformats.org/drawingml/2006/main" xmlns:r="http://schemas.openxmlformats.org/officeDocument/2006/relationships" xmlns:p="http://schemas.openxmlformats.org/presentationml/2006/main">
  <p:tag name="EMPOWERBULLETV2" val="empowerBulletV2"/>
  <p:tag name="MIO_EKGUID" val="5731efb7-1244-450c-8a26-877875e791e3"/>
  <p:tag name="MIO_GUID" val="467dbef3-1d96-4da2-9324-40008c989766"/>
  <p:tag name="MIO_UPDATE" val="True"/>
  <p:tag name="MIO_VERSION" val="04.12.2020 14:25:49"/>
  <p:tag name="MIO_DBID" val="F71ED0A2-672B-4E8B-BF42-C978919BF8E2"/>
  <p:tag name="MIO_LASTDOWNLOADED" val="30.01.2025 14:18:27.041"/>
  <p:tag name="MIO_OBJECTNAME" val="Textbox 1_outline grau"/>
  <p:tag name="MIO_LASTEDITORNAME" val="Janine Eulert"/>
</p:tagLst>
</file>

<file path=ppt/tags/tag142.xml><?xml version="1.0" encoding="utf-8"?>
<p:tagLst xmlns:a="http://schemas.openxmlformats.org/drawingml/2006/main" xmlns:r="http://schemas.openxmlformats.org/officeDocument/2006/relationships" xmlns:p="http://schemas.openxmlformats.org/presentationml/2006/main">
  <p:tag name="EMPOWERBULLETV2" val="empowerBulletV2"/>
  <p:tag name="MIO_EKGUID" val="5731efb7-1244-450c-8a26-877875e791e3"/>
  <p:tag name="MIO_GUID" val="f41f4837-adc2-419b-9182-55537bddbc85"/>
  <p:tag name="MIO_UPDATE" val="True"/>
  <p:tag name="MIO_VERSION" val="04.12.2020 14:25:49"/>
  <p:tag name="MIO_DBID" val="F71ED0A2-672B-4E8B-BF42-C978919BF8E2"/>
  <p:tag name="MIO_LASTDOWNLOADED" val="30.01.2025 14:18:36.492"/>
  <p:tag name="MIO_OBJECTNAME" val="Textbox 1_outline grau"/>
  <p:tag name="MIO_LASTEDITORNAME" val="Janine Eulert"/>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2kt_klaDqkCnWAic1A7vlQ"/>
  <p:tag name="EMPOWERBULLETV2" val="empowerBulletV2"/>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kE5sunnOfUiaAdRhMpN3j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HkkLklLihEySjAOV9D4HB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2kt_klaDqkCnWAic1A7vl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kE5sunnOfUiaAdRhMpN3jA"/>
</p:tagLst>
</file>

<file path=ppt/tags/tag148.xml><?xml version="1.0" encoding="utf-8"?>
<p:tagLst xmlns:a="http://schemas.openxmlformats.org/drawingml/2006/main" xmlns:r="http://schemas.openxmlformats.org/officeDocument/2006/relationships" xmlns:p="http://schemas.openxmlformats.org/presentationml/2006/main">
  <p:tag name="MIO_GUID" val="21c91c23-92f9-4783-97ad-53f6c364e7f8"/>
  <p:tag name="MIO_EKGUID" val="2d8826ec-cdff-4ce6-a8d9-533d97b2b25e"/>
  <p:tag name="MIO_UPDATE" val="True"/>
  <p:tag name="MIO_VERSION" val="27.04.2023 14:14:00"/>
  <p:tag name="MIO_DBID" val="F71ED0A2-672B-4E8B-BF42-C978919BF8E2"/>
  <p:tag name="MIO_LASTDOWNLOADED" val="27.05.2024 18:16:05.062"/>
  <p:tag name="MIO_OBJECTNAME" val="Teilnehmer_WS-Protokolle"/>
  <p:tag name="MIO_LASTEDITORNAME" val="Svenja Weber"/>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6FYa_xymo.ilJS0QpcNQ5w"/>
</p:tagLst>
</file>

<file path=ppt/tags/tag151.xml><?xml version="1.0" encoding="utf-8"?>
<p:tagLst xmlns:a="http://schemas.openxmlformats.org/drawingml/2006/main" xmlns:r="http://schemas.openxmlformats.org/officeDocument/2006/relationships" xmlns:p="http://schemas.openxmlformats.org/presentationml/2006/main">
  <p:tag name="MIO_EKGUID" val="c58253bb-2509-4ca2-aabc-9e03cc02507f"/>
  <p:tag name="MIO_GUID" val="e479e72d-1c1e-4a22-80a3-0247954b1637"/>
  <p:tag name="MIO_UPDATE" val="True"/>
  <p:tag name="MIO_VERSION" val="19.01.2021 20:53:14"/>
  <p:tag name="MIO_DBID" val="F71ED0A2-672B-4E8B-BF42-C978919BF8E2"/>
  <p:tag name="MIO_LASTDOWNLOADED" val="27.05.2024 18:16:46.712"/>
  <p:tag name="MIO_OBJECTNAME" val="Gesetzbuch (2)"/>
  <p:tag name="MIO_LASTEDITORNAME" val="Daniela Heisig"/>
</p:tagLst>
</file>

<file path=ppt/tags/tag152.xml><?xml version="1.0" encoding="utf-8"?>
<p:tagLst xmlns:a="http://schemas.openxmlformats.org/drawingml/2006/main" xmlns:r="http://schemas.openxmlformats.org/officeDocument/2006/relationships" xmlns:p="http://schemas.openxmlformats.org/presentationml/2006/main">
  <p:tag name="MIO_GUID" val="851e6296-760b-4b82-a502-157eb0d4b2c9"/>
  <p:tag name="MIO_EKGUID" val="2ffa6f6c-b769-411a-b483-7ab62a53f31f"/>
  <p:tag name="MIO_UPDATE" val="True"/>
  <p:tag name="MIO_VERSION" val="14.09.2022 09:32:00"/>
  <p:tag name="MIO_DBID" val="F71ED0A2-672B-4E8B-BF42-C978919BF8E2"/>
  <p:tag name="MIO_LASTDOWNLOADED" val="28.05.2024 15:23:31.103"/>
  <p:tag name="MIO_OBJECTNAME" val="Management Summary 3"/>
  <p:tag name="MIO_LASTEDITORNAME" val="Daniela Heisi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FxyhAh3qqv0nSVweFCBtYg"/>
</p:tagLst>
</file>

<file path=ppt/tags/tag155.xml><?xml version="1.0" encoding="utf-8"?>
<p:tagLst xmlns:a="http://schemas.openxmlformats.org/drawingml/2006/main" xmlns:r="http://schemas.openxmlformats.org/officeDocument/2006/relationships" xmlns:p="http://schemas.openxmlformats.org/presentationml/2006/main">
  <p:tag name="MIO_GUID" val="c4b28363-4199-4596-9f82-731c488f0df5"/>
  <p:tag name="MIO_EKGUID" val="f04fa7d6-7a0f-4849-8e95-08d2dca50807"/>
  <p:tag name="MIO_UPDATE" val="True"/>
  <p:tag name="MIO_VERSION" val="27.04.2023 14:14:00"/>
  <p:tag name="MIO_DBID" val="F71ED0A2-672B-4E8B-BF42-C978919BF8E2"/>
  <p:tag name="MIO_LASTDOWNLOADED" val="27.05.2024 18:07:07.041"/>
  <p:tag name="MIO_OBJECTNAME" val="Workshop_Ziele"/>
  <p:tag name="MIO_LASTEDITORNAME" val="Svenja Weber"/>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8.xml><?xml version="1.0" encoding="utf-8"?>
<p:tagLst xmlns:a="http://schemas.openxmlformats.org/drawingml/2006/main" xmlns:r="http://schemas.openxmlformats.org/officeDocument/2006/relationships" xmlns:p="http://schemas.openxmlformats.org/presentationml/2006/main">
  <p:tag name="MIO_EKGUID" val="0e6e73c9-ff9c-4c53-9592-8dbc83b0bde0"/>
  <p:tag name="MIO_GUID" val="bd7f46b1-3c74-4bc0-b8d2-abffc9a208b7"/>
  <p:tag name="MIO_UPDATE" val="True"/>
  <p:tag name="MIO_VERSION" val="31.01.2023 09:51:21"/>
  <p:tag name="MIO_DBID" val="F71ED0A2-672B-4E8B-BF42-C978919BF8E2"/>
  <p:tag name="MIO_LASTDOWNLOADED" val="27.03.2023 18:31:26.803"/>
  <p:tag name="MIO_OBJECTNAME" val="Ziel_Fläche_Hintergrund"/>
  <p:tag name="MIO_LASTEDITORNAME" val="Jule Kettler"/>
</p:tagLst>
</file>

<file path=ppt/tags/tag159.xml><?xml version="1.0" encoding="utf-8"?>
<p:tagLst xmlns:a="http://schemas.openxmlformats.org/drawingml/2006/main" xmlns:r="http://schemas.openxmlformats.org/officeDocument/2006/relationships" xmlns:p="http://schemas.openxmlformats.org/presentationml/2006/main">
  <p:tag name="MIO_GUID" val="158cfc75-ac36-4af0-b312-94e39521c446"/>
  <p:tag name="MIO_EKGUID" val="1ef8ca6e-5dbb-4d10-84c5-c834b4c32a63"/>
  <p:tag name="MIO_UPDATE" val="True"/>
  <p:tag name="MIO_VERSION" val="04.07.2024 10:29:12"/>
  <p:tag name="MIO_DBID" val="F71ED0A2-672B-4E8B-BF42-C978919BF8E2"/>
  <p:tag name="MIO_LASTDOWNLOADED" val="02.12.2025 11:13:30.466"/>
  <p:tag name="MIO_OBJECTNAME" val="Kontakt_TyK"/>
  <p:tag name="MIO_CONTENTTAG" val="i7LyFRvDR0ax4vUSv0BNbE1o96ROdWtIlEZ8Xem8es4="/>
  <p:tag name="MIO_LASTEDITORNAME" val="Anna Elena Schul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9hXwCDzIeDN3lvjgMGqRA"/>
</p:tagLst>
</file>

<file path=ppt/tags/tag160.xml><?xml version="1.0" encoding="utf-8"?>
<p:tagLst xmlns:a="http://schemas.openxmlformats.org/drawingml/2006/main" xmlns:r="http://schemas.openxmlformats.org/officeDocument/2006/relationships" xmlns:p="http://schemas.openxmlformats.org/presentationml/2006/main">
  <p:tag name="MIO_GUID" val="21c6bb47-0e78-42c6-be23-6d20831eea4d"/>
  <p:tag name="RUNTIME_ID" val="2c02eab3-1dbf-4567-bc35-7e1ffdd73e0f"/>
  <p:tag name="MIO_EKGUID" val="1ef8ca6e-5dbb-4d10-84c5-c834b4c32a63"/>
  <p:tag name="MIO_UPDATE" val="True"/>
  <p:tag name="MIO_VERSION" val="04.07.2024 10:29:12"/>
  <p:tag name="MIO_DBID" val="F71ED0A2-672B-4E8B-BF42-C978919BF8E2"/>
  <p:tag name="MIO_LASTDOWNLOADED" val="02.12.2025 11:13:30.466"/>
  <p:tag name="MIO_OBJECTNAME" val="Kontakt_TyK"/>
  <p:tag name="MIO_CONTENTTAG" val="i7LyFRvDR0ax4vUSv0BNbE1o96ROdWtIlEZ8Xem8es4="/>
  <p:tag name="MIO_LASTEDITORNAME" val="Anna Elena Schulte"/>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YBAQEBAQEBAQEBAQEBAQMAAAAAAAAAAwAAAAMAAAAA/////wUA8gsAAAAAAAAAAAAAIAD///////////////8AAAD///////////////8DAAAAAgD///////8DAAAABAD///////8DAAAABAD///////8DAAAABAD///////////////////////////////////////////////////////////////////////////////////////////////////////////////////////////////////////////////////////////////////////////////////////////////////////////////////////////////////////////////////////////////////////////////////////////////////////////////////////////////////////////////////////////////////////////////////////////////////////////////////////////////////////////////////////////////8BACAA////////////////AAAO////////AwAAAAQA////////////////////////////////////////////////////////////////////////////////////////////////////////////////////////////////////////////////////////////////////////////////////////////////////////////////////////////////////////////////////////////////////////////////////////////////////////////////////////////////////////////////////////////////////////////////////////////////////////////////////////////////////////////////////////////////////////////////////////////////////////////////////////AgABAP///////wUAAAACABAAC3x+JzXp9RdEs6tmgMwW1/UEAAAAAAADAAAAAAADAAAAAwADAAEA////////BQAAAAMAEAALwT8KZeyqgUGG6zEYKoS+EwQAAAABAAMAAAACAAMAAAAEAAQABAD///////8FAAAABAAQAAuDJgySpQXZS40X8N6LVB+yBAAAAAIAAwAAAAMAAwAAAAE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H4nNen1F0Szq2aAzBbX9QREYXRhAAUAAAAAAk5hbWUADQAAAExpbmtEYXRhTGlzdAAQVmVyc2lvbgABAAAACUxhc3RXcml0ZQDfj43emgEAAAABAP////9wAHAAAAAFX2lkABAAAAAEwT8KZeyqgUGG6zEYKoS+EwNEYXRhABYAAAACUGVyc29uYWxJZAABAAAAAAACTmFtZQALAAAAUGVyc29uYWxJZAAQVmVyc2lvbgAAAAAACUxhc3RXcml0ZQBVoEl9kAEAAAACAP////9hAGEAAAAFX2lkABAAAAAEgyYMkqUF2UuNF/Dei1QfsgREYXRhAAUAAAAAAk5hbWUADQAAAExpbmtEYXRhTGlzdAAQVmVyc2lvbgAAAAAACUxhc3RXcml0ZQCnj43e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EAP///////wUAAAACAP///////wUAAAACAP///////wUAAAACAP///////wUAAAACAP///////wUAAAACAP///////////////////////////////////////////////////////////////////////////////////////////////////////////////////////////////////////////////////////////////////////////////////////////////////////////////////////////////////////////////////////////////////////////////////////////////////////////////////////////////////////////////////////////////////////////////////////////////////////////////////////////////wEAIAH///////////////8AAA7///////8FAAAAAwD///////////////////////////////////////////////////////////////////////////////////////////////////////////////////////////////////////////////////////////////////////////////////////////////////////////////////////////////////////////////////////////////////////////////////////////////////////////////////////////////////////////////////////////////////////////////////////////////////////////////////////////////////////////////////////////////////////////////////////////////////////////////////////8CAAYBAwAAAAIA////////DgAGTGlua0RhdGFMaXN0XzEEAAAAAAAFAAAABAAFAAAAAwAFAAAAAAAFAAAAAwAFAAAAAAD///////8FAAAAAAD///////8FAAAAAAD///////8FAAAAAAD///////8DAAIBAwAAAAMA////////DAAGUGVyc29uYWxJZF8wBAAAAAEABQAAAAIABQAAAAEABQAAAAIA////////BAABAQMAAAAEAP///////w4ABkxpbmtEYXRhTGlzdF8wBAAAAAIABQAAAAA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02672108236555"/>
  <p:tag name="EMPOWERCHARTSPROPERTIES_B_LENGTH" val="24576"/>
  <p:tag name="DOWN_MIGRATION_INITIAL_LAYOUT_REQUIRED" val="9.2.99"/>
</p:tagLst>
</file>

<file path=ppt/tags/tag161.xml><?xml version="1.0" encoding="utf-8"?>
<p:tagLst xmlns:a="http://schemas.openxmlformats.org/drawingml/2006/main" xmlns:r="http://schemas.openxmlformats.org/officeDocument/2006/relationships" xmlns:p="http://schemas.openxmlformats.org/presentationml/2006/main">
  <p:tag name="MIO_GUID" val="618e8c18-ee35-46a2-a283-9765b5fdc268"/>
  <p:tag name="RUNTIME_ID" val="ccb5bc92-cc55-471d-a5f2-65b08575cd45"/>
  <p:tag name="MIO_EKGUID" val="1ef8ca6e-5dbb-4d10-84c5-c834b4c32a63"/>
  <p:tag name="MIO_UPDATE" val="True"/>
  <p:tag name="MIO_VERSION" val="04.07.2024 10:29:12"/>
  <p:tag name="MIO_DBID" val="F71ED0A2-672B-4E8B-BF42-C978919BF8E2"/>
  <p:tag name="MIO_LASTDOWNLOADED" val="02.12.2025 11:13:30.466"/>
  <p:tag name="MIO_OBJECTNAME" val="Kontakt_TyK"/>
  <p:tag name="MIO_CONTENTTAG" val="i7LyFRvDR0ax4vUSv0BNbE1o96ROdWtIlEZ8Xem8es4="/>
  <p:tag name="MIO_LASTEDITORNAME" val="Anna Elena Schulte"/>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0L0tASMOyFFj/5oKvKTs9oEAAAAAAADAAAAAAADAAAAAwADAAIA////////BQAAAAMAEAALa4HtP01+hkW42GuHK8cLUAQAAAABAAMAAAACAAMAAAAEAAMAAAAAAP///////wQAAQD///////8FAAAABAAQAAuKE4GRFa36Q4Z8UZG3alBJ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vS0BIw7IUWP/mgq8pOz2gREYXRhAAUAAAAAAk5hbWUADQAAAExpbmtEYXRhTGlzdAAQVmVyc2lvbgAAAAAACUxhc3RXcml0ZQAgkY3emgEAAAABAP////9wAHAAAAAFX2lkABAAAAAEa4HtP01+hkW42GuHK8cLUANEYXRhABYAAAACUGVyc29uYWxJZAABAAAAAAACTmFtZQALAAAAUGVyc29uYWxJZAAQVmVyc2lvbgAAAAAACUxhc3RXcml0ZQBCoUl9kAEAAAACAP////9hAGEAAAAFX2lkABAAAAAEihOBkRWt+kOGfFGRt2pQSQREYXRhAAUAAAAAAk5hbWUADQAAAExpbmtEYXRhTGlzdAAQVmVyc2lvbgABAAAACUxhc3RXcml0ZQAhkY3e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AwD///////////////////////////////////////////////////////////////////////////////////////////////////////////////////////////////////////////////////////////////////////////////////////////////////////////////////////////////////////////////////////////////////////////////////////////////////////////////////////////////////////////////////////////////////////////////////////////////////////////////////////////////////////////////////////////////////////////////////////////////////////////////////////8CAAEBAwAAAAIA////////DgAGTGlua0RhdGFMaXN0XzAEAAAAAAAFAAAAAAAFAAAABAADAAIBAwAAAAMA////////DAAGUGVyc29uYWxJZF8wBAAAAAEABQAAAAQABQAAAAEABQAAAAAA////////BAABAQMAAAAEAP///////w4ABkxpbmtEYXRhTGlzdF8xBAAAAAI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02672110670903"/>
  <p:tag name="EMPOWERCHARTSPROPERTIES_B_LENGTH" val="24576"/>
  <p:tag name="DOWN_MIGRATION_INITIAL_LAYOUT_REQUIRED" val="9.2.99"/>
</p:tagLst>
</file>

<file path=ppt/tags/tag162.xml><?xml version="1.0" encoding="utf-8"?>
<p:tagLst xmlns:a="http://schemas.openxmlformats.org/drawingml/2006/main" xmlns:r="http://schemas.openxmlformats.org/officeDocument/2006/relationships" xmlns:p="http://schemas.openxmlformats.org/presentationml/2006/main">
  <p:tag name="MIO_EKGUID" val="1ef8ca6e-5dbb-4d10-84c5-c834b4c32a63"/>
  <p:tag name="MIO_GUID" val="701bdaf6-14db-43bb-913c-50e82e0eef7e"/>
  <p:tag name="MIO_UPDATE" val="True"/>
  <p:tag name="MIO_VERSION" val="04.07.2024 10:29:12"/>
  <p:tag name="MIO_DBID" val="F71ED0A2-672B-4E8B-BF42-C978919BF8E2"/>
  <p:tag name="MIO_LASTDOWNLOADED" val="02.12.2025 11:13:30.466"/>
  <p:tag name="MIO_OBJECTNAME" val="Kontakt_TyK"/>
  <p:tag name="MIO_CONTENTTAG" val="i7LyFRvDR0ax4vUSv0BNbE1o96ROdWtIlEZ8Xem8es4="/>
  <p:tag name="MIO_LASTEDITORNAME" val="Anna Elena Schul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syf.5SwBU0G4Pytm96i9g"/>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 name="EMPOWER_OVERLAY_IGNORE" val="Yes please."/>
  <p:tag name="MIO_SELECTION_PROXY" val="00000276-0022-0000-517e-96ff00000000"/>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 name="EMPOWER_OVERLAY_IGNORE" val="Yes please."/>
  <p:tag name="MIO_SELECTION_PROXY" val="00000276-001f-0000-517e-96ff00000000"/>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 name="EMPOWER_OVERLAY_IGNORE" val="Yes please."/>
  <p:tag name="MIO_SELECTION_PROXY" val="00000276-001c-0000-517e-96ff00000000"/>
</p:tagLst>
</file>

<file path=ppt/tags/tag25.xml><?xml version="1.0" encoding="utf-8"?>
<p:tagLst xmlns:a="http://schemas.openxmlformats.org/drawingml/2006/main" xmlns:r="http://schemas.openxmlformats.org/officeDocument/2006/relationships" xmlns:p="http://schemas.openxmlformats.org/presentationml/2006/main">
  <p:tag name="MIO_SHAPETYPES_TEXTELEMENT" val="MIO_FOOTNOTE"/>
  <p:tag name="MIO_GUID" val="a157cc83-2741-44ad-8ec9-61ce4e2c7685"/>
  <p:tag name="MIO_EK" val="652"/>
  <p:tag name="MIO_EKGUID" val="8b0b4110-6ccd-4223-a904-7c58940fb73f"/>
  <p:tag name="MIO_UPDATE" val="True"/>
  <p:tag name="MIO_VERSION" val="08.02.2021 13:37:34"/>
  <p:tag name="MIO_DBID" val="F71ED0A2-672B-4E8B-BF42-C978919BF8E2"/>
  <p:tag name="MIO_LASTDOWNLOADED" val="12.04.2023 15:50:42.919"/>
  <p:tag name="MIO_OBJECTNAME" val="Fußnote_Quelle"/>
  <p:tag name="MIO_LASTEDITORNAME" val="Daniela Heisig"/>
</p:tagLst>
</file>

<file path=ppt/tags/tag2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EAAAAAAAAAAwAAAAMAAAAA/////wMAgAwAAAAAAAAAAAAAIAD///////////////8AAAD///////////////8DAAAAAgD///////////////////////////////////////////////////////////////////////////////////////////////////////////////////////////////////////////////////////////////////////////////////////////////////////////////////////////////////////////////////////////////////////////////////////////////////////////////////////////////////////////////////////////////////////////////////////////////////////////////////////////////////////////////////////////////////////////////////////////////////////////////8BACAA////////////////AAAO////////AwAAAAIA////////////////////////////////////////////////////////////////////////////////////////////////////////////////////////////////////////////////////////////////////////////////////////////////////////////////////////////////////////////////////////////////////////////////////////////////////////////////////////////////////////////////////////////////////////////////////////////////////////////////////////////////////////////////////////////////////////////////////////////////////////////////////////AgABAP///////wQAAAACABAAC79ch+7g3vNCuDSp9eXZB0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FQMAAAAAAAAAAAAACAB////////////////AAAA////////////////BAAAAAIA////////BAAAAAIA////////BAAAAAIA////////BAAAAAIA////////BAAAAAIA////////////////////////////////////////////////////////////////////////////////////////////////////////////////////////////////////////////////////////////////////////////////////////////////////////////////////////////////////////////////////////////////////////////////////////////////////////////////////////////////////////////////////////////////////////////////////////////////////////////////////////////////////////////////AQAgAf///////////////wAADv///////wQAAAACAP///////////////////////////////////////////////////////////////////////////////////////////////////////////////////////////////////////////////////////////////////////////////////////////////////////////////////////////////////////////////////////////////////////////////////////////////////////////////////////////////////////////////////////////////////////////////////////////////////////////////////////////////////////////////////////////////////////////////////////////////////////////////////////wIABQEDAAAAAgD///////8MAAZQZXJzb25hbElkXzAFAAAAAAAEAAAAAAAEAAAAAQA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9ch+7g3vNCuDSp9eXZB0wDRGF0YQAWAAAAAlBlcnNvbmFsSWQAAQAAAAAAAk5hbWUACwAAAFBlcnNvbmFsSWQAEFZlcnNpb24AAAAAAAlMYXN0V3JpdGUAjX4wY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4277055015307"/>
  <p:tag name="EMPOWERCHARTSPROPERTIES_A_LENGTH" val="24576"/>
  <p:tag name="RUNTIME_ID" val="dd7b8eb0-623f-4bd1-b277-17006d95b1e3"/>
</p:tagLst>
</file>

<file path=ppt/tags/tag2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21LyTq9Rt5GmmLxBV0IDgk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G1LyTq9Rt5GmmLxBV0IDgkDRGF0YQAWAAAAAlBlcnNvbmFsSWQAAQAAAAAAAk5hbWUACwAAAFBlcnNvbmFsSWQAEFZlcnNpb24AAAAAAAlMYXN0V3JpdGUA4n4wY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4277056017701"/>
  <p:tag name="EMPOWERCHARTSPROPERTIES_A_LENGTH" val="24576"/>
  <p:tag name="RUNTIME_ID" val="33249434-bfbf-4498-a180-fd6adf43c5a0"/>
</p:tagLst>
</file>

<file path=ppt/tags/tag2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gBAQEBAQEBAQEBAQEBAQEAAAAAAAAAAwAAAAMAAAAA/////wMAgAwAAAAAAAAAAAAAIAD///////////////8AAAD///////////////8DAAAAAgD///////////////////////////////////////////////////////////////////////////////////////////////////////////////////////////////////////////////////////////////////////////////////////////////////////////////////////////////////////////////////////////////////////////////////////////////////////////////////////////////////////////////////////////////////////////////////////////////////////////////////////////////////////////////////////////////////////////////////////////////////////////////8BACAA////////////////AAAO////////AwAAAAIA////////////////////////////////////////////////////////////////////////////////////////////////////////////////////////////////////////////////////////////////////////////////////////////////////////////////////////////////////////////////////////////////////////////////////////////////////////////////////////////////////////////////////////////////////////////////////////////////////////////////////////////////////////////////////////////////////////////////////////////////////////////////////////AgABAP///////wQAAAACABAAC8qWNilq2NtHkmVA784wPz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DAMAAAAAAAAAAAAACAB////////////////AAAA////////////////BAAAAAIA////////BAAAAAIA////////BAAAAAIA////////BAAAAAIA////////BAAAAAIA////////BAAAAAIA////////BAAAAAIA////////BAAAAAIA////////////////////////////////////////////////////////////////////////////////////////////////////////////////////////////////////////////////////////////////////////////////////////////////////////////////////////////////////////////////////////////////////////////////////////////////////////////////////////////////////////////////////////////////////////////////////////////////AQAgAf///////////////wAADv///////wQAAAACAP///////////////////////////////////////////////////////////////////////////////////////////////////////////////////////////////////////////////////////////////////////////////////////////////////////////////////////////////////////////////////////////////////////////////////////////////////////////////////////////////////////////////////////////////////////////////////////////////////////////////////////////////////////////////////////////////////////////////////////////////////////////////////////wIACAEDAAAAAgD///////8MAAZQZXJzb25hbElkXzAFAAAAAAAEAAAAAAAEAAAAAQAEAAAAAAD///////8EAAAAAAD///////8EAAAAAAD///////8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MqWNilq2NtHkmVA784wPz4DRGF0YQAWAAAAAlBlcnNvbmFsSWQAAQAAAAAAAk5hbWUACwAAAFBlcnNvbmFsSWQAEFZlcnNpb24AAAAAAAlMYXN0V3JpdGUAEX8wY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4277056486369"/>
  <p:tag name="EMPOWERCHARTSPROPERTIES_A_LENGTH" val="24576"/>
  <p:tag name="RUNTIME_ID" val="585e4634-b932-49b6-a2f5-f16cc90d3146"/>
</p:tagLst>
</file>

<file path=ppt/tags/tag2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LQLpKJ2pZJnoed5N6OSG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LQLpKJ2pZJnoed5N6OSGQDRGF0YQAWAAAAAlBlcnNvbmFsSWQAAQAAAAAAAk5hbWUACwAAAFBlcnNvbmFsSWQAEFZlcnNpb24AAAAAAAlMYXN0V3JpdGUAN38wY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4277056863932"/>
  <p:tag name="EMPOWERCHARTSPROPERTIES_A_LENGTH" val="24576"/>
  <p:tag name="RUNTIME_ID" val="b84f975d-c307-4b3d-87c7-bd4cb469b48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S8J5A2c5OlKQ9N_u77.aw"/>
</p:tagLst>
</file>

<file path=ppt/tags/tag3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wMAdAwAAAAAAAAAAAAAIAD///////////////8AAAD///////////////8DAAAAAgD///////8DAAAAAgD///////////////////////////////////////////////////////////////////////////////////////////////////////////////////////////////////////////////////////////////////////////////////////////////////////////////////////////////////////////////////////////////////////////////////////////////////////////////////////////////////////////////////////////////////////////////////////////////////////////////////////////////////////////////////////////////////////////////////////////////8BACAA////////////////AAAO////////AwAAAAIA////////////////////////////////////////////////////////////////////////////////////////////////////////////////////////////////////////////////////////////////////////////////////////////////////////////////////////////////////////////////////////////////////////////////////////////////////////////////////////////////////////////////////////////////////////////////////////////////////////////////////////////////////////////////////////////////////////////////////////////////////////////////////////AgACAP///////wQAAAACABAACyUsvF5N/M1DjccLtz6/XoA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UsvF5N/M1DjccLtz6/XoADRGF0YQAWAAAAAlBlcnNvbmFsSWQAAQAAAAAAAk5hbWUACwAAAFBlcnNvbmFsSWQAEFZlcnNpb24AAAAAAAlMYXN0V3JpdGUAVn8wY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4277057176374"/>
  <p:tag name="EMPOWERCHARTSPROPERTIES_A_LENGTH" val="24576"/>
  <p:tag name="RUNTIME_ID" val="bc4ecb42-f73c-4d6e-929a-ca329411006e"/>
</p:tagLst>
</file>

<file path=ppt/tags/tag3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zhTfyl+a/tGo7QDEFVQRK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hTfyl+a/tGo7QDEFVQRKgDRGF0YQAWAAAAAlBlcnNvbmFsSWQAAQAAAAAAAk5hbWUACwAAAFBlcnNvbmFsSWQAEFZlcnNpb24AAAAAAAlMYXN0V3JpdGUA6X8wY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4277058556290"/>
  <p:tag name="EMPOWERCHARTSPROPERTIES_A_LENGTH" val="24576"/>
  <p:tag name="RUNTIME_ID" val="8077c057-be85-4de8-8c09-5056f019f70c"/>
</p:tagLst>
</file>

<file path=ppt/tags/tag3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EBAQEBAQEBAQEBAQEBAQEAAAAAAAAAAwAAAAMAAAAA/////wMAOAwAAAAAAAAAAAAAIAD///////////////8AAAD///////////////8DAAAAAgD///////8DAAAAAgD///////8DAAAAAgD///////8DAAAAAgD///////8DAAAAAgD///////8DAAAAAgD///////8DAAAAAgD///////////////////////////////////////////////////////////////////////////////////////////////////////////////////////////////////////////////////////////////////////////////////////////////////////////////////////////////////////////////////////////////////////////////////////////////////////////////////////////////////////////////////////////////////////////////////////////////////////////////8BACAA////////////////AAAO////////AwAAAAIA////////////////////////////////////////////////////////////////////////////////////////////////////////////////////////////////////////////////////////////////////////////////////////////////////////////////////////////////////////////////////////////////////////////////////////////////////////////////////////////////////////////////////////////////////////////////////////////////////////////////////////////////////////////////////////////////////////////////////////////////////////////////////////AgAHAP///////wQAAAACABAAC6WolxQee/pMoFLrIK8M66kFAAAAAAADAAAAAAADAAAAAQADAAAAAAD///////8DAAAAAAD///////8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KWolxQee/pMoFLrIK8M66kDRGF0YQAWAAAAAlBlcnNvbmFsSWQAAQAAAAAAAk5hbWUACwAAAFBlcnNvbmFsSWQAEFZlcnNpb24AAAAAAAlMYXN0V3JpdGUA/38wY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4277058868768"/>
  <p:tag name="EMPOWERCHARTSPROPERTIES_A_LENGTH" val="24576"/>
  <p:tag name="RUNTIME_ID" val="3d440fba-f208-4f05-b965-6372a558d1b7"/>
</p:tagLst>
</file>

<file path=ppt/tags/tag3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x0OTkTNDIxBvFDhnJG9Wo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B0OTkTNDIxBvFDhnJG9WowDRGF0YQAWAAAAAlBlcnNvbmFsSWQAAQAAAAAAAk5hbWUACwAAAFBlcnNvbmFsSWQAEFZlcnNpb24AAAAAAAlMYXN0V3JpdGUALoAwY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4277059337423"/>
  <p:tag name="EMPOWERCHARTSPROPERTIES_A_LENGTH" val="24576"/>
  <p:tag name="RUNTIME_ID" val="264ac630-71aa-4932-9952-ba7e97ce0436"/>
</p:tagLst>
</file>

<file path=ppt/tags/tag3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1ra8RuVGNdGuP5ftj2IpT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ra8RuVGNdGuP5ftj2IpTIDRGF0YQAWAAAAAlBlcnNvbmFsSWQAAQAAAAAAAk5hbWUACwAAAFBlcnNvbmFsSWQAEFZlcnNpb24AAAAAAAlMYXN0V3JpdGUAY4AwY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4277059714965"/>
  <p:tag name="EMPOWERCHARTSPROPERTIES_A_LENGTH" val="24576"/>
  <p:tag name="RUNTIME_ID" val="eba12765-ca86-43f7-a04a-b3ffd07ebb0d"/>
</p:tagLst>
</file>

<file path=ppt/tags/tag3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wMAXAwAAAAAAAAAAAAAIAD///////////////8AAAD///////////////8DAAAAAgD///////8DAAAAAgD///////8DAAAAAgD///////8DAAAAAgD///////////////////////////////////////////////////////////////////////////////////////////////////////////////////////////////////////////////////////////////////////////////////////////////////////////////////////////////////////////////////////////////////////////////////////////////////////////////////////////////////////////////////////////////////////////////////////////////////////////////////////////////////////////////////////////////8BACAA////////////////AAAO////////AwAAAAIA////////////////////////////////////////////////////////////////////////////////////////////////////////////////////////////////////////////////////////////////////////////////////////////////////////////////////////////////////////////////////////////////////////////////////////////////////////////////////////////////////////////////////////////////////////////////////////////////////////////////////////////////////////////////////////////////////////////////////////////////////////////////////////AgAEAP///////wQAAAACABAAC1W4xSQyuEFCpHz1W0Sn9kk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W4xSQyuEFCpHz1W0Sn9kkDRGF0YQAWAAAAAlBlcnNvbmFsSWQAAQAAAAAAAk5hbWUACwAAAFBlcnNvbmFsSWQAEFZlcnNpb24AAAAAAAlMYXN0V3JpdGUAg4AwY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4277060027401"/>
  <p:tag name="EMPOWERCHARTSPROPERTIES_A_LENGTH" val="24576"/>
  <p:tag name="RUNTIME_ID" val="30bb2f09-ac43-4915-8e23-15c687e7c762"/>
</p:tagLst>
</file>

<file path=ppt/tags/tag3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xi2YqQdfptPscxWsJdbid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Bi2YqQdfptPscxWsJdbidMDRGF0YQAWAAAAAlBlcnNvbmFsSWQAAQAAAAAAAk5hbWUACwAAAFBlcnNvbmFsSWQAEFZlcnNpb24AAAAAAAlMYXN0V3JpdGUAooAwY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4277060339861"/>
  <p:tag name="EMPOWERCHARTSPROPERTIES_A_LENGTH" val="24576"/>
  <p:tag name="RUNTIME_ID" val="2145bb79-9594-49ff-92d9-78b81293d356"/>
</p:tagLst>
</file>

<file path=ppt/tags/tag3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9WdPYeZVe5Hj43MO86r+P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NWdPYeZVe5Hj43MO86r+P0DRGF0YQAWAAAAAlBlcnNvbmFsSWQAAQAAAAAAAk5hbWUACwAAAFBlcnNvbmFsSWQAEFZlcnNpb24AAAAAAAlMYXN0V3JpdGUAyIAwY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4277060717384"/>
  <p:tag name="EMPOWERCHARTSPROPERTIES_A_LENGTH" val="24576"/>
  <p:tag name="RUNTIME_ID" val="68b89add-1bb8-4bed-9271-ec1d2535fed3"/>
</p:tagLst>
</file>

<file path=ppt/tags/tag3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1UOoYJ+hUpFs8kfHHDZSk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UOoYJ+hUpFs8kfHHDZSkIDRGF0YQAWAAAAAlBlcnNvbmFsSWQAAQAAAAAAAk5hbWUACwAAAFBlcnNvbmFsSWQAEFZlcnNpb24AAAAAAAlMYXN0V3JpdGUA54AwY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4277061186037"/>
  <p:tag name="EMPOWERCHARTSPROPERTIES_A_LENGTH" val="24576"/>
  <p:tag name="RUNTIME_ID" val="3ab7045a-7bbf-49ad-b248-58a0c25cdaf8"/>
</p:tagLst>
</file>

<file path=ppt/tags/tag3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EAAAAAAAAAAwAAAAMAAAAA/////wMAgAwAAAAAAAAAAAAAIAD///////////////8AAAD///////////////8DAAAAAgD///////////////////////////////////////////////////////////////////////////////////////////////////////////////////////////////////////////////////////////////////////////////////////////////////////////////////////////////////////////////////////////////////////////////////////////////////////////////////////////////////////////////////////////////////////////////////////////////////////////////////////////////////////////////////////////////////////////////////////////////////////////////8BACAA////////////////AAAO////////AwAAAAIA////////////////////////////////////////////////////////////////////////////////////////////////////////////////////////////////////////////////////////////////////////////////////////////////////////////////////////////////////////////////////////////////////////////////////////////////////////////////////////////////////////////////////////////////////////////////////////////////////////////////////////////////////////////////////////////////////////////////////////////////////////////////////////AgABAP///////wQAAAACABAACxU3K6iIBJBPqQSnd/qzEO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EgMAAAAAAAAAAAAACAB////////////////AAAA////////////////BAAAAAIA////////BAAAAAIA////////BAAAAAIA////////BAAAAAIA////////BAAAAAIA////////BAAAAAIA////////////////////////////////////////////////////////////////////////////////////////////////////////////////////////////////////////////////////////////////////////////////////////////////////////////////////////////////////////////////////////////////////////////////////////////////////////////////////////////////////////////////////////////////////////////////////////////////////////////////////////////////AQAgAf///////////////wAADv///////wQAAAACAP///////////////////////////////////////////////////////////////////////////////////////////////////////////////////////////////////////////////////////////////////////////////////////////////////////////////////////////////////////////////////////////////////////////////////////////////////////////////////////////////////////////////////////////////////////////////////////////////////////////////////////////////////////////////////////////////////////////////////////////////////////////////////////wIABgEDAAAAAgD///////8MAAZQZXJzb25hbElkXzAFAAAAAAAEAAAAAAAEAAAAAQAEAAAAAAD///////8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BU3K6iIBJBPqQSnd/qzEOMDRGF0YQAWAAAAAlBlcnNvbmFsSWQAAQAAAAAAAk5hbWUACwAAAFBlcnNvbmFsSWQAEFZlcnNpb24AAAAAAAlMYXN0V3JpdGUAFoEwY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4277061498465"/>
  <p:tag name="EMPOWERCHARTSPROPERTIES_A_LENGTH" val="24576"/>
  <p:tag name="RUNTIME_ID" val="dbbca344-c82f-4015-bc59-3c9868dd6662"/>
</p:tagLst>
</file>

<file path=ppt/tags/tag4.xml><?xml version="1.0" encoding="utf-8"?>
<p:tagLst xmlns:a="http://schemas.openxmlformats.org/drawingml/2006/main" xmlns:r="http://schemas.openxmlformats.org/officeDocument/2006/relationships" xmlns:p="http://schemas.openxmlformats.org/presentationml/2006/main">
  <p:tag name="MIO_FALLBACK_LAYOUT" val="3"/>
  <p:tag name="MIO_SHOW_DATE" val="False"/>
  <p:tag name="MIO_SHOW_FOOTER" val="False"/>
  <p:tag name="MIO_SHOW_PAGENUMBER" val="True"/>
  <p:tag name="MIO_AVOID_BLANK_LAYOUT" val="True"/>
  <p:tag name="MIO_CD_LAYOUT_VALID_AREA" val="False"/>
  <p:tag name="MIO_NUMBER_OF_VALID_LAYOUTS" val="10"/>
  <p:tag name="MIO_HDS" val="True"/>
  <p:tag name="MIO_SKIPVERSION" val="01.01.0001 00:00:00"/>
  <p:tag name="MIO_EKGUID" val="3aa13002-4a92-457a-bec6-30e6201b5dc7"/>
  <p:tag name="MIO_UPDATE" val="True"/>
  <p:tag name="MIO_VERSION" val="25.03.2021 19:49:08"/>
  <p:tag name="MIO_DBID" val="F71ED0A2-672B-4E8B-BF42-C978919BF8E2"/>
  <p:tag name="MIO_LASTDOWNLOADED" val="25.03.2021 20:53:30.803"/>
  <p:tag name="MIO_OBJECTNAME" val="Curacon Master A4"/>
  <p:tag name="MIO_CDID" val="05b0b4d6-e096-47ba-838b-591dcade8541"/>
</p:tagLst>
</file>

<file path=ppt/tags/tag4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4B+wJ8XtZHpqGCnBzu8ik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4B+wJ8XtZHpqGCnBzu8ikDRGF0YQAWAAAAAlBlcnNvbmFsSWQAAQAAAAAAAk5hbWUACwAAAFBlcnNvbmFsSWQAEFZlcnNpb24AAAAAAAlMYXN0V3JpdGUALIEwY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4277061876031"/>
  <p:tag name="EMPOWERCHARTSPROPERTIES_A_LENGTH" val="24576"/>
  <p:tag name="RUNTIME_ID" val="f058bad6-a62c-49d0-88d7-3992ec48f022"/>
</p:tagLst>
</file>

<file path=ppt/tags/tag4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x0OTkTNDIxBvFDhnJG9Wo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B0OTkTNDIxBvFDhnJG9WowDRGF0YQAWAAAAAlBlcnNvbmFsSWQAAQAAAAAAAk5hbWUACwAAAFBlcnNvbmFsSWQAEFZlcnNpb24AAAAAAAlMYXN0V3JpdGUALoAwY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4277059337423"/>
  <p:tag name="EMPOWERCHARTSPROPERTIES_A_LENGTH" val="24576"/>
  <p:tag name="RUNTIME_ID" val="4809e751-db77-4a0b-9e7c-e22dc45e0855"/>
</p:tagLst>
</file>

<file path=ppt/tags/tag42.xml><?xml version="1.0" encoding="utf-8"?>
<p:tagLst xmlns:a="http://schemas.openxmlformats.org/drawingml/2006/main" xmlns:r="http://schemas.openxmlformats.org/officeDocument/2006/relationships" xmlns:p="http://schemas.openxmlformats.org/presentationml/2006/main">
  <p:tag name="UNIQUEID" val="e58f45ad-a14b-4ce4-86e0-de4e2ce78589"/>
  <p:tag name="COLUMNSUMS - VISIBLE" val="False"/>
  <p:tag name="DATALABELS - BACKGROUND" val="True"/>
  <p:tag name="DATALABELS - VALUE" val="True"/>
  <p:tag name="METADATA - EXACTFONTSIZE" val="12"/>
  <p:tag name="METADATA - EXCELNUMBERFORMAT" val="General"/>
  <p:tag name="MIO_CHART_TEMPLATE_TYPE" val="BCF9DEBA-2C0F-40E3-8BE4-6647FACBE9D3"/>
  <p:tag name="MIO_SKIP_CDCHECK" val="true"/>
  <p:tag name="NA_EXTENSION_LIST_ADDED" val="yes."/>
  <p:tag name="EMPOWER DO NOT TRANSLATE" val="true"/>
  <p:tag name=" - MIN_VERSION_NEEDED" val="8.10.200.0"/>
  <p:tag name="RUNTIME_ID" val="f43cf04b-5894-422d-a234-de1403b8b369"/>
  <p:tag name="DOWN_MIGRATION_INITIAL_LAYOUT_REQUIRED" val="9.2.99"/>
  <p:tag name="LAST_TOUCHED_CHARTS_VERSION" val="9.5"/>
  <p:tag name="EMPOWERCHARTSPROPERTIES_B_0" val="AAAAAAH//////////wEAAAAAAAAAAAAAACoqIFRoaXMgaXMgYSBMaXRlREIgZmlsZSAqKgdxAP////9A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OAAAAAAAAAA0AAAACQAAAF9pZD0kLl9pZAEDAAAAAAADAAAAAQA5AAAACwAAAE5hbWU9JC5OYW1lAAQAAAAAAAQAAAABADIAAAARAAAAVmVyc2lvbj0kLlZlcnNpb24ABQAAAAAABQAAAAEABQAAACMAAABDb21iaUluZGV4PSQuTmFtZSArICdfJyArICQuVmVyc2lvbgE+AAAAAAA+AAAAAQA/AAAAAAAAAAD///////8AAAAAAAD/////AAAAAAD///////8AAAAAAAD/////AAAAAAD///////8AAAAAAAD/////AAAAAAD///////8AAAAAAAD/////AAAAAAD///////8AAAAAAAD/////AAAAAAD///////8AAAAAAAD/////AAAAAAD///////8AAAAAAAD/////AAAAAAD///////8AAAAAAAD/////AAAAAAD///////8AAAAAAAD/////AAAAAAD///////8AAAAAAAD/////AAAAAAD///////8AAAAAAAD/////AAAAAAD///////8AAA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gIBgEBAQEBAQEBAQEBAVcAAAAAAAAAAwAAAAP//////////zYATQAAAAAAAAAAAAAAIAD///////////////8AAAD///////////////8DAAAAAgD///////8DAAAAAgD///////8DAAAAAgD///////8DAAAAEQD///////8DAAAAGwD///////////////////////////////////////////////////////////////////////////////////////////////////////////////////////////////////////////////////////////////////////////////////////////////////////////////////////////////////////////////////////////////////////////////////////////////////////////////////////////////////////////////////////////////////////////////////////////////////////////////////////////////////////////////8BACAA////////////////AAAO////////OQAAAAMA////////////////////////////////////////////////////////////////////////////////////////////////////////////////////////////////////////////////////////////////////////////////////////////////////////////////////////////////////////////////////////////////////////////////////////////////////////////////////////////////////////////////////////////////////////////////////////////////////////////////////////////////////////////////////////////////////////////////////////////////////////////////////////AgADAP///////z4AAAACABAAC7szpQD7LSpElX01uMh+EtAGAAAAAAADAAAAAAADAAAAAwADAAAAAAADAAAACwADAAAAAAADAAAAEQADAAEA////////PgAAAAMAEAAL/CjZAIDgJkmphY71tAecNgcAAAAAAAMAAAACAAMAAAAEAAQAAQD///////8+AAAABAAQAAv3gBIGJpNrR41V6TGNex7VBwAAAAEAAwAAAAMAAwAAAAUABQABAP///////z4AAAAFABAAC2bkCQsihzZLmiPnBGBBjfkHAAAAAgADAAAABAADAAAABgAGAAEA////////PgAAAAYAEAALxJ6QDbhwuUGftw9nng6ukwcAAAADAAMAAAAFAAMAAAAHAAcAAQD///////8+AAAABwAQAAvn9wAUjRbzRpsp7W31E1sgEgAAAAAAAwAAAAYAAwAAAAgACAABAP///////z4AAAAIABAAC+RO5BVVH2pGrncZnzBmCO4HAAAABAADAAAABwADAAAACQAJAAEA////////PgAAAAkAEAALEeAbFz9CHE6JEUPeD7gGUAcAAAAFAAMAAAAIAAMAAAAKAAoAAQD///////8+AAAACgAQAAvMq+8a1iQpT7lDdhg5Q+6qGAAAAAAAAwAAAAkAAwAAAAsACwACAP///////z4AAAALABAAC5837R5cm/VFi+QjLG27iqgYAAAAAQADAAAACgADAAAADAADAAAAAgADAAAADwAMAAEA////////PgAAAAwAEAALKvMXI/R260yzxP7OFrTpgxgAAAACAAMAAAALAAMAAAANAA0AAQD///////8+AAAADQAQAAsb4e4m5+eKQa2aG3Oq94AMGAAAAAMAAwAAAAwAAwAAAA4ADgABAP///////z4AAAAOABAAC2h19SnVOHpGuCjoXcGJjS4YAAAABAADAAAADQADAAAADwAPAAIA////////PgAAAA8AEAALSskfL54B40a3w/NN7TE1yRgAAAAFAAMAAAAOAAMAAAAQAAMAAAALAAMAAAARABAAAQD///////8+AAAAEAAQAAvlz9k1IsyRR7B+odGfW7tMGAAAAAYAAwAAAA8AAwAAABEAEQAEAP///////z4AAAARABAAC4nbfDqdqFxJtbJ2UgL2wq0ZAAAAAAADAAAAEAADAAAAEgADAAAADwADAAAAEwADAAAAAgADAAAAGQADAAAAAAADAAAAGwASAAEA////////PgAAABIAEAALedmKO2WXtUiZeCFUePqfmBkAAAABAAMAAAARAAMAAAATABMAAgD///////8+AAAAEwAQAAt3HWlCat3rTZWlm9iWrt9uGQAAAAIAAwAAABIAAwAAABQAAwAAABEAAwAAABcAFAABAP///////z4AAAAUABAAC/Cx10KBdL5DtAoHfmq6Lf4aAAAAAAADAAAAEwADAAAAFQAVAAEA////////PgAAABUAEAALX6ksR9BQoUml1rLoAbbtXBoAAAABAAMAAAAUAAMAAAAWABYAAQD///////8+AAAAFgAQAAuW3vFHOvR7TrINPQ/jFA1DGgAAAAIAAwAAABUAAwAAABcAFwACAP///////z4AAAAXABAAC+TgcVxdw/JFhCTY+syi73gaAAAAAwADAAAAFgADAAAAGAADAAAAEwADAAAAGAAYAAIA////////PgAAABgAEAALkoQ4b5NOIEeLfgOiesGhwSIAAAAAAAMAAAAXAAMAAAAZAAMAAAAXAAMAAAAZABkAAwD///////8+AAAAGQAQAAuiIHVwnM96Q6NxyzQ2sEzoIgAAAAEAAwAAABgAAwAAABoAAwAAABgAAwAAABoAAwAAABEAAwAAABsAGgACAP///////z4AAAAaABAACxGouHFE+5tAm2FNZP3lQSAiAAAAAgADAAAAGQADAAAAGwADAAAAGQADAAAAGwAbAAUA////////PgAAABsAEAALHRpcc62+MUa/mvdjXBSr4CUAAAAAAAMAAAAaAAMAAAAcAAMAAAAaAAMAAAAcAAMAAAAZAAMAAAAcAAMAAAARAAMAAAAsAAMAAAAAAP///////xwAAwD///////8+AAAAHAAQAAtGkSN3jwhcRYGPj7V1NkGxJQAAAAEAAwAAABsAAwAAAB0AAwAAABsAAwAAAB0AAwAAABsAAwAAACIAHQACAP///////z4AAAAdABAAC1A7MHspiutAo6xkTDq9dqwlAAAAAgADAAAAHAADAAAAHgADAAAAHAADAAAAIAAeAAEA////////PgAAAB4AEAALwRykfusjWE+mqJ1a1GjFvCUAAAADAAMAAAAdAAMAAAAfAB8AAQD///////8+AAAAHwAQAAtFsqV/XeI4QIW7iYN553OsKQAAAAAAAwAAAB4AAwAAACAAIAACAP///////z4AAAAgABAAC9QV639/g5xKsxA1sTJidM4pAAAAAQADAAAAHwADAAAAIQADAAAAHQADAAAAIgAhAAEA////////PgAAACEAEAALPSRugIGVgkSLVtvlM8ByGSkAAAACAAMAAAAgAAMAAAAiACIAAwD///////8+AAAAIgAQAAv4e2aDWGYFTaZHUhpYSA7LKQAAAAMAAwAAACEAAwAAACMAAwAAACAAAwAAACMAAwAAABwAAwAAACwAIwACAP///////z4AAAAjABAAC1gq94Xis1hCkvEDUFztULwpAAAABAADAAAAIgADAAAAJAADAAAAIgADAAAAJAAkAAIA////////PgAAACQAEAALMbAphvhM4kiWRE7icuqhuykAAAAFAAMAAAAjAAMAAAAlAAMAAAAjAAMAAAAnACUAAQD///////8+AAAAJQAQAAsldi2H0SdzSKEw6s4qmKB+KgAAAAAAAwAAACQAAwAAACYAJgABAP///////z4AAAAmABAAC/6WfY5VlnBBri507+lpNuIqAAAAAQADAAAAJQADAAAAJwAnAAIA////////PgAAACcAEAALxGiAm9VT3E2TkFWOGPvLKioAAAACAAMAAAAmAAMAAAAoAAMAAAAkAAMAAAApACgAAQD///////8+AAAAKAAQAAum7mWhG62FQZ1aTr/B4F46KgAAAAMAAwAAACcAAwAAACkAKQACAP///////z4AAAApABAACxX2nanM9atMn/eWT6kdfd4qAAAABAADAAAAKAADAAAAKgADAAAAJwADAAAALAAqAAEA////////PgAAACoAEAALgAXeqVYVxU6SXrqUrXbIyioAAAAFAAMAAAApAAMAAAArACsAAQD///////8+AAAAKwAQAAuStfy4uItJQJBF/GUtw7xPKgAAAAYAAwAAACoAAwAAACwALAAEAP///////z4AAAAsABAAC6alscVH8nNMhtLy+M9vMXAqAAAABwADAAAAKwADAAAALQADAAAAKQADAAAALwADAAAAIgADAAAAMwADAAAAGwD///////8tAAEA////////PgAAAC0AEAALuhIOxtj/a0KKHIexwciF8yoAAAAIAAMAAAAsAAMAAAAuAC4AAQD///////8+AAAALgAQAAvioBLSRSImTZORTjmzN2VAKgAAAAkAAwAAAC0AAwAAAC8ALwACAP///////z4AAAAvABAAC7TgMdhEk1dLnLk5pTrR95EqAAAACgADAAAALgADAAAAMAADAAAALAADAAAAMAAwAAIA////////PwAAAAAAEAALErZx37gzV06RSGBUIMANTCoAAAALAAMAAAAvAAMAAAAxAAMAAAAvAAMAAAAyADEAAQD///////8/AAAAAQAQAAuZ5xLhH7aEQ5AO7kjruRR8KgAAAAwAAwAAADAAAwAAADIAMgACAP///////z8AAAACABAAC+3HSOL1Q49NnUWoFZX6iiozAAAAAAADAAAAMQADAAAAMwADAAAAMAADAAAAMwAzAAMA////////PwAAAAMAEAALjiz35K4XzkmCASxsjpvQpTMAAAABAAMAAAAyAAMAAAA0AAMAAAAyADkAAAAAAAMAAAAsADkAAAADADQAAQD///////8/AAAABAAQAAsgUtjmMsMnQKN4eUfR4h8xMwAAAAIAAwAAADMAAwAAADUANQABAP///////z8AAAAFABAAC4uDUelTpT5Eh+ncmL2TzhE0AAAAAAADAAAANAA5AAAAAAAAAAAAAAAAAAAAAAAAAAAAAAAAAAAAAAAAAAAAAAAAAAAAAAAAAAAAAAAAAAAAAAAAAAAAAAAAAAAAAAAAAAAAAAAAAAAAAAAAAAAAAAQAAAAD//////////8wAEsAAAAAAAAAAAAAACAB////////////////AAAA////////////////BAAAACEA////////BAAAACEA////////BAAAACEA////////BAAAACUA////////BAAAACUA////////MgAAAAgA////////MgAAAAgA////////MgAAAAgA////////////////////////////////////////////////////////////////////////////////////////////////////////////////////////////////////////////////////////////////////////////////////////////////////////////////////////////////////////////////////////////////////////////////////////////////////////////////////////////////////////////////////////////////////////////////////////////////AQAgAf///////////////wAADv///////wQAAAAiAP///////////////////////////////////////////////////////////////////////////////////////////////////////////////////////////////////////////////////////////////////////////////////////////////////////////////////////////////////////////////////////////////////////////////////////////////////////////////////////////////////////////////////////////////////////////////////////////////////////////////////////////////////////////////////////////////////////////////////////////////////////////////////////wIAAgEFAAAAAgD///////8aAAZFeGNlbENvbG9yTW9kZURhdGFQcm9wZXJ0eQYAAAAAAAQAAAArAAQAAAATAAQAAAAIAAQAAAATAAMAAQEFAAAAAwD///////8KAAZEYXRhTGFiZWxzBwAAAAAABAAAABcABAAAAAUABAACAQUAAAAEAP///////xAABkdyaWRsaW5lU2V0dGluZ3MHAAAAAQAyAAAABAAEAAAAFgAyAAAABAAEAAAALAAFAAEBBQAAAAUA////////CgAGRGF0YUxhYmVscwcAAAACAAQAAAADAAQAAAAIAAYAAgEFAAAABgD///////8aAAZBdXRvbWF0aWNCcmVha1NldHRpbmdzRGF0YQcAAAADADIAAAADAAQAAAAlADIAAAADAAQAAAAlAAcAAwEFAAAABwD///////8LAAZNYXJrZXJzRGF0YRIAAAAAAAQAAAAuAAQAAAAJAAQAAAAfAAQAAAAJADIAAAAJAAQAAAAQAAgAAwEFAAAACAD///////8KAAZEYXRhTGFiZWxzBwAAAAQABAAAAAUABAAAABUABAAAAA0ABAAAAAIABAAAAA0ABAAAABMACQACAQUAAAAJAP///////w0ABk51bWJlckZvcm1hdHMHAAAABQAEAAAABwAEAAAACgAEAAAABwAEAAAACgAKAAIBBQAAAAoA////////DQAGTnVtYmVyRm9ybWF0cxgAAAAAAAQAAAAJAAQAAAAUAAQAAAAJAAQAAAAUAAsABAEFAAAACwD///////8eAAZQb2ludEFuZFNlcmllc1N0eWxlRGVmaW5pdGlvbnMYAAAAAQAEAAAAGwAEAAAADAAEAAAAGwAEAAAADAAEAAAAEAAyAAAAAQAyAAAACQD///////8MAAIBBQAAAAwA////////HgAGUG9pbnRBbmRTZXJpZXNTdHlsZURlZmluaXRpb25zGAAAAAIABAAAAAsAMgAAAAEABAAAAAsAMgAAAAEADQAEAQUAAAANAP///////w4ABkNvbW1vblNldHRpbmdzGAAAAAMABAAAAA4ABAAAABcABAAAAC8ABAAAAAgABAAAAC8ABAAAAAgABAAAAC8ABAAAABMADgABAQUAAAAOAP///////xIABkNvbHVtblN1bXNTZXR0aW5ncxgAAAAEAAQAAAAeAAQAAAANAA8AAwEFAAAADwD///////8KAAZTZXJpZXNEYXRhGAAAAAUAMgAAAAEABAAAACMAMgAAAAEABAAAACgAMgAAAAEABAAAACIAEAADAQUAAAAQAP///////woABlBlcnNvbmFsSWQYAAAABgAyAAAABQAyAAAAAAAEAAAAGAAEAAAAGwAEAAAABwAEAAAACwARAAgBBQAAABEA////////FAAGR2VuZXJhbEV4Y2VsU2V0dGluZ3MZAAAAAAAEAAAAHAAEAAAAGgAEAAAAEwAyAAAABAAEAAAAEwAEAAAALAAEAAAAEwAyAAAACQAEAAAAEwAyAAAACQAEAAAALwAyAAAACQAEAAAALwAyAAAACQAEAAAALwAyAAAACQASAAIBBQAAABIA////////HgAGQXp1cmVJbmZvcm1hdGlvblByb3RlY3Rpb25EYXRhGQAAAAEAMgAAAAgAMgAAAAcAMgAAAAgAMgAAAAcAEwAFAQUAAAATAP///////xoABkV4Y2VsQ29sb3JNb2RlRGF0YVByb3BlcnR5GQAAAAIABAAAAAIABAAAABwABAAAAAIABAAAABEABAAAAAgABAAAABEABAAAAA0ABAAAABEABAAAAC8ABAAAABEAFAACAQUAAAAUAP///////wgABk92ZXJsYXlzGgAAAAAABAAAAAoABAAAABgABAAAAAoABAAAABgAFQABAQUAAAAVAP///////woABkRhdGFMYWJlbHMaAAAAAQAEAAAACAAEAAAAKwAWAAEBBQAAABYA////////EAAGR3JpZGxpbmVTZXR0aW5ncxoAAAACAAQAAAAEAAQAAAAmABcAAQEFAAAAFwD///////8UAAZEYXRhQ2hhcnRDb0F1dGhvcmluZxoAAAADAAQAAAANAAQAAAADABgAAgEFAAAAGAD///////8IAAZPdmVybGF5cyIAAAAAAAQAAAAUAAQAAAAtAAQAAAAUAAQAAAAQABkAAQEFAAAAGQD///////8JAAZXYXRlcmZhbGwiAAAAAQAEAAAAJwAEAAAAIgAaAAEBBQAAABoA////////EwAGR2xvYmFsQ2hhcnRTZXR0aW5ncyIAAAACAAQAAAARADIAAAAEABsAAgEFAAAAGwD///////8kAAZQb2ludEFuZFNlcmllc01hcmtlclN0eWxlRGVmaW5pdGlvbnMlAAAAAAAEAAAAKQAEAAAACwAEAAAAEAAEAAAACwAcAAEBBQAAABwA////////CwAGRXhjZWxNaXJyb3IlAAAAAQAEAAAAEwAEAAAAEQAdAAIBBQAAAB0A////////HAAGQ2hhcnRTdHlsZVN0YXR1c0luZm9ybWF0aW9ucyUAAAACADIAAAACAAQAAAAgADIAAAACAAQAAAAgAB4AAQEFAAAAHgD///////8MAAZDb2xvckluZGljZXMlAAAAAwAEAAAALwAEAAAADgAfAAIBBQAAAB8A////////DAAGTGlua0RhdGFMaXN0KQAAAAAAMgAAAAkABAAAAC4AMgAAAAkABAAAAAcAIAADAQUAAAAgAP///////xwABkNoYXJ0U3R5bGVTdGF0dXNJbmZvcm1hdGlvbnMpAAAAAQAEAAAAHQAEAAAALwAEAAAAHQAEAAAALwAyAAAAAgAEAAAALwAhAAMBBQAAACEA////////EgAGQWRkaXRpb25hbEF4aXNEYXRhKQAAAAIABAAAAAAAMgAAAAMABAAAAAAAMgAAAAMABAAAAAAABAAAACUAIgADAQUAAAAiAP///////wkABldhdGVyZmFsbCkAAAADAAQAAAAZAAQAAAABAAQAAAAqAP///////wQAAAAPAP///////yMAAQEFAAAAIwD///////8MAAZTZXJpZXNMYWJlbHMpAAAABAAEAAAADwAEAAAAKAAkAAEBBQAAACQA////////JwAGUG9pbnRBbmRTZXJpZXNBZGRpdGlvblN0eWxlc0RlZmluaXRpb25zKQAAAAUAMgAAAAAABAAAACkAJQAFAQUAAAAlAP///////wgABkF4ZXNEYXRhKgAAAAAABAAAAAYAMgAAAAgABAAAAAYAMgAAAAgABAAAACEAMgAAAAgABAAAAAAAMgAAAAgABAAAAAAAMgAAAAgAJgABAQUAAAAmAP///////wsABkxlYWRlckxpbmVzKgAAAAEABAAAABYABAAAACwAJwABAQUAAAAnAP///////xkABlNoYXBlQ29uc3RydWN0ZWRDaGFydERhdGEqAAAAAgAEAAAAKgAEAAAAGQAoAAIBBQAAACgA////////DAAGU2VyaWVzTGFiZWxzKgAAAAMABAAAACMABAAAACoABAAAAA8ABAAAACoAKQABAQUAAAApAP///////ycABlBvaW50QW5kU2VyaWVzQWRkaXRpb25TdHlsZXNEZWZpbml0aW9ucyoAAAAEAAQAAAAkAAQAAAAbACoAAgEFAAAAKgD///////8MAAZTZXJpZXNMYWJlbHMqAAAABQAEAAAAKAAEAAAAJwAEAAAAKAAEAAAAIgArAAEBBQAAACsA////////CAAGRGF0YUxpbmsqAAAABgAEAAAAFQAEAAAAAgAsAAMBBQAAACwA////////CgAGTGVnZW5kRGF0YSoAAAAHAAQAAAAmADIAAAAJAAQAAAAEADIAAAAJAAQAAAARADIAAAAJAC0AAQEFAAAALQD///////8IAAZPdmVybGF5cyoAAAAIAAQAAAAYADIAAAAFAC4AAQEFAAAALgD///////8MAAZMaW5rRGF0YUxpc3QqAAAACQAEAAAAHwAEAAAABwAvAAgBBQAAAC8A////////EQAGQ29sb3JEYXRhUHJvcGVydHkqAAAACgAEAAAAIAAEAAAAHgAEAAAAIAAEAAAADQAEAAAAIAAEAAAADQAyAAAACAAEAAAADQAyAAAACAAEAAAAEwAyAAAACAAEAAAAEQAyAAAACAAEAAAAEQAyAAAACAAEAAAAEQAAAAAAAAAAAAAAAAAAAAAAAAAAAAAAAAAAAAAAAAAAAAAAAAAAAAAAAAAAAAAAAAAAAAAAAAAAAAAAAAAAAAAAAAAAAAAAAAAAAAAFAAAAAwAAAAD/////OgARAQAAAAAAAAAAAAAgAv///////////////wAAAP///////////////wUAAAAEAP///////wUAAAAEAP///////wUAAAAEAP///////wUAAAAEAP///////wUAAAApAP///////wUAAAAhAP///////wUAAAAhAP///////wUAAAAhAP///////////////////////////////////////////////////////////////////////////////////////////////////////////////////////////////////////////////////////////////////////////////////////////////////////////////////////////////////////////////////////////////////////////////////////////////////////////////////////////////////////////////////////////////////////////////////////////////wEAIAL///////////////8AAA7///////8FAAAAFQD///////////////////////////////////////////////////////////////////////////////////////////////////////////////////////////////////////////////////////////////////////////////////////////////////////////////////////////////////////////////////////////////////////////////////////////////////////////////////////////////////////////////////////////////////////////////////////////////////////////////////////////////////////////////////////////////////////////////////////////////////////////////////////8CAAMCPgAAAAIABAAAAAIABAACAgAAAAYAAAAAAAUAAAA5AAUAAAAKAAUAAAAkAAUAAAAKAAUAAAAkAAUAAAAsAAMAAwI+AAAAAwAEAAAAAwAEAAIHAAAABwAAAAAABQAAAC0ABQAAABgABQAAAC0ABQAAABUABQAAADQABQAAABUABAAEAj4AAAAEAAQAAAAEAAQAAgAAAAAHAAAAAQAFAAAAAAAFAAAABgAFAAAAAAAFAAAADgAFAAAAAAAFAAAAFwAFAAAAAAAFAAAAKQAFAAECPgAAAAUABAAAAAUABAACCAAAAAcAAAACAAUAAAAYAAUAAAA1AAYAAQI+AAAABgAEAAAABgAEAAIAAAAABwAAAAMABQAAAAQABQAAAAwABwAFAj4AAAAHAAQAAAAHAAQAAgEAAAASAAAAAAAFAAAANwAFAAAACQAFAAAANwAFAAAAHwAFAAAANwAFAAAAIQAFAAAAMAAFAAAAIQAFAAAAMAAFAAAAIQAIAAICPgAAAAgABAAAAAgABAACBgAAAAcAAAAEAAUAAAAlAAUAAAAtAAUAAAAjAAUAAAAtAAkAAQI+AAAACQAEAAAACQAEAAIBAAAABwAAAAUABQAAAAcABQAAAAsACgACAj4AAAAKAAQAAAAKAAQAAgIAAAAYAAAAAAAFAAAAAgAFAAAAHgAFAAAAAgAFAAAALAALAAECPgAAAAsABAAAAAsABAACAQAAABgAAAABAAUAAAAJAAUAAAATAAwAAQI+AAAADAAEAAAADAAEAAIAAAAAGAAAAAIABQAAAAYABQAAAA0ADQABAj4AAAANAAQAAAANAAQAAgAAAAAYAAAAAwAFAAAADAAFAAAADgAOAAICPgAAAA4ABAAAAA4ABAACAAAAABgAAAAEAAUAAAANAAUAAAAPAAUAAAAEAAUAAAAPAA8AAgI+AAAADwAEAAAADwAEAAIAAAAAGAAAAAUABQAAAA4ABQAAABAABQAAAA4ABQAAABIAEAABAj4AAAAQAAQAAAAQAAQAAgAAAAAYAAAABgAFAAAADwAFAAAAEQARAAECPgAAABEABAAAABEABAACAAAAABkAAAAAAAUAAAAQAAUAAAASABIAAgI+AAAAEgAEAAAAEgAEAAIAAAAAGQAAAAEABQAAABEABQAAABcABQAAAA8ABQAAABcAEwABAj4AAAATAAQAAAATAAQAAgEAAAAZAAAAAgAFAAAACwAFAAAAFgAUAAECPgAAABQABAAAABQABAACBQAAABoAAAAAAAUAAAA4AAUAAAAaABUABAI+AAAAFQAEAAAAFQAEAAIJAAAAGgAAAAEABQAAADUABQAAAAEABQAAAAMA////////BQAAAAMA////////BQAAADQA////////FgABAj4AAAAWAAQAAAAWAAQAAgEAAAAaAAAAAgAFAAAAEwAFAAAAHAAXAAMCPgAAABcABAAAABcABAACAAAAABoAAAADAAUAAAASAAUAAAAZAAUAAAASAAUAAAAdAAUAAAAEAAUAAAApABgAAQI+AAAAGAAEAAAAGAAEAAIHAAAAIgAAAAAABQAAAAMABQAAAAUAGQABAj4AAAAZAAQAAAAZAAQAAgAAAAAiAAAAAQAFAAAAFwAFAAAAGwAaAAECPgAAABoABAAAABoABAACBQAAACIAAAACAAUAAAAUAAUAAAAjABsAAQI+AAAAGwAEAAAAGwAEAAIAAAAAJQAAAAAABQAAABkABQAAAB0AHAABAj4AAAAcAAQAAAAcAAQAAgEAAAAlAAAAAQAFAAAAFgAFAAAAHwAdAAICPgAAAB0ABAAAAB0ABAACAAAAACUAAAACAAUAAAAbAAUAAAAmAAUAAAAXAAUAAAApAB4AAQI+AAAAHgAEAAAAHgAEAAICAAAAJQAAAAMABQAAAAoABQAAACwAHwACAj4AAAAfAAQAAAAfAAQAAgEAAAApAAAAAAAFAAAAHAAFAAAAIAAFAAAABwAFAAAAIAAgAAICPgAAACAABAAAACAABAACAQAAACkAAAABAAUAAAAfAAUAAAAhAAUAAAAfAAUAAAAhACEACAI+AAAAIQAEAAAAIQAEAAIBAAAAKQAAAAIABQAAACAABQAAACIABQAAACAABQAAACQABQAAAAcABQAAACQABQAAAAcABQAAACQABQAAAAcABQAAACQABQAAAAAABQAAACQABQAAAAAA////////BQAAAAAA////////IgABAj4AAAAiAAQAAAAiAAQAAgEAAAApAAAAAwAFAAAAIQAFAAAAJAAjAAICPgAAACMABAAAACMABAACBQAAACkAAAAEAAUAAAAaAAUAAAAlAAUAAAA0AAUAAAAIACQABgI+AAAAJAAEAAAAJAAEAAIBAAAAKQAAAAUABQAAACIABQAAACsABQAAACEABQAAAAIABQAAACEABQAAAAIABQAAACEABQAAACwABQAAACEABQAAADQABQAAACEABQAAADQAJQABAj4AAAAlAAQAAAAlAAQAAgUAAAAqAAAAAAAFAAAAIwAFAAAACAAmAAECPgAAACYABAAAACYABAACAAAAACoAAAABAAUAAAAdAAUAAAAnACcAAQI+AAAAJwAEAAAAJwAEAAIAAAAAKgAAAAIABQAAACYABQAAACkAKAABAj4AAAAoAAQAAAAoAAQAAgQAAAAqAAAAAwAFAAAAKgAFAAAANAApAAUCPgAAACkABAAAACkABAACAAAAACoAAAAEAAUAAAAnAAUAAAAuAAUAAAAdAAUAAAAwAAUAAAAXAAUAAAAwAAUAAAAEAAUAAAAwAAUAAAAAAAUAAAAwACoAAQI+AAAAKgAEAAAAKgAEAAIDAAAAKgAAAAUABQAAADEABQAAACgAKwABAj4AAAArAAQAAAArAAQAAgEAAAAqAAAABgAFAAAAJAAFAAAANgAsAAQCPgAAACwABAAAACwABAACAgAAACoAAAAHAAUAAAAeAAUAAAAxAAUAAAAKAAUAAAAxAAUAAAACAAUAAAA0AAUAAAAkAAUAAAA0AC0AAgI+AAAALQAEAAAALQAEAAIGAAAAKgAAAAgABQAAAAgABQAAAAMABQAAAAgABQAAAAMALgABAj4AAAAuAAQAAAAuAAQAAgAAAAAqAAAACQAFAAAAKQAFAAAALwAvAAECPgAAAC8ABAAAAC8ABAACAAAAACoAAAAKAAUAAAAuAAUAAAAwADAABQI/AAAAAAAyAAAAAAAEAAIAAAAAKgAAAAsABQAAAC8ABQAAADIABQAAACkABQAAADcABQAAACkABQAAADcABQAAACkABQAAAAcABQAAACkABQAAAAcAMQACAj8AAAABADIAAAABAAQAAgIAAAAqAAAADAAFAAAALAAFAAAAKgAFAAAALAAFAAAANAAyAAECPwAAAAIAMgAAAAIABAACAAAAADMAAAAAAAUAAAAwAAUAAAAzADMAAQI/AAAAAwAyAAAAAwAEAAIAAAAAMwAAAAEABQAAADIABQAAADcANAAGAj8AAAAEADIAAAAEAAQAAgQAAAAzAAAAAgAFAAAAKAAFAAAAOAAFAAAAMQAFAAAAIwAFAAAALAAFAAAAAwAFAAAALAAFAAAAFQAFAAAAJAD///////8FAAAAJAD///////81AAECPwAAAAUAMgAAAAUABAACCAAAADQAAAAAAAUAAAAFAAUAAAAVADYAAQI/AAAABgAyAAAABgAEAAIBAAAANAAAAAEABQAAACsABQAAADkANwADAj8AAAAHADIAAAAHAAQAAgAAAAA0AAAAAgAFAAAAMwAFAAAABwAFAAAAMAAFAAAABwAFAAAAMAAFAAAABwA4AAECPwAAAAgAMgAAAAgABAACBAAAADQAAAADAAUAAAA0AAUAAAAUADkAAQI/AAAACQAyAAAACQAEAAIBAAAANAAAAAQABQAAADY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AAAAT//////////wEAmgIAAAAAAAAAAAAA/////0UNRQ0AAAVfaWQAEAAAAAS7M6UA+y0qRJV9NbjIfhLQA0RhdGEA2wwAAAhFeGNlbENvbG9yTW9kZUFjdGl2ZQAACENvbG9yQ2FjaGVSZXBhaXJlZEZvckxpbmtlZENoYXJ0cwAABENvbG9yQ2FjaGUAjwwAAAMwAIgAAAADQ2VsbEFkZHJlc3MAGgAAABBSb3cAAQAAABBDb2x1bW4AAQAAAAADQ29sb3IAVQAAABBBAAAAAAAQUgD/AAAAEEcA/wAAABBCAP8AAAABU2NBAAAAAAAAAAAAAVNjUgAAAAAAAADwPwFTY0cAAAAAAAAA8D8BU2NCAAAAAAAAAPA/AAADMQCIAAAAA0NlbGxBZGRyZXNzABoAAAAQUm93AAEAAAAQQ29sdW1uAAIAAAAAA0NvbG9yAFUAAAAQQQAAAAAAEFIA/wAAABBHAP8AAAAQQgD/AAAAAVNjQQAAAAAAAAAAAAFTY1IAAAAAAAAA8D8BU2NHAAAAAAAAAPA/AVNjQgAAAAAAAADwPwAAAzIAiAAAAANDZWxsQWRkcmVzcwAaAAAAEFJvdwABAAAAEENvbHVtbgADAAAAAANDb2xvcgBVAAAAEEEAAAAAABBSAP8AAAAQRwD/AAAAEEIA/wAAAAFTY0EAAAAAAAAAAAABU2NSAAAAAAAAAPA/AVNjRwAAAAAAAADwPwFTY0IAAAAAAAAA8D8AAAMzAIgAAAADQ2VsbEFkZHJlc3MAGgAAABBSb3cAAQAAABBDb2x1bW4ABAAAAAADQ29sb3IAVQAAABBBAAAAAAAQUgD/AAAAEEcA/wAAABBCAP8AAAABU2NBAAAAAAAAAAAAAVNjUgAAAAAAAADwPwFTY0cAAAAAAAAA8D8BU2NCAAAAAAAAAPA/AAADNACIAAAAA0NlbGxBZGRyZXNzABoAAAAQUm93AAEAAAAQQ29sdW1uAAUAAAAAA0NvbG9yAFUAAAAQQQAAAAAAEFIA/wAAABBHAP8AAAAQQgD/AAAAAVNjQQAAAAAAAAAAAAFTY1IAAAAAAAAA8D8BU2NHAAAAAAAAAPA/AVNjQgAAAAAAAADwPwAAAzUAiAAAAANDZWxsQWRkcmVzcwAaAAAAEFJvdwABAAAAEENvbHVtbgAGAAAAAANDb2xvcgBVAAAAEEEA/wAAABBSAKYAAAAQRwCmAAAAEEIApgAAAAFTY0EAAAAAAAAA8D8BU2NSAAAAAGClZ9g/AVNjRwAAAABgpWfYPwFTY0IAAAAAYKVn2D8AAAM2AIgAAAADQ2VsbEFkZHJlc3MAGgAAABBSb3cAAgAAABBDb2x1bW4AAQAAAAADQ29sb3IAVQAAABBBAP8AAAAQUgDdAAAAEEcA3QAAABBCAN0AAAABU2NBAAAAAAAAAPA/AVNjUgAAAACARCPnPwFTY0cAAAAAgEQj5z8BU2NCAAAAAIBEI+c/AAADNwCIAAAAA0NlbGxBZGRyZXNzABoAAAAQUm93AAIAAAAQQ29sdW1uAAIAAAAAA0NvbG9yAFUAAAAQQQAAAAAAEFIA/wAAABBHAP8AAAAQQgD/AAAAAVNjQQAAAAAAAAAAAAFTY1IAAAAAAAAA8D8BU2NHAAAAAAAAAPA/AVNjQgAAAAAAAADwPwAAAzgAiAAAAANDZWxsQWRkcmVzcwAaAAAAEFJvdwACAAAAEENvbHVtbgADAAAAAANDb2xvcgBVAAAAEEEAAAAAABBSAP8AAAAQRwD/AAAAEEIA/wAAAAFTY0EAAAAAAAAAAAABU2NSAAAAAAAAAPA/AVNjRwAAAAAAAADwPwFTY0IAAAAAAAAA8D8AAAM5AIgAAAADQ2VsbEFkZHJlc3MAGgAAABBSb3cAAgAAABBDb2x1bW4ABAAAAAADQ29sb3IAVQAAABBBAAAAAAAQUgD/AAAAEEcA/wAAABBCAP8AAAABU2NBAAAAAAAAAAAAAVNjUgAAAAAAAADwPwFTY0cAAAAAAAAA8D8BU2NCAAAAAAAAAPA/AAADMTAAiAAAAANDZWxsQWRkcmVzcwAaAAAAEFJvdwACAAAAEENvbHVtbgAFAAAAAANDb2xvcgBVAAAAEEEAAAAAABBSAP8AAAAQRwD/AAAAEEIA/wAAAAFTY0EAAAAAAAAAAAABU2NSAAAAAAAAAPA/AVNjRwAAAAAAAADwPwFTY0IAAAAAAAAA8D8AAAMxMQCIAAAAA0NlbGxBZGRyZXNzABoAAAAQUm93AAIAAAAQQ29sdW1uAAYAAAAAA0NvbG9yAFUAAAAQQQAAAAAAEFIA/wAAABBHAP8AAAAQQgD/AAAAAVNjQQAAAAAAAAAAAAFTY1IAAAAAAAAA8D8BU2NHAAAAAAAAAPA/AVNjQgAAAAAAAADwPwAAAzEyAIgAAAADQ2VsbEFkZHJlc3MAGgAAABBSb3cAAQAAABBDb2x1bW4ABwAAAAADQ29sb3IAVQAAABBBAP8AAAAQUgCmAAAAEEcApgAAABBCAKYAAAABU2NBAAAAAAAAAPA/AVNjUgAAAABgpWfYPwFTY0cAAAAAYKVn2D8BU2NCAAAAAGClZ9g/AAADMTMAiAAAAANDZWxsQWRkcmVzcwAaAAAAEFJvdwACAAAAEENvbHVtbgAHAAAAAANDb2xvcgBVAAAAEEEAAAAAABBSAP8AAAAQRwD/AAAAEEIA/wAAAAFTY0EAAAAAAAAAAAABU2NSAAAAAAAAAPA/AVNjRwAAAAAAAADwPwFTY0IAAAAAAAAA8D8AAAMxNACIAAAAA0NlbGxBZGRyZXNzABoAAAAQUm93AAEAAAAQQ29sdW1uAAgAAAAAA0NvbG9yAFUAAAAQQQD/AAAAEFIApgAAABBHAKYAAAAQQgCmAAAAAVNjQQAAAAAAAADwPwFTY1IAAAAAYKVn2D8BU2NHAAAAAGClZ9g/AVNjQgAAAABgpWfYPwAAAzE1AIgAAAADQ2VsbEFkZHJlc3MAGgAAABBSb3cAAgAAABBDb2x1bW4ACAAAAAADQ29sb3IAVQAAABBBAAAAAAAQUgD/AAAAEEcA/wAAABBCAP8AAAABU2NBAAAAAAAAAAAAAVNjUgAAAAAAAADwPwFTY0cAAAAAAAAA8D8BU2NCAAAAAAAAAPA/AAADMTYAiAAAAANDZWxsQWRkcmVzcwAaAAAAEFJvdwAAAAAAEENvbHVtbgAAAAAAAANDb2xvcgBVAAAAEEEA/wAAABBSAKYAAAAQRwCmAAAAEEIApgAAAAFTY0EAAAAAAAAA8D8BU2NSAAAAAGClZ9g/AVNjRwAAAABgpWfYPwFTY0IAAAAAYKVn2D8AAAMxNwCIAAAAA0NlbGxBZGRyZXNzABoAAAAQUm93AAAAAAAQQ29sdW1uAAEAAAAAA0NvbG9yAFUAAAAQQQD/AAAAEFIApgAAABBHAKYAAAAQQgCmAAAAAVNjQQAAAAAAAADwPwFTY1IAAAAAYKVn2D8BU2NHAAAAAGClZ9g/AVNjQgAAAABgpWfYPwAAAzE4AIgAAAADQ2VsbEFkZHJlc3MAGgAAABBSb3cAAAAAABBDb2x1bW4AAgAAAAADQ29sb3IAVQAAABBBAP8AAAAQUgCmAAAAEEcApgAAABBCAKYAAAABU2NBAAAAAAAAAPA/AVNjUgAAAABgpWfYPwFTY0cAAAAAYKVn2D8BU2NCAAAAAGClZ9g/AAADMTkAiAAAAANDZWxsQWRkcmVzcwAaAAAAEFJvdwAAAAAAEENvbHVtbgADAAAAAANDb2xvcgBVAAAAEEEA/wAAABBSAKYAAAAQRwCmAAAAEEIApgAAAAFTY0EAAAAAAAAA8D8BU2NSAAAAAGClZ9g/AVNjRwAAAABgpWfYPwFTY0IAAAAAYKVn2D8AAAMyMACIAAAAA0NlbGxBZGRyZXNzABoAAAAQUm93AAAAAAAQQ29sdW1uAAQAAAAAA0NvbG9yAFUAAAAQQQD/AAAAEFIApgAAABBHAKYAAAAQQgCmAAAAAVNjQQAAAAAAAADwPwFTY1IAAAAAYKVn2D8BU2NHAAAAAGClZ9g/AVNjQgAAAABgpWfYPwAAAzIxAIgAAAADQ2VsbEFkZHJlc3MAGgAAABBSb3cAAAAAABBDb2x1bW4ABQAAAAADQ29sb3IAVQAAABBBAP8AAAAQUgCmAAAAEEcApgAAABBCAKYAAAABU2NBAAAAAAAAAPA/AVNjUgAAAABgpWfYPwFTY0cAAAAAYKVn2D8BU2NCAAAAAGClZ9g/AAADMjIAiAAAAANDZWxsQWRkcmVzcwAaAAAAEFJvdwABAAAAEENvbHVtbgAAAAAAAANDb2xvcgBVAAAAEEEA/wAAABBSAN0AAAAQRwDdAAAAEEIA3QAAAAFTY0EAAAAAAAAA8D8BU2NSAAAAAIBEI+c/AVNjRwAAAACARCPnPwFTY0IAAAAAgEQj5z8AAAAAAk5hbWUAGwAAAEV4Y2VsQ29sb3JNb2RlRGF0YVByb3BlcnR5ABBWZXJzaW9uAAIAAAAJTGFzdFdyaXRlAA4FTj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ENAAAAP////8GAGcIAAAAAAAAAAAAAAgAAAAAAAEA/////xAFEAUAAAVfaWQAEAAAAAT3gBIGJpNrR41V6TGNex7VA0RhdGEAsAQAAANHcmlkTGluZVN0eWxlc0RhdGEAlwQAAANQcmltYXJ5VmFsdWVBeGlzR3JpZExpbmVTdHlsZQAdAgAAA01ham9yVW5pdExpbmVTdHlsZQD4AAAAA0NvbG9yAFUAAAAQQQD/AAAAEFIAiQAAABBHAIkAAAAQQgCJAAAAAVNjQQAAAAAAAADwPwFTY1IAAAAAAJgC0D8BU2NHAAAAAACYAtA/AVNjQgAAAAAAmALQPwACU2NoZW1lQ29sb3JJbmRleAARAAAAcHBOb3RTY2hlbWVDb2xvcgAQVGhlbWVDb2xvckluZGV4AAAAAAABVGludEFuZFNoYWRlAAAAAAAAANA/AUxpbmVXZWlnaHQAAAAAAAAA4D8CRGFzaFN0eWxlAAoAAABMaW5lU29saWQACFZpc2libGUAAQhJc0F1dG9tYXRpYwABAANNaW5vclVuaXRMaW5lU3R5bGUA+AAAAANDb2xvcgBVAAAAEEEA/wAAABBSALwAAAAQRwC8AAAAEEIAvAAAAAFTY0EAAAAAAAAA8D8BU2NSAAAAAGClF+A/AVNjRwAAAABgpRfgPwFTY0IAAAAAYKUX4D8AAlNjaGVtZUNvbG9ySW5kZXgAEQAAAHBwTm90U2NoZW1lQ29sb3IAEFRoZW1lQ29sb3JJbmRleAAKAAAAAVRpbnRBbmRTaGFkZQAAAACgmZnZPwFMaW5lV2VpZ2h0AAAAAAAAAOA/AkRhc2hTdHlsZQAKAAAATGluZVNvbGlkAAhWaXNpYmxlAAAISXNBdXRvbWF0aWMAAAAAA1ByaW1hcnlDYXRlZ29yeUF4aXNHcmlkTGluZVN0eWxlAB0CAAADTWFqb3JVbml0TGluZVN0eWxlAPgAAAADQ29sb3IAVQAAABBBAP8AAAAQUgCJAAAAEEcAiQAAABBCAIkAAAABU2NBAAAAAAAAAPA/AVNjUgAAAAAAmALQPwFTY0cAAAAAAJgC0D8BU2NCAAAAAACYAtA/AAJTY2hlbWVDb2xvckluZGV4ABEAAABwcE5vdFNjaGVtZUNvbG9yABBUaGVtZUNvbG9ySW5kZXgAAAAAAAFUaW50QW5kU2hhZGUAAAAAAAAA0D8BTGluZVdlaWdodAAAAAAAAADgPwJEYXNoU3R5bGUACgAAAExpbmVTb2xpZAAIVmlzaWJsZQABCElzQXV0b21hdGljAAAAA01pbm9yVW5pdExpbmVTdHlsZQD4AAAAA0NvbG9yAFUAAAAQQQD/AAAAEFIAvAAAABBHALwAAAAQQgC8AAAAAVNjQQAAAAAAAADwPwFTY1IAAAAAYKUX4D8BU2NHAAAAAGClF+A/AVNjQgAAAABgpRfgPwACU2NoZW1lQ29sb3JJbmRleAARAAAAcHBOb3RTY2hlbWVDb2xvcgAQVGhlbWVDb2xvckluZGV4AAoAAAABVGludEFuZFNoYWRlAAAAAKCZmdk/AUxpbmVXZWlnaHQAAAAAAAAA4D8CRGFzaFN0eWxlAAoAAABMaW5lU29saWQACFZpc2libGUAAAhJc0F1dG9tYXRpYwAAAAAIU2hvd0dyaWRsaW5lc0RlZmF1bHQAAAAAAk5hbWUAEQAAAEdyaWRsaW5lU2V0dGluZ3MAEFZlcnNpb24AAAAAAAlMYXN0V3JpdGUAiRpONZcBAAAAAgANAAAAAAADAP////+ZAJkAAAAFX2lkABAAAAAExJ6QDbhwuUGftw9nng6ukwNEYXRhAC8AAAAISXNBY3RpdmUAAARVbmJyZWFrYWJsZVNlcmllc0luZGljZXMABQAAAAAAAk5hbWUAGwAAAEF1dG9tYXRpY0JyZWFrU2V0dGluZ3NEYXRhABBWZXJzaW9uAAAAAAAJTGFzdFdyaXRlAKHb2dJwAQAAAAQAEwAAAAAABQD/////pwGnAQAABV9pZAAQAAAABBHgGxc/QhxOiRFD3g+4BlADRGF0YQBKAQAAA051bWJlckZvcm1hdFZhbHVlU3RyaW5ncwArAQAAAk51bWJlckZvcm1hdElkUHJpbWFyeQAlAAAAMDAwMDAwMDAtMDAwMC0wMDAwLTAwMDAtMDAwMDAwMDAwMDAwAAJQZXJjZW50Rm9ybWF0SWRQcmltYXJ5AA4AAABbJC00MDddIywjIzAlAAJOdW1iZXJGb3JtYXRJZFNlY29uZGFyeQAlAAAAMDAwMDAwMDAtMDAwMC0wMDAwLTAwMDAtMDAwMDAwMDAwMDAwAAJOdW1iZXJGb3JtYXRJZFByaW1hcnlDYXRlZ29yeQAlAAAAMDAwMDAwMDAtMDAwMC0wMDAwLTAwMDAtMDAwMDAwMDAwMDAwAAJQZXJjZW50Rm9ybWF0SWRQcmltYXJ5Q2F0ZWdvcnkADgAAAFskLTQwN10jLCMjMCUAAAACTmFtZQAOAAAATnVtYmVyRm9ybWF0cwAQVmVyc2lvbgABAAAACUxhc3RXcml0ZQA7t0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AAAABf////8JAAAA5w8AAAAAAAAAAAAAuUcAAAVfaWQAEAAAAAT8KNkAgOAmSamFjvW0B5w2A0RhdGEAX0cAAANEYXRhTGFiZWxzUGVyQXhpcwAoRwAAA1ByaW1hcnkA6UQAAAREYXRhTGFiZWxzAMhCAAADMAA+FgAAEFBvaW50SW5kZXgAAQAAAAJBbGlnbm1lbnQABwAAAENlbnRlcgAQU2VyaWVzSW5kZXgAAQAAAAhSZXF1aXJlRm9udENvbG9yTWlncmF0aW9uAAAITWFudWFsRGF0YUxhYmVsQmFja2dyb3VuZFZpc2libGUAAAhIYXNXaXNoQ29sb3IAAANUZXh0Qm94AL4GAAAFTWFuYWdlZElkABAAAAAESH9aaIxMOkGs39Bs5jKnqA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UAAAA1NCA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QAAADU0ICUAAUhlaWdodAAAAACgIp4qQAFXaWR0aAAAAADgp7g5QAFUb3AAAAAA4DcUH0ABTGVmdAAAAACACllo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FSmgy7WeRVNqgwANxP3ick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QUjwryEYMkRYeqYeT/TGGvCEhhc0NoYW5nZXMAAQhVc2VOYW1lSW5zdGVhZE9mVGFnQXNJZAABCFNoYXBlUHJldmlvdXNseUNyZWF0ZWQAAANGaWxsQ29sb3IAVQAAABBBAAAAAAAQUgAAAAAAEEcAAAAAABBCAAAAAAABU2NBAAAAAAAAAPC/AVNjUgAAAAAAAADwvwFTY0cACQAAAAUIAAAACgAAAOcPAAAAAAAAAAAA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QAAAABBHAEAAAAAQQgBAAAAAAVNjQQAAAAAAAADwPwFTY1IAAAAAgP0/qj8BU2NHAAAAAID9P6o/AVNjQgAAAACA/T+q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P6U9GlAAVkAAAAAoAsQK0AACEhhc0xlYWRlckxpbmUAAAhJc0NlbnRlckF1dG9tYXRpY0FkanVzdGVkAAAISXNVc2VyUG9zaXRpb24AAAhBZGRQcmVmaXhTcGFjZQAACEFkZFBvc3RmaXhTcGFjZQABAlBvc3RmaXgAAgAAACUAAlNlcGFyYXRvcgACAAAACgACVGV4dAADAAAANTQACFJlcXVpcmVSZWxhdGl2ZVBvc2l0aW9uVXBncmFkZQABCElzR2VvbWV0cnlPdXRPZkJvdW5kcwAACElzTGVhZGVyTGluZUluQXV0b01vZGUAAQhEZWxldGVkAAAAAzEAPhYAABBQb2ludEluZGV4AAIAAAACQWxpZ25tZW50AAcAAABDZW50ZXIAEFNlcmllc0luZGV4AAEAAAAIUmVxdWlyZUZvbnRDb2xvck1pZ3JhdGlvbgAACE1hbnVhbERhdGFMYWJlbEJhY2tncm91bmRWaXNpYmxlAAAISGFzV2lzaENvbG9yAAADVGV4dEJveAC+BgAABU1hbmFnZWRJZAAQAAAABEBGdP3fQDpIhk0GnPy68I8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FAAAAMjEg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UAAAAyMSAlAAFIZWlnaHQAAAAAoCKeKkABV2lkdGgAAAAA4Ke4OUABVG9wAAAAAEAcT0JAAUxlZnQAAAAAYIq6X0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DVpZEABWQAAAACgevZKQAADRW5kABsAAAABWAAAAACgDAZlQAFZAAAAAKB69kpAAAJTdGFydEFycm93SGVhZAARAAAAbXNvQXJyb3doZWFkTm9uZQACRW5kQXJyb3dIZWFkABEAAABtc29BcnJvd2hlYWROb25lAAVNYW5hZ2VkSWQAEAAAAASZNggbEBbaQb7vB34gXhdp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oAAAAFCQAAAAsAAADnDwAAAAAAAAAA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D0mhNAAVRvcAAAAACgevZKQAFMZWZ0AAAAAAA1aWR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CgDGZlQAFZAAAAAKB69kpAAANFbmQAGwAAAAFYAAAAAKAMBmVAAVkAAAAAoHr2SkAAAlN0YXJ0QXJyb3dIZWFkABEAAABtc29BcnJvd2hlYWROb25lAAJFbmRBcnJvd0hlYWQAEQAAAG1zb0Fycm93aGVhZE5vbmUABU1hbmFnZWRJZAAQAAAABHMoiVIOHepFmGHWyQ+zal4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IQAFUb3AAAAAAoHr2SkABTGVmdAAAAACgDAZlQAhGbGlwSG9yaXpvbnRhbGx5AAEIRmxpcEhvcml6b250YWxseUFwcGxpZWQAAAhGbGlwVmVydGljYWxseQAACEZsaXBWZXJ0aWNhbGx5QXBwbGllZAAAAVJvdGF0aW9uAAAAAAAAAAAAAVpPcmRlcgAAAAAAAAAAAANCb3JkZXJDb2xvcgBVAAAAEEEA/wAAABBSAEAAAAAQRwBAAAAAEEIAQAAAAAFTY0EAAAAAAAAA8D8BU2NSAAAAAMD9P6o/AVNjRwAAAADA/T+qPwFTY0IAAAAAwP0/qj8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Cuz3hhQAFZAAAAACyYMEVAAAhIYXNMZWFkZXJMaW5lAAAISXNDZW50ZXJBdXRvbWF0aWNBZGp1c3RlZAAACElzVXNlclBvc2l0aW9uAAAIQWRkUHJlZml4U3BhY2UAAAhBZGRQb3N0Zml4U3BhY2UAAQJQb3N0Zml4AAIAAAAlAAJTZXBhcmF0b3IAAgAAAAoAAlRleHQAAwAAADIxAAhSZXF1aXJlUmVsYXRpdmVQb3NpdGlvblVwZ3JhZGUAAQhJc0dlb21ldHJ5T3V0T2ZCb3VuZHMAAAhJc0xlYWRlckxpbmVJbkF1dG9Nb2RlAAEIRGVsZXRlZAAAAAMyAD4WAAAQUG9pbnRJbmRleAADAAAAAkFsaWdubWVudAAHAAAAQ2VudGVyABBTZXJpZXNJbmRleAABAAAACFJlcXVpcmVGb250Q29sb3JNaWdyYXRpb24AAAhNYW51YWxEYXRhTGFiZWxCYWNrZ3JvdW5kVmlzaWJsZQAACEhhc1dpc2hDb2xvcgAAA1RleHRCb3gAvgYAAAVNYW5hZ2VkSWQAEAAAAAQ7uIHHa9ifQJNAfHA3VzTr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QAAADI1ICUAAlRleHRIb3Jpem9udGFsQWxpZ25tZW50ABAAAABtc29BbmNob3JDZW50ZXIAAlBhcmFncmFwaEFsaWdubWVudAAPAAAAbXNvQWxpZ25DZW50ZXIAAlRleHRWZXILAAAABQoAAAAMAAAA5w8AAAAAAAAAAAAA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QAAADI1ICUAAUhlaWdodAAAAACgIp4qQAFXaWR0aAAAAADgp7g5QAFUb3AAAAAA4NhdUEABTGVmdAAAAADAg+Rg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Bgwf5jQAFZAAAAABhwxlZAAANFbmQAGwAAAAFYAAAAACAq/WVAAVkAAAAAGHDGVkAAAlN0YXJ0QXJyb3dIZWFkABEAAABtc29BcnJvd2hlYWROb25lAAJFbmRBcnJvd0hlYWQAEQAAAG1zb0Fycm93aGVhZE5vbmUABU1hbmFnZWRJZAAQAAAABDWqJFeWRkpEqYbC4jhjDa4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jOYvQAFUb3AAAAAAIHDGVkABTGVmdAAAAABgwf5j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ICpdZkABWQAAAAAYcMZWQAADRW5kABsAAAABWAAAAAAgKv1lQAFZAAAAABhwxlZAAAJTdGFydEFycm93SGVhZAARAAAAbXNvQXJyb3doZWFkTm9uZQACRW5kQXJyb3dIZWFkABEAAABtc29BcnJvd2hlYWROb25lAAVNYW5hZ2VkSWQAEAAAAAScybIFAkDYTYzPdM1Gm2/x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DAAAAAULAAAA/////x0IygcAAAAAAAAAAAAAAAAAAAAAAAABSGVpZ2h0AAAAAAAAAAAAAVdpZHRoAAAAAAAAAAhAAVRvcAAAAAAgcMZWQAFMZWZ0AAAAACAq/WVACEZsaXBIb3Jpem9udGFsbHkAAQhGbGlwSG9yaXpvbnRhbGx5QXBwbGllZAAACEZsaXBWZXJ0aWNhbGx5AAAIRmxpcFZlcnRpY2FsbHlBcHBsaWVkAAABUm90YXRpb24AAAAAAAAAAAABWk9yZGVyAAAAAAAAAAAAA0JvcmRlckNvbG9yAFUAAAAQQQD/AAAAEFIAQAAAABBHAEAAAAAQQgBAAAAAAVNjQQAAAAAAAADwPwFTY1IAAAAAwP0/qj8BU2NHAAAAAMD9P6o/AVNjQgAAAADA/T+q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D4OgGJAAVkAAAAA1pbOUUAACEhhc0xlYWRlckxpbmUAAAhJc0NlbnRlckF1dG9tYXRpY0FkanVzdGVkAAAISXNVc2VyUG9zaXRpb24AAAhBZGRQcmVmaXhTcGFjZQAACEFkZFBvc3RmaXhTcGFjZQABAlBvc3RmaXgAAgAAACUAAlNlcGFyYXRvcgACAAAACgACVGV4dAADAAAAMjUACFJlcXVpcmVSZWxhdGl2ZVBvc2l0aW9uVXBncmFkZQABCElzR2VvbWV0cnlPdXRPZkJvdW5kcwAACElzTGVhZGVyTGluZUluQXV0b01vZGUAAQhEZWxldGVk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MYWJlbHNWaXNpYmxlAAEIQXV0b21hdGljTGFiZWxCYWNrZ3JvdW5kc0VuYWJsZWQAAQADU2Vjb25kYXJ5ACYCAAAERGF0YUxhYmVscwAF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MYWJlbHNWaXNpYmxlAAAIQXV0b21hdGljTGFiZWxCYWNrZ3JvdW5kc0VuYWJsZWQAAQAACERpc2FibGVBdXRvbWF0aWNEZWFjdGl2YXRpb24AAAACTmFtZQALAAAARGF0YUxhYmVscwAQVmVyc2lvbgAHAAAACUxhc3RXcml0ZQBGt0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0AAAAF/////w4AAADnDwAAAAAAAAAAAAC5RwAABV9pZAAQAAAABGbkCQsihzZLmiPnBGBBjfkDRGF0YQBfRwAAA0RhdGFMYWJlbHNQZXJBeGlzAChHAAADUHJpbWFyeQDpRAAABERhdGFMYWJlbHMAyEIAAAMwAD4WAAAQUG9pbnRJbmRleAABAAAAAkFsaWdubWVudAAHAAAAQ2VudGVyABBTZXJpZXNJbmRleAABAAAACFJlcXVpcmVGb250Q29sb3JNaWdyYXRpb24AAAhNYW51YWxEYXRhTGFiZWxCYWNrZ3JvdW5kVmlzaWJsZQAACEhhc1dpc2hDb2xvcgAAA1RleHRCb3gAvgYAAAVNYW5hZ2VkSWQAEAAAAARIf1pojEw6Qazf0GzmMqeo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QAAADU0ICUAAlRleHRIb3Jpem9udGFsQWxpZ25tZW50ABAAAABtc29BbmNob3JDZW50ZXI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FAAAANTQgJQABSGVpZ2h0AAAAAKAinipAAVdpZHRoAAAAAOCnuDlAAVRvcAAAAADgNxQfQAFMZWZ0AAAAAIAKWWh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AAAAAAAAVkAAAAAAAAAAAAAA0VuZAAbAAAAAVgAAAAAAAAAAAABWQAAAAAAAAAAAAACU3RhcnRBcnJvd0hlYWQAEQAAAG1zb0Fycm93aGVhZE5vbmUAAkVuZEFycm93SGVhZAARAAAAbXNvQXJyb3doZWFkTm9uZQAFTWFuYWdlZElkABAAAAAEVKaDLtZ5FU2qDAA3E/eJy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BSPCvIRgyRFh6ph5P9MYa8ISGFzQ2hhbmdlcwABCFVzZU5hbWVJbnN0ZWFkT2ZUYWdBc0lkAAEIU2hhcGVQcmV2aW91c2x5Q3JlYXRlZAAAA0ZpbGxDb2xvcgBVAAAAEEEAAAAAABBSAAAAAAAQRwAAAAAAEEIAAAAAAAFTY0EAAAAAAAAA8L8BU2NSAAAAAAAAAPC/AVNjRwAOAAAABQ0AAAAPAAAA5w8AAAAAAAAAAAA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BAAAAAEEcAQAAAABBCAEAAAAABU2NBAAAAAAAAAPA/AVNjUgAAAACA/T+qPwFTY0cAAAAAgP0/qj8BU2NCAAAAAID9P6o/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pT0aUABWQAAAACgCxArQAAISGFzTGVhZGVyTGluZQAACElzQ2VudGVyQXV0b21hdGljQWRqdXN0ZWQAAAhJc1VzZXJQb3NpdGlvbgAACEFkZFByZWZpeFNwYWNlAAAIQWRkUG9zdGZpeFNwYWNlAAECUG9zdGZpeAACAAAAJQACU2VwYXJhdG9yAAIAAAAKAAJUZXh0AAMAAAA1NAAIUmVxdWlyZVJlbGF0aXZlUG9zaXRpb25VcGdyYWRlAAEISXNHZW9tZXRyeU91dE9mQm91bmRzAAAISXNMZWFkZXJMaW5lSW5BdXRvTW9kZQABCERlbGV0ZWQAAAADMQA+FgAAEFBvaW50SW5kZXgAAgAAAAJBbGlnbm1lbnQABwAAAENlbnRlcgAQU2VyaWVzSW5kZXgAAQAAAAhSZXF1aXJlRm9udENvbG9yTWlncmF0aW9uAAAITWFudWFsRGF0YUxhYmVsQmFja2dyb3VuZFZpc2libGUAAAhIYXNXaXNoQ29sb3IAAANUZXh0Qm94AL4GAAAFTWFuYWdlZElkABAAAAAEQEZ0/d9AOkiGTQac/Lrwjw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UAAAAyMSA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QAAADIxICUAAUhlaWdodAAAAACgIp4qQAFXaWR0aAAAAADgp7g5QAFUb3AAAAAAQBxPQkABTGVmdAAAAABgirpf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NWlkQAFZAAAAAKB69kpAAANFbmQAGwAAAAFYAAAAAKAMBmVAAVkAAAAAoHr2SkAAAlN0YXJ0QXJyb3dIZWFkABEAAABtc29BcnJvd2hlYWROb25lAAJFbmRBcnJvd0hlYWQAEQAAAG1zb0Fycm93aGVhZE5vbmUABU1hbmFnZWRJZAAQAAAABJk2CBsQFtpBvu8HfiBeF2k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DwAAAAUOAAAAEAAAAOcPAAAAAAAAAAA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PSaE0ABVG9wAAAAAKB69kpAAUxlZnQAAAAAADVpZE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KAMZmVAAVkAAAAAoHr2SkAAA0VuZAAbAAAAAVgAAAAAoAwGZUABWQAAAACgevZKQAACU3RhcnRBcnJvd0hlYWQAEQAAAG1zb0Fycm93aGVhZE5vbmUAAkVuZEFycm93SGVhZAARAAAAbXNvQXJyb3doZWFkTm9uZQAFTWFuYWdlZElkABAAAAAEcyiJUg4d6kWYYdbJD7NqXg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hAAVRvcAAAAACgevZKQAFMZWZ0AAAAAKAMBmVACEZsaXBIb3Jpem9udGFsbHkAAQhGbGlwSG9yaXpvbnRhbGx5QXBwbGllZAAACEZsaXBWZXJ0aWNhbGx5AAAIRmxpcFZlcnRpY2FsbHlBcHBsaWVkAAABUm90YXRpb24AAAAAAAAAAAABWk9yZGVyAAAAAAAAAAAAA0JvcmRlckNvbG9yAFUAAAAQQQD/AAAAEFIAQAAAABBHAEAAAAAQQgBAAAAAAVNjQQAAAAAAAADwPwFTY1IAAAAAwP0/qj8BU2NHAAAAAMD9P6o/AVNjQgAAAADA/T+q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K7PeGFAAVkAAAAALJgwRUAACEhhc0xlYWRlckxpbmUAAAhJc0NlbnRlckF1dG9tYXRpY0FkanVzdGVkAAAISXNVc2VyUG9zaXRpb24AAAhBZGRQcmVmaXhTcGFjZQAACEFkZFBvc3RmaXhTcGFjZQABAlBvc3RmaXgAAgAAACUAAlNlcGFyYXRvcgACAAAACgACVGV4dAADAAAAMjEACFJlcXVpcmVSZWxhdGl2ZVBvc2l0aW9uVXBncmFkZQABCElzR2VvbWV0cnlPdXRPZkJvdW5kcwAACElzTGVhZGVyTGluZUluQXV0b01vZGUAAQhEZWxldGVkAAAAAzIAPhYAABBQb2ludEluZGV4AAMAAAACQWxpZ25tZW50AAcAAABDZW50ZXIAEFNlcmllc0luZGV4AAEAAAAIUmVxdWlyZUZvbnRDb2xvck1pZ3JhdGlvbgAACE1hbnVhbERhdGFMYWJlbEJhY2tncm91bmRWaXNpYmxlAAAISGFzV2lzaENvbG9yAAADVGV4dEJveAC+BgAABU1hbmFnZWRJZAAQAAAABDu4gcdr2J9Ak0B8cDdXNOs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FAAAAMjUgJQACVGV4dEhvcml6b250YWxBbGlnbm1lbnQAEAAAAG1zb0FuY2hvckNlbnRlcgACUGFyYWdyYXBoQWxpZ25tZW50AA8AAABtc29BbGlnbkNlbnRlcgACVGV4dFZlchAAAAAFDwAAABEAAADnDwAAAAAAAAAAAAB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FAAAAMjUgJQABSGVpZ2h0AAAAAKAinipAAVdpZHRoAAAAAOCnuDlAAVRvcAAAAADg2F1QQAFMZWZ0AAAAAMCD5GB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GDB/mNAAVkAAAAAGHDGVkAAA0VuZAAbAAAAAVgAAAAAICr9ZUABWQAAAAAYcMZWQAACU3RhcnRBcnJvd0hlYWQAEQAAAG1zb0Fycm93aGVhZE5vbmUAAkVuZEFycm93SGVhZAARAAAAbXNvQXJyb3doZWFkTm9uZQAFTWFuYWdlZElkABAAAAAENaokV5ZGSkSphsLiOGMNrg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CM5i9AAVRvcAAAAAAgcMZWQAFMZWZ0AAAAAGDB/mN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gKl1mQAFZAAAAABhwxlZAAANFbmQAGwAAAAFYAAAAACAq/WVAAVkAAAAAGHDGVkAAAlN0YXJ0QXJyb3dIZWFkABEAAABtc29BcnJvd2hlYWROb25lAAJFbmRBcnJvd0hlYWQAEQAAAG1zb0Fycm93aGVhZE5vbmUABU1hbmFnZWRJZAAQAAAABJzJsgUCQNhNjM90zUabb/E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RAAAABRAAAAD/////HQjKBwAAAAAAAAAAAAAAAAAAAAAAAAFIZWlnaHQAAAAAAAAAAAABV2lkdGgAAAAAAAAACEABVG9wAAAAACBwxlZAAUxlZnQAAAAAICr9ZUAIRmxpcEhvcml6b250YWxseQABCEZsaXBIb3Jpem9udGFsbHlBcHBsaWVkAAAIRmxpcFZlcnRpY2FsbHkAAAhGbGlwVmVydGljYWxseUFwcGxpZWQAAAFSb3RhdGlvbgAAAAAAAAAAAAFaT3JkZXIAAAAAAAAAAAADQm9yZGVyQ29sb3IAVQAAABBBAP8AAAAQUgBAAAAAEEcAQAAAABBCAEAAAAABU2NBAAAAAAAAAPA/AVNjUgAAAADA/T+qPwFTY0cAAAAAwP0/qj8BU2NCAAAAAMD9P6o/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Pg6AYkABWQAAAADWls5RQAAISGFzTGVhZGVyTGluZQAACElzQ2VudGVyQXV0b21hdGljQWRqdXN0ZWQAAAhJc1VzZXJQb3NpdGlvbgAACEFkZFByZWZpeFNwYWNlAAAIQWRkUG9zdGZpeFNwYWNlAAECUG9zdGZpeAACAAAAJQACU2VwYXJhdG9yAAIAAAAKAAJUZXh0AAMAAAAyNQAIUmVxdWlyZVJlbGF0aXZlUG9zaXRpb25VcGdyYWRlAAEISXNHZW9tZXRyeU91dE9mQm91bmRzAAAISXNMZWFkZXJMaW5lSW5BdXRvTW9kZQABCERlbGV0ZWQ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xhYmVsc1Zpc2libGUAAQhBdXRvbWF0aWNMYWJlbEJhY2tncm91bmRzRW5hYmxlZAABAANTZWNvbmRhcnkAJgIAAAREYXRhTGFiZWxzAAU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xhYmVsc1Zpc2libGUAAAhBdXRvbWF0aWNMYWJlbEJhY2tncm91bmRzRW5hYmxlZAABAAAIRGlzYWJsZUF1dG9tYXRpY0RlYWN0aXZhdGlvbgAAAAJOYW1lAAsAAABEYXRhTGFiZWxzABBWZXJzaW9uAAgAAAAJTGFzdFdyaXRlAEe3Tj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gAAAAT//////////wEAHQUAAAAAAAAAAAAA/////8IKwgoAAAVfaWQAEAAAAATn9wAUjRbzRpsp7W31E1sgA0RhdGEAZwoAAANTZXJpZXNTdHlsZXMAaAEAAAMxAGABAAACU3R5bGUAEgAAAHhsTWFya2VyU3R5bGVOb25lABBTaXplAAgAAAADQ29sb3IAVQAAABBBAP8AAAAQUgD7AAAAEEcAugAAABBCALkAAAABU2NBAAAAAAAAAPA/AVNjUgAAAADAtd7uPwFTY0cAAAAA4OJs3z8BU2NCAAAAAGCyDN8/AAFUaW50AAAAAAAAAAAAA1RoZW1lQ29sb3JQb3NpdGlvbgC2AAAAAl90eXBlAFEAAABlbXBvd2VyLkNoYXJ0cy5Db21tb24uQ29sb3JUcmFuc2xhdGlvbi5UaGVtZUNvbG9yUG9zaXRpb24sIGVtcG93ZXIuQ2hhcnRzLkNvbW1vbgAQVGhlbWVDb2xvclNjaGVtZUluZGV4AP////8CSW5kZXgABwAAAE5vVGludAAISXNEZWZhdWx0Q29sb3IAABBEZWZhdWx0Q29sb3JJbmRleAD/////AAAABFBvaW50U3R5bGVzAKcIAAADMAC3AQAAA1BvaW50QWRkcmVzcwAzAAAAEFNlcmllc0luZGV4AAEAAAAQUG9pbnRJbmRleAABAAAACElzUG9pbnRTdW0AAAADTWFya2VyU3R5bGVEYXRhAGABAAACU3R5bGUAEgAAAHhsTWFya2VyU3R5bGVOb25lABBTaXplAAgAAAADQ29sb3IAVQAAABBBAP8AAAAQUgD7AAAAEEcAugAAABBCALkAAAABU2NBAAAAAAAAAPA/AVNjUgAAAADAtd7uPwFTY0cAAAAA4OJs3z8BU2NCAAAAAGCyDN8/AAFUaW50AAAAAAAAAAAAA1RoZW1lQ29sb3JQb3NpdGlvbgC2AAAAAl90eXBlAFEAAABlbXBvd2VyLkNoYXJ0cy5Db21tb24uQ29sb3JUcmFuc2xhdGlvbi5UaGVtZUNvbG9yUG9zaXRpb24sIGVtcG93ZXIuQ2hhcnRzLkNvbW1vbgAQVGhlbWVDb2xvclNjaGVtZUluZGV4AP////8CSW5kZXgABwAAAE5vVGludAAISXNEZWZhdWx0Q29sb3IAABBEZWZhdWx0Q29sb3JJbmRleAD/////AAAAAzEAtwEAAANQb2ludEFkZHJlc3MAMwAAABBTZXJpZXNJbmRleAABAAAAEFBvaW50SW5kZXgAAgAAAAhJc1BvaW50U3VtAAAAA01hcmtlclN0eWxlRGF0YQBgAQAAAlN0eWxlABIAAAB4bE1hcmtlclN0eWxlTm9uZQAQU2l6ZQAIAAAAA0NvbG9yAFUAAAAQQQD/AAAAEFIA+wAAABBHALoAAAAQQgC5AAAAAVNjQQAAAAAAAADwPwFTY1IAAAAAwLXe7j8BU2NHAAAAAODibN8/AVNjQgAAAABgsgzfPwABVGludAAAAAAAAAAAAANUaGVtZUNvbG9yUG9zaXRpb24AtgAAAAJfdHlwZQBRAAAAZW1wb3dlci5DaGFydHMuQ29tbW9uLkNvbG9yVHJhbnNsYXRpb24uVGhlbWVDb2xvclBvc2l0aW9uLCBlbXBvd2VyLkNoYXJ0cy5Db21tb24AEFRoZW1lQ29sb3JTY2hlbWVJbmRleAD/////AkluZGV4AAcAAABOb1RpbnQACElzRGVmYXVsdENvbG9yAAAQRGVmYXVsdENvbG9ySW5kZXgA/////wAAAAMyALcBAAADUG9pbnRBZGRyZXNzADMAAAAQU2VyaWVzSW5kZXgAAQAAABBQb2ludEluZGV4AAMAAAAISXNQb2ludFN1bQAAAANNYXJrZXJTdHlsZURhdGEAYAEAAAJTdHlsZQASAAAAeGxNYXJrZXJTdHlsZU5vbmUAEFNpemUACAAAAANDb2xvcgBVAAAAEEEA/wAAABBSAPsAAAAQRwC6AAAAEEIAuQAAAAFTY0EAAAAAAAAA8D8BU2NSAAAAAMC13u4/AVNjRwAAAADg4mzfPwFTY0IAAAAAYLIM3z8AAVRpbnQAAAAAAAAAAAADVGhlbWVDb2xvclBvc2l0aW9uALYAAAACX3R5cGUAUQAAAGVtcG93ZXIuQ2hhcnRzLkNvbW1vbi5Db2xvclRyYW5zbGF0aW9uLlRoZW1lQ29sb3JQb3NpdGlvbiwgZW1wb3dlci5DaGFydHMuQ29tbW9uABBUaGVtZUNvbG9yU2NoZW1lSW5kZXgA/////wJJbmRleAAHAAAATm9UaW50AAhJc0RlZmF1bHRDb2xvcgAAEERlZmF1bHRDb2xvckluZGV4AP////8AAAADMwC3AQAAA1BvaW50QWRkcmVzcwAzAAAAEFNlcmllc0luZGV4AAEAAAAQUG9pbnRJbmRleAAEAAAACElzUG9pbnRTdW0AAAADTWFya2VyU3R5bGVEYXRhAGABAAACU3R5bGUAEgAAAHhsTWFya2VyU3R5bGVOb25lABBTaXplAAgAAAADQ29sb3IAVQAAABBBAP8AAAAQUgD7AAAAEEcAugAAABBCALkAAAABU2NBAAAAAAAAAPA/AVNjUgAAAADAtd7uPwFTY0cAAAAA4OJs3z8BU2NCAAAAAGCyDN8/AAFUaW50AAAAAAAAAAAAA1RoZW1lQ29sb3JQb3NpdGlvbgC2AAAAAl90eXBlAFEAAABlbXBvd2VyLkNoYXJ0cy5Db21tb24uQ29sb3JUcmFuc2xhdGlvbi5UaGVtZUNvbG9yUG9zaXRpb24sIGVtcG93ZXIuQ2hhcnRzLkNvbW1vbgAQVGhlbWVDb2xvclNjaGVtZUluZGV4AP////8CSW5kZXgABwAAAE5vVGludAAISXNEZWZhdWx0Q29sb3IAABBEZWZhdWx0Q29sb3JJbmRleAD/////AAAAAzQAtwEAAANQb2ludEFkZHJlc3MAMwAAABBTZXJpZXNJbmRleAABAAAAEFBvaW50SW5kZXgABQAAAAhJc1BvaW50U3VtAAAAA01hcmtlclN0eWxlRGF0YQBgAQAAAlN0eWxlABIAAAB4bE1hcmtlclN0eWxlTm9uZQAQU2l6ZQAIAAAAA0NvbG9yAFUAAAAQQQD/AAAAEFIA+wAAABBHALoAAAAQQgC5AAAAAVNjQQAAAAAAAADwPwFTY1IAAAAAwLXe7j8BU2NHAAAAAODibN8/AVNjQgAAAABgsgzfPwABVGludAAAAAAAAAAAAANUaGVtZUNvbG9yUG9zaXRpb24AtgAAAAJfdHlwZQBRAAAAZW1wb3dlci5DaGFydHMuQ29tbW9uLkNvbG9yVHJhbnNsYXRpb24uVGhlbWVDb2xvclBvc2l0aW9uLCBlbXBvd2VyLkNoYXJ0cy5Db21tb24AEFRoZW1lQ29sb3JTY2hlbWVJbmRleAD/////AkluZGV4AAcAAABOb1RpbnQACElzRGVmYXVsdENvbG9yAAAQRGVmYXVsdENvbG9ySW5kZXgA/////wAAAAAIU3VwcHJlc3NNYXJrZXJzAAAIUmVxdWlyZU1hbnVhbFVwZ3JhZGVPbkZpcnN0VGltZVJlYWQAAAACTmFtZQAMAAAATWFya2Vyc0RhdGEAEFZlcnNpb24AAQAAAAlMYXN0V3JpdGUAygBp4I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MAAAAF/////xQAAADnDwAAAAAAAAAAAAC5RwAABV9pZAAQAAAABORO5BVVH2pGrncZnzBmCO4DRGF0YQBfRwAAA0RhdGFMYWJlbHNQZXJBeGlzAChHAAADUHJpbWFyeQDpRAAABERhdGFMYWJlbHMAyEIAAAMwAD4WAAAQUG9pbnRJbmRleAABAAAAAkFsaWdubWVudAAHAAAAQ2VudGVyABBTZXJpZXNJbmRleAABAAAACFJlcXVpcmVGb250Q29sb3JNaWdyYXRpb24AAAhNYW51YWxEYXRhTGFiZWxCYWNrZ3JvdW5kVmlzaWJsZQAACEhhc1dpc2hDb2xvcgAAA1RleHRCb3gAvgYAAAVNYW5hZ2VkSWQAEAAAAARIf1pojEw6Qazf0GzmMqeo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QAAADU0ICUAAlRleHRIb3Jpem9udGFsQWxpZ25tZW50ABAAAABtc29BbmNob3JDZW50ZXI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FAAAANTQgJQABSGVpZ2h0AAAAAKAinipAAVdpZHRoAAAAAOCnuDlAAVRvcAAAAADgNxQfQAFMZWZ0AAAAAIAKWWh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AAAAAAAAVkAAAAAAAAAAAAAA0VuZAAbAAAAAVgAAAAAAAAAAAABWQAAAAAAAAAAAAACU3RhcnRBcnJvd0hlYWQAEQAAAG1zb0Fycm93aGVhZE5vbmUAAkVuZEFycm93SGVhZAARAAAAbXNvQXJyb3doZWFkTm9uZQAFTWFuYWdlZElkABAAAAAEVKaDLtZ5FU2qDAA3E/eJy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BSPCvIRgyRFh6ph5P9MYa8ISGFzQ2hhbmdlcwABCFVzZU5hbWVJbnN0ZWFkT2ZUYWdBc0lkAAEIU2hhcGVQcmV2aW91c2x5Q3JlYXRlZAAAA0ZpbGxDb2xvcgBVAAAAEEEAAAAAABBSAAAAAAAQRwAAAAAAEEIAAAAAAAFTY0EAAAAAAAAA8L8BU2NSAAAAAAAAAPC/AVNjRwAUAAAABRMAAAAVAAAA5w8AAAAAAAAAAAA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BAAAAAEEcAQAAAABBCAEAAAAABU2NBAAAAAAAAAPA/AVNjUgAAAACA/T+qPwFTY0cAAAAAgP0/qj8BU2NCAAAAAID9P6o/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pT0aUABWQAAAACgCxArQAAISGFzTGVhZGVyTGluZQAACElzQ2VudGVyQXV0b21hdGljQWRqdXN0ZWQAAAhJc1VzZXJQb3NpdGlvbgAACEFkZFByZWZpeFNwYWNlAAAIQWRkUG9zdGZpeFNwYWNlAAECUG9zdGZpeAACAAAAJQACU2VwYXJhdG9yAAIAAAAKAAJUZXh0AAMAAAA1NAAIUmVxdWlyZVJlbGF0aXZlUG9zaXRpb25VcGdyYWRlAAEISXNHZW9tZXRyeU91dE9mQm91bmRzAAAISXNMZWFkZXJMaW5lSW5BdXRvTW9kZQABCERlbGV0ZWQAAAADMQA+FgAAEFBvaW50SW5kZXgAAgAAAAJBbGlnbm1lbnQABwAAAENlbnRlcgAQU2VyaWVzSW5kZXgAAQAAAAhSZXF1aXJlRm9udENvbG9yTWlncmF0aW9uAAAITWFudWFsRGF0YUxhYmVsQmFja2dyb3VuZFZpc2libGUAAAhIYXNXaXNoQ29sb3IAAANUZXh0Qm94AL4GAAAFTWFuYWdlZElkABAAAAAEQEZ0/d9AOkiGTQac/Lrwjw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UAAAAyMSA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QAAADIxICUAAUhlaWdodAAAAACgIp4qQAFXaWR0aAAAAADgp7g5QAFUb3AAAAAAQBxPQkABTGVmdAAAAABgirpf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NWlkQAFZAAAAAKB69kpAAANFbmQAGwAAAAFYAAAAAKAMBmVAAVkAAAAAoHr2SkAAAlN0YXJ0QXJyb3dIZWFkABEAAABtc29BcnJvd2hlYWROb25lAAJFbmRBcnJvd0hlYWQAEQAAAG1zb0Fycm93aGVhZE5vbmUABU1hbmFnZWRJZAAQAAAABJk2CBsQFtpBvu8HfiBeF2k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FQAAAAUUAAAAFgAAAOcPAAAAAAAAAAA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PSaE0ABVG9wAAAAAKB69kpAAUxlZnQAAAAAADVpZE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KAMZmVAAVkAAAAAoHr2SkAAA0VuZAAbAAAAAVgAAAAAoAwGZUABWQAAAACgevZKQAACU3RhcnRBcnJvd0hlYWQAEQAAAG1zb0Fycm93aGVhZE5vbmUAAkVuZEFycm93SGVhZAARAAAAbXNvQXJyb3doZWFkTm9uZQAFTWFuYWdlZElkABAAAAAEcyiJUg4d6kWYYdbJD7NqXg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hAAVRvcAAAAACgevZKQAFMZWZ0AAAAAKAMBmVACEZsaXBIb3Jpem9udGFsbHkAAQhGbGlwSG9yaXpvbnRhbGx5QXBwbGllZAAACEZsaXBWZXJ0aWNhbGx5AAAIRmxpcFZlcnRpY2FsbHlBcHBsaWVkAAABUm90YXRpb24AAAAAAAAAAAABWk9yZGVyAAAAAAAAAAAAA0JvcmRlckNvbG9yAFUAAAAQQQD/AAAAEFIAQAAAABBHAEAAAAAQQgBAAAAAAVNjQQAAAAAAAADwPwFTY1IAAAAAwP0/qj8BU2NHAAAAAMD9P6o/AVNjQgAAAADA/T+q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K7PeGFAAVkAAAAALJgwRUAACEhhc0xlYWRlckxpbmUAAAhJc0NlbnRlckF1dG9tYXRpY0FkanVzdGVkAAAISXNVc2VyUG9zaXRpb24AAAhBZGRQcmVmaXhTcGFjZQAACEFkZFBvc3RmaXhTcGFjZQABAlBvc3RmaXgAAgAAACUAAlNlcGFyYXRvcgACAAAACgACVGV4dAADAAAAMjEACFJlcXVpcmVSZWxhdGl2ZVBvc2l0aW9uVXBncmFkZQABCElzR2VvbWV0cnlPdXRPZkJvdW5kcwAACElzTGVhZGVyTGluZUluQXV0b01vZGUAAQhEZWxldGVkAAAAAzIAPhYAABBQb2ludEluZGV4AAMAAAACQWxpZ25tZW50AAcAAABDZW50ZXIAEFNlcmllc0luZGV4AAEAAAAIUmVxdWlyZUZvbnRDb2xvck1pZ3JhdGlvbgAACE1hbnVhbERhdGFMYWJlbEJhY2tncm91bmRWaXNpYmxlAAAISGFzV2lzaENvbG9yAAADVGV4dEJveAC+BgAABU1hbmFnZWRJZAAQAAAABDu4gcdr2J9Ak0B8cDdXNOs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FAAAAMjUgJQACVGV4dEhvcml6b250YWxBbGlnbm1lbnQAEAAAAG1zb0FuY2hvckNlbnRlcgACUGFyYWdyYXBoQWxpZ25tZW50AA8AAABtc29BbGlnbkNlbnRlcgACVGV4dFZlchYAAAAFFQAAABcAAADnDwAAAAAAAAAAAAB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FAAAAMjUgJQABSGVpZ2h0AAAAAKAinipAAVdpZHRoAAAAAOCnuDlAAVRvcAAAAADg2F1QQAFMZWZ0AAAAAMCD5GB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GDB/mNAAVkAAAAAGHDGVkAAA0VuZAAbAAAAAVgAAAAAICr9ZUABWQAAAAAYcMZWQAACU3RhcnRBcnJvd0hlYWQAEQAAAG1zb0Fycm93aGVhZE5vbmUAAkVuZEFycm93SGVhZAARAAAAbXNvQXJyb3doZWFkTm9uZQAFTWFuYWdlZElkABAAAAAENaokV5ZGSkSphsLiOGMNrg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CM5i9AAVRvcAAAAAAgcMZWQAFMZWZ0AAAAAGDB/mN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gKl1mQAFZAAAAABhwxlZAAANFbmQAGwAAAAFYAAAAACAq/WVAAVkAAAAAGHDGVkAAAlN0YXJ0QXJyb3dIZWFkABEAAABtc29BcnJvd2hlYWROb25lAAJFbmRBcnJvd0hlYWQAEQAAAG1zb0Fycm93aGVhZE5vbmUABU1hbmFnZWRJZAAQAAAABJzJsgUCQNhNjM90zUabb/E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XAAAABRYAAAD/////HQjKBwAAAAAAAAAAAAAAAAAAAAAAAAFIZWlnaHQAAAAAAAAAAAABV2lkdGgAAAAAAAAACEABVG9wAAAAACBwxlZAAUxlZnQAAAAAICr9ZUAIRmxpcEhvcml6b250YWxseQABCEZsaXBIb3Jpem9udGFsbHlBcHBsaWVkAAAIRmxpcFZlcnRpY2FsbHkAAAhGbGlwVmVydGljYWxseUFwcGxpZWQAAAFSb3RhdGlvbgAAAAAAAAAAAAFaT3JkZXIAAAAAAAAAAAADQm9yZGVyQ29sb3IAVQAAABBBAP8AAAAQUgBAAAAAEEcAQAAAABBCAEAAAAABU2NBAAAAAAAAAPA/AVNjUgAAAADA/T+qPwFTY0cAAAAAwP0/qj8BU2NCAAAAAMD9P6o/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Pg6AYkABWQAAAADWls5RQAAISGFzTGVhZGVyTGluZQAACElzQ2VudGVyQXV0b21hdGljQWRqdXN0ZWQAAAhJc1VzZXJQb3NpdGlvbgAACEFkZFByZWZpeFNwYWNlAAAIQWRkUG9zdGZpeFNwYWNlAAECUG9zdGZpeAACAAAAJQACU2VwYXJhdG9yAAIAAAAKAAJUZXh0AAMAAAAyNQAIUmVxdWlyZVJlbGF0aXZlUG9zaXRpb25VcGdyYWRlAAEISXNHZW9tZXRyeU91dE9mQm91bmRzAAAISXNMZWFkZXJMaW5lSW5BdXRvTW9kZQABCERlbGV0ZWQ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xhYmVsc1Zpc2libGUAAQhBdXRvbWF0aWNMYWJlbEJhY2tncm91bmRzRW5hYmxlZAABAANTZWNvbmRhcnkAJgIAAAREYXRhTGFiZWxzAAU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xhYmVsc1Zpc2libGUAAAhBdXRvbWF0aWNMYWJlbEJhY2tncm91bmRzRW5hYmxlZAABAAAIRGlzYWJsZUF1dG9tYXRpY0RlYWN0aXZhdGlvbgAAAAJOYW1lAAsAAABEYXRhTGFiZWxzABBWZXJzaW9uAAYAAAAJTGFzdFdyaXRlAEW3Tj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AAAAAT//////////wcA2QcAAAAAAAAAAAAA/////5ECkQIAAAVfaWQAEAAAAATMq+8a1iQpT7lDdhg5Q+6qA0RhdGEANAIAAANOdW1iZXJGb3JtYXRWYWx1ZVN0cmluZ3MAFQIAAAJOdW1iZXJGb3JtYXRJZFByaW1hcnlDYXRlZ29yeQAlAAAAMDAwMDAwMDAtMDAwMC0wMDAwLTAwMDAtMDAwMDAwMDAwMDAwAAJBcml0aG1ldGljT3BlcmF0aW9uSWRQcmltYXJ5Q2F0ZWdvcnkAJQAAADllODFlNDQxLTU3NTAtNGJmYy1iZTZhLTExZTI0MTg3NzIxZgACUGVyY2VudEZvcm1hdElkUHJpbWFyeUNhdGVnb3J5AAMAAAAwJQACTnVtYmVyRm9ybWF0SWRQcmltYXJ5ACUAAAAyYmJjNzM4YS03NDNlLTQwNmItOGQ3NS03ZDYzNWNhMzA2ZGUAAkFyaXRobWV0aWNPcGVyYXRpb25JZFByaW1hcnkAJQAAADllODFlNDQxLTU3NTAtNGJmYy1iZTZhLTExZTI0MTg3NzIxZgACUGVyY2VudEZvcm1hdElkUHJpbWFyeQADAAAAMCUAAk51bWJlckZvcm1hdElkU2Vjb25kYXJ5ACUAAAAwMDAwMDAwMC0wMDAwLTAwMDAtMDAwMC0wMDAwMDAwMDAwMDAAAkFyaXRobWV0aWNPcGVyYXRpb25JZFNlY29uZGFyeQAlAAAAOWU4MWU0NDEtNTc1MC00YmZjLWJlNmEtMTFlMjQxODc3MjFmAAJQZXJjZW50Rm9ybWF0SWRTZWNvbmRhcnkAAwAAADAlAAAAAk5hbWUADgAAAE51bWJlckZvcm1hdHMAEFZlcnNpb24AAgAAAAlMYXN0V3JpdGUARrdONZcBAAAAAQD/////egF6AQAABV9pZAAQAAAABJ837R5cm/VFi+QjLG27iqgDRGF0YQAMAQAABFBvaW50Q29sb3JzU3R5bGUABQAAAAADU2VyaWVzQ29sb3JzU3R5bGUA3QAAAAMxANUAAAAQU2VyaWVzSW5kZXgAAQAAAANQcmltYXJ5Q29sb3JTdHlsZQCsAAAAAkNvbG9yUHJvcGVydHlUYXJnZXQACAAAAFByaW1hcnkAA0NvbG9yT3JUaGVtZUNvbG9yAHMAAAAQVGhlbWVDb2xvcgAFAAAAAVRpbnRBbmRTaGFkZQAAAAAAAAAAABBUaW50SW5kZXgA/////xBTY2hlbWVDb2xvcgAAAAAAA0NvbG9yACEAAAAQQQD/AAAAEFIAxwAAABBHACoAAAAQQgA0AAAAAAAAAAAAAk5hbWUAHwAAAFBvaW50QW5kU2VyaWVzU3R5bGVEZWZpbml0aW9ucwAQVmVyc2lvbgABAAAACUxhc3RXcml0ZQCuGk41lwEAAAACAP////96AXoBAAAFX2lkABAAAAAEKvMXI/R260yzxP7OFrTpgwNEYXRhAAwBAAAEUG9pbnRDb2xvcnNTdHlsZQAFAAAAAANTZXJpZXNDb2xvcnNTdHlsZQDdAAAAAzEA1QAAABBTZXJpZXNJbmRleAABAAAAA1ByaW1hcnlDb2xvclN0eWxlAKwAAAACQ29sb3JQcm9wZXJ0eVRhcmdldAAIAAAAUHJpbWFyeQADQ29sb3JPclRoZW1lQ29sb3IAcwAAABBUaGVtZUNvbG9yAAUAAAABVGludEFuZFNoYWRlAAAAAAAAAAAAEFRpbnRJbmRleAD/////EFNjaGVtZUNvbG9yAAAAAAADQ29sb3IAIQAAABBBAP8AAAAQUgDHAAAAEEcAKgAAABBCADQAAAAAAAAAAAACTmFtZQAfAAAAUG9pbnRBbmRTZXJpZXNTdHlsZURlZmluaXRpb25zABBWZXJzaW9uAAAAAAAJTGFzdFdyaXRlAKQaTjWXAQAAAAMA/////3sAewAAAAVfaWQAEAAAAAQb4e4m5+eKQa2aG3Oq94AMA0RhdGEAHQAAAAhEb05vdFNob3dGdWxsRW1mQWdhaW4AAAACTmFtZQAPAAAAQ29tbW9uU2V0dGluZ3MAEFZlcnNpb24AAAAAAAlMYXN0V3JpdGUA1tg6YIoBAAAABAD/////mgCaAAAABV9pZAAQAAAABGh19SnVOHpGuCjoXcGJjS4DRGF0YQA4AAAACEFyZU5lZ2F0aXZlU3Vtc0F0T3RoZXJFbmQAAAhBcmVDb2x1bW5TdW1zVmlzaWJsZQAAAAJOYW1lABMAAABDb2x1bW5TdW1zU2V0dGluZ3MAEFZlcnNpb24AAAAAAAlMYXN0V3JpdGUADpXCfm4BAAAABQD/////zADMAAAABV9pZAAQAAAABErJHy+eAeNGt8PzTe0xNckERGF0YQByAAAAAzAAagAAABBTZXJpZXNJbmRleAABAAAABFhWYWx1ZXMASwAAAAIwAAoAAABTb25zdGlnZXMAAjEAFAAAAEVpbnJpY2h0dW5nc2xlaXR1bmcAAjIAEwAAAEdlc2Now6RmdHNmw7xocnVuZwAAAAACTmFtZQALAAAAU2VyaWVzRGF0YQAQVmVyc2lvbgAAAAAACUxhc3RXcml0ZQA4QDtgigEAAAAGAP////9wAHAAAAAFX2lkABAAAAAE5c/ZNSLMkUewfqHRn1u7TANEYXRhABYAAAACUGVyc29uYWxJZAABAAAAAAACTmFtZQALAAAAUGVyc29uYWxJZAAQVmVyc2lvbgAAAAAACUxhc3RXcml0ZQBI2BR5f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kAAAAE//////////8DAJ4BAAAAAAAAAAAAAP////95AHkAAAAFX2lkABAAAAAEidt8Op2oXEm1snZSAvbCrQNEYXRhABUAAAAIU2hhcGVzUmVtb3ZlZAAAAAJOYW1lABUAAABHZW5lcmFsRXhjZWxTZXR0aW5ncwAQVmVyc2lvbgAAAAAACUxhc3RXcml0ZQDD2DpgigEAAAABAP////9zAHMAAAAFX2lkABAAAAAEedmKO2WXtUiZeCFUePqfmANEYXRhAAUAAAAAAk5hbWUAHwAAAEF6dXJlSW5mb3JtYXRpb25Qcm90ZWN0aW9uRGF0YQAQVmVyc2lvbgAAAAAACUxhc3RXcml0ZQC+2DpgigEAAAACAP////9FDUUNAAAFX2lkABAAAAAEdx1pQmrd602VpZvYlq7fbgNEYXRhANsMAAAIRXhjZWxDb2xvck1vZGVBY3RpdmUAAAhDb2xvckNhY2hlUmVwYWlyZWRGb3JMaW5rZWRDaGFydHMAAARDb2xvckNhY2hlAI8MAAADMACIAAAAA0NlbGxBZGRyZXNzABoAAAAQUm93AAEAAAAQQ29sdW1uAAEAAAAAA0NvbG9yAFUAAAAQQQAAAAAAEFIA/wAAABBHAP8AAAAQQgD/AAAAAVNjQQAAAAAAAAAAAAFTY1IAAAAAAAAA8D8BU2NHAAAAAAAAAPA/AVNjQgAAAAAAAADwPwAAAzEAiAAAAANDZWxsQWRkcmVzcwAaAAAAEFJvdwABAAAAEENvbHVtbgACAAAAAANDb2xvcgBVAAAAEEEAAAAAABBSAP8AAAAQRwD/AAAAEEIA/wAAAAFTY0EAAAAAAAAAAAABU2NSAAAAAAAAAPA/AVNjRwAAAAAAAADwPwFTY0IAAAAAAAAA8D8AAAMyAIgAAAADQ2VsbEFkZHJlc3MAGgAAABBSb3cAAQAAABBDb2x1bW4AAwAAAAADQ29sb3IAVQAAABBBAAAAAAAQUgD/AAAAEEcA/wAAABBCAP8AAAABU2NBAAAAAAAAAAAAAVNjUgAAAAAAAADwPwFTY0cAAAAAAAAA8D8BU2NCAAAAAAAAAPA/AAADMwCIAAAAA0NlbGxBZGRyZXNzABoAAAAQUm93AAEAAAAQQ29sdW1uAAQAAAAAA0NvbG9yAFUAAAAQQQAAAAAAEFIA/wAAABBHAP8AAAAQQgD/AAAAAVNjQQAAAAAAAAAAAAFTY1IAAAAAAAAA8D8BU2NHAAAAAAAAAPA/AVNjQgAAAAAAAADwPwAAAzQAiAAAAANDZWxsQWRkcmVzcwAaAAAAEFJvdwABAAAAEENvbHVtbgAFAAAAAANDb2xvcgBVAAAAEEEAAAAAABBSAP8AAAAQRwD/AAAAEEIA/wAAAAFTY0EAAAAAAAAAAAABU2NSAAAAAAAAAPA/AVNjRwAAAAAAAADwPwFTY0IAAAAAAAAA8D8AAAM1AIgAAAADQ2VsbEFkZHJlc3MAGgAAABBSb3cAAQAAABBDb2x1bW4ABgAAAAADQ29sb3IAVQAAABBBAP8AAAAQUgCmAAAAEEcApgAAABBCAKYAAAABU2NBAAAAAAAAAPA/AVNjUgAAAABgpWfYPwFTY0cAAAAAYKVn2D8BU2NCAAAAAGClZ9g/AAADNgCIAAAAA0NlbGxBZGRyZXNzABoAAAAQUm93AAIAAAAQQ29sdW1uAAEAAAAAA0NvbG9yAFUAAAAQQQD/AAAAEFIA3QAAABBHAN0AAAAQQgDdAAAAAVNjQQAAAAAAAADwPwFTY1IAAAAAgEQj5z8BU2NHAAAAAIBEI+c/AVNjQgAAAACARCPnPwAAAzcAiAAAAANDZWxsQWRkcmVzcwAaAAAAEFJvdwACAAAAEENvbHVtbgACAAAAAANDb2xvcgBVAAAAEEEAAAAAABBSAP8AAAAQRwD/AAAAEEIA/wAAAAFTY0EAAAAAAAAAAAABU2NSAAAAAAAAAPA/AVNjRwAAAAAAAADwPwFTY0IAAAAAAAAA8D8AAAM4AIgAAAADQ2VsbEFkZHJlc3MAGgAAABBSb3cAAgAAABBDb2x1bW4AAwAAAAADQ29sb3IAVQAAABBBAAAAAAAQUgD/AAAAEEcA/wAAABBCAP8AAAABU2NBAAAAAAAAAAAAAVNjUgAAAAAAAADwPwFTY0cAAAAAAAAA8D8BU2NCAAAAAAAAAPA/AAADOQCIAAAAA0NlbGxBZGRyZXNzABoAAAAQUm93AAIAAAAQQ29sdW1uAAQAAAAAA0NvbG9yAFUAAAAQQQAAAAAAEFIA/wAAABBHAP8AAAAQQgD/AAAAAVNjQQAAAAAAAAAAAAFTY1IAAAAAAAAA8D8BU2NHAAAAAAAAAPA/AVNjQgAAAAAAAADwPwAAAzEwAIgAAAADQ2VsbEFkZHJlc3MAGgAAABBSb3cAAgAAABBDb2x1bW4ABQAAAAADQ29sb3IAVQAAABBBAAAAAAAQUgD/AAAAEEcA/wAAABBCAP8AAAABU2NBAAAAAAAAAAAAAVNjUgAAAAAAAADwPwFTY0cAAAAAAAAA8D8BU2NCAAAAAAAAAPA/AAADMTEAiAAAAANDZWxsQWRkcmVzcwAaAAAAEFJvdwACAAAAEENvbHVtbgAGAAAAAANDb2xvcgBVAAAAEEEAAAAAABBSAP8AAAAQRwD/AAAAEEIA/wAAAAFTY0EAAAAAAAAAAAABU2NSAAAAAAAAAPA/AVNjRwAAAAAAAADwPwFTY0IAAAAAAAAA8D8AAAMxMgCIAAAAA0NlbGxBZGRyZXNzABoAAAAQUm93AAEAAAAQQ29sdW1uAAcAAAAAA0NvbG9yAFUAAAAQQQD/AAAAEFIApgAAABBHAKYAAAAQQgCmAAAAAVNjQQAAAAAAAADwPwFTY1IAAAAAYKVn2D8BU2NHAAAAAGClZ9g/AVNjQgAAAABgpWfYPwAAAzEzAIgAAAADQ2VsbEFkZHJlc3MAGgAAABBSb3cAAgAAABBDb2x1bW4ABwAAAAADQ29sb3IAVQAAABBBAAAAAAAQUgD/AAAAEEcA/wAAABBCAP8AAAABU2NBAAAAAAAAAAAAAVNjUgAAAAAAAADwPwFTY0cAAAAAAAAA8D8BU2NCAAAAAAAAAPA/AAADMTQAiAAAAANDZWxsQWRkcmVzcwAaAAAAEFJvdwABAAAAEENvbHVtbgAIAAAAAANDb2xvcgBVAAAAEEEA/wAAABBSAKYAAAAQRwCmAAAAEEIApgAAAAFTY0EAAAAAAAAA8D8BU2NSAAAAAGClZ9g/AVNjRwAAAABgpWfYPwFTY0IAAAAAYKVn2D8AAAMxNQCIAAAAA0NlbGxBZGRyZXNzABoAAAAQUm93AAIAAAAQQ29sdW1uAAgAAAAAA0NvbG9yAFUAAAAQQQAAAAAAEFIA/wAAABBHAP8AAAAQQgD/AAAAAVNjQQAAAAAAAAAAAAFTY1IAAAAAAAAA8D8BU2NHAAAAAAAAAPA/AVNjQgAAAAAAAADwPwAAAzE2AIgAAAADQ2VsbEFkZHJlc3MAGgAAABBSb3cAAAAAABBDb2x1bW4AAAAAAAADQ29sb3IAVQAAABBBAP8AAAAQUgCmAAAAEEcApgAAABBCAKYAAAABU2NBAAAAAAAAAPA/AVNjUgAAAABgpWfYPwFTY0cAAAAAYKVn2D8BU2NCAAAAAGClZ9g/AAADMTcAiAAAAANDZWxsQWRkcmVzcwAaAAAAEFJvdwAAAAAAEENvbHVtbgABAAAAAANDb2xvcgBVAAAAEEEA/wAAABBSAKYAAAAQRwCmAAAAEEIApgAAAAFTY0EAAAAAAAAA8D8BU2NSAAAAAGClZ9g/AVNjRwAAAABgpWfYPwFTY0IAAAAAYKVn2D8AAAMxOACIAAAAA0NlbGxBZGRyZXNzABoAAAAQUm93AAAAAAAQQ29sdW1uAAIAAAAAA0NvbG9yAFUAAAAQQQD/AAAAEFIApgAAABBHAKYAAAAQQgCmAAAAAVNjQQAAAAAAAADwPwFTY1IAAAAAYKVn2D8BU2NHAAAAAGClZ9g/AVNjQgAAAABgpWfYPwAAAzE5AIgAAAADQ2VsbEFkZHJlc3MAGgAAABBSb3cAAAAAABBDb2x1bW4AAwAAAAADQ29sb3IAVQAAABBBAP8AAAAQUgCmAAAAEEcApgAAABBCAKYAAAABU2NBAAAAAAAAAPA/AVNjUgAAAABgpWfYPwFTY0cAAAAAYKVn2D8BU2NCAAAAAGClZ9g/AAADMjAAiAAAAANDZWxsQWRkcmVzcwAaAAAAEFJvdwAAAAAAEENvbHVtbgAEAAAAAANDb2xvcgBVAAAAEEEA/wAAABBSAKYAAAAQRwCmAAAAEEIApgAAAAFTY0EAAAAAAAAA8D8BU2NSAAAAAGClZ9g/AVNjRwAAAABgpWfYPwFTY0IAAAAAYKVn2D8AAAMyMQCIAAAAA0NlbGxBZGRyZXNzABoAAAAQUm93AAAAAAAQQ29sdW1uAAUAAAAAA0NvbG9yAFUAAAAQQQD/AAAAEFIApgAAABBHAKYAAAAQQgCmAAAAAVNjQQAAAAAAAADwPwFTY1IAAAAAYKVn2D8BU2NHAAAAAGClZ9g/AVNjQgAAAABgpWfYPwAAAzIyAIgAAAADQ2VsbEFkZHJlc3MAGgAAABBSb3cAAQAAABBDb2x1bW4AAAAAAAADQ29sb3IAVQAAABBBAP8AAAAQUgDdAAAAEEcA3QAAABBCAN0AAAABU2NBAAAAAAAAAPA/AVNjUgAAAACARCPnPwFTY0cAAAAAgEQj5z8BU2NCAAAAAIBEI+c/AAAAAAJOYW1lABsAAABFeGNlbENvbG9yTW9kZURhdGFQcm9wZXJ0eQAQVmVyc2lvbgABAAAACUxhc3RXcml0ZQBvLDtgi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P//////////BADJAwAAAAAAAAAAAAAbAAAAAAABAB0AAAAAAAIA/////xAFEAUAAAVfaWQAEAAAAASW3vFHOvR7TrINPQ/jFA1DA0RhdGEAsAQAAANHcmlkTGluZVN0eWxlc0RhdGEAlwQAAANQcmltYXJ5VmFsdWVBeGlzR3JpZExpbmVTdHlsZQAdAgAAA01ham9yVW5pdExpbmVTdHlsZQD4AAAAA0NvbG9yAFUAAAAQQQD/AAAAEFIAiQAAABBHAIkAAAAQQgCJAAAAAVNjQQAAAAAAAADwPwFTY1IAAAAAAJgC0D8BU2NHAAAAAACYAtA/AVNjQgAAAAAAmALQPwACU2NoZW1lQ29sb3JJbmRleAARAAAAcHBOb3RTY2hlbWVDb2xvcgAQVGhlbWVDb2xvckluZGV4AAAAAAABVGludEFuZFNoYWRlAAAAAAAAANA/AUxpbmVXZWlnaHQAAAAAAAAA4D8CRGFzaFN0eWxlAAoAAABMaW5lU29saWQACFZpc2libGUAAQhJc0F1dG9tYXRpYwABAANNaW5vclVuaXRMaW5lU3R5bGUA+AAAAANDb2xvcgBVAAAAEEEA/wAAABBSALwAAAAQRwC8AAAAEEIAvAAAAAFTY0EAAAAAAAAA8D8BU2NSAAAAAGClF+A/AVNjRwAAAABgpRfgPwFTY0IAAAAAYKUX4D8AAlNjaGVtZUNvbG9ySW5kZXgAEQAAAHBwTm90U2NoZW1lQ29sb3IAEFRoZW1lQ29sb3JJbmRleAAKAAAAAVRpbnRBbmRTaGFkZQAAAACgmZnZPwFMaW5lV2VpZ2h0AAAAAAAAAOA/AkRhc2hTdHlsZQAKAAAATGluZVNvbGlkAAhWaXNpYmxlAAAISXNBdXRvbWF0aWMAAAAAA1ByaW1hcnlDYXRlZ29yeUF4aXNHcmlkTGluZVN0eWxlAB0CAAADTWFqb3JVbml0TGluZVN0eWxlAPgAAAADQ29sb3IAVQAAABBBAP8AAAAQUgCJAAAAEEcAiQAAABBCAIkAAAABU2NBAAAAAAAAAPA/AVNjUgAAAAAAmALQPwFTY0cAAAAAAJgC0D8BU2NCAAAAAACYAtA/AAJTY2hlbWVDb2xvckluZGV4ABEAAABwcE5vdFNjaGVtZUNvbG9yABBUaGVtZUNvbG9ySW5kZXgAAAAAAAFUaW50QW5kU2hhZGUAAAAAAAAA0D8BTGluZVdlaWdodAAAAAAAAADgPwJEYXNoU3R5bGUACgAAAExpbmVTb2xpZAAIVmlzaWJsZQABCElzQXV0b21hdGljAAAAA01pbm9yVW5pdExpbmVTdHlsZQD4AAAAA0NvbG9yAFUAAAAQQQD/AAAAEFIAvAAAABBHALwAAAAQQgC8AAAAAVNjQQAAAAAAAADwPwFTY1IAAAAAYKUX4D8BU2NHAAAAAGClF+A/AVNjQgAAAABgpRfgPwACU2NoZW1lQ29sb3JJbmRleAARAAAAcHBOb3RTY2hlbWVDb2xvcgAQVGhlbWVDb2xvckluZGV4AAoAAAABVGludEFuZFNoYWRlAAAAAKCZmdk/AUxpbmVXZWlnaHQAAAAAAAAA4D8CRGFzaFN0eWxlAAoAAABMaW5lU29saWQACFZpc2libGUAAAhJc0F1dG9tYXRpYwAAAAAIU2hvd0dyaWRsaW5lc0RlZmF1bHQAAAAAAk5hbWUAEQAAAEdyaWRsaW5lU2V0dGluZ3MAEFZlcnNpb24AAQAAAAlMYXN0V3JpdGUArBpONZcBAAAAAwD/////7gbuBgAABV9pZAAQAAAABOTgcVxdw/JFhCTY+syi73gDRGF0YQCKBgAAA1dpZ2dsZVNoYXBlRGF0YQB0BgAAAkF1dG9TaGFwZVR5cGUACgAAAFJlY3RhbmdsZQAFTWFuYWdlZElkABAAAAAEDoRAX34c6kitVwH+qk+2GAhIYXNDaGFuZ2VzAAAIVXNlTmFtZUluc3RlYWRPZlRhZ0FzSWQAAQhTaGFwZVByZXZpb3VzbHlDcmVhdGVkAAEDRmlsbENvbG9yAFUAAAAQQQAAAAAAEFIA/wAAABBHAP8AAAAQQgD/AAAAAVNjQQAAAAAAAAAAAAFTY1IAAAAAAAAA8D8BU2NHAAAAAAAAAPA/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PA/AVdpZHRoAAAAAAAAAPA/AVRvcAAAAABgp+AkQAFMZWZ0AAAAAGCn4CR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TmFtZQAVAAAARGF0YUNoYXJ0Q29BdXRob3JpbmcAEFZlcnNpb24AAAAAAAlMYXN0V3JpdGUAqxxO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wAAAAX/////HAAAAOcPAAAAAAAAAAAAAHUYAAAFX2lkABAAAAAE8LHXQoF0vkO0Cgd+arot/gREYXRhAB0YAAADMAAFCAAABV9pZAAQAAAABFcyFOa9aPFMpZF8PZr1QpQCX3R5cGUAVwAAAGVtcG93ZXIuQ2hhcnRzLkRhdGEuRGF0YUNoYXJ0cy5PdmVybGF5cy5EYXRhLkNvbHVtblN1bU92ZXJsYXlEYXRhLCBlbXBvd2VyLkNoYXJ0cy5EYXRhABBDb2x1bW4AAQAAABBTZXJpZXMA/////wNUZXh0RWxlbWVudADrBgAAAkF1dG9TaGFwZVR5cGUACgAAAFJlY3RhbmdsZQAEQWRqdXN0bWVudHMABQAAAAAFTWFuYWdlZElkABAAAAAEdypfKl0Wo0GfvZIO6FZHww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gBQuLUABV2lkdGgAAAAAQInzOk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wKi7KkAAAkNvbHVtblN1bVBvc2l0aW9uAAwAAABEZWZhdWx0RG9jawAIRGVsZXRlZAABA051bWJlckZvcm1hdAAfAAAABV9pZAAQAAAABAAAAAAAAAAAAAAAAAAAAAAACElzTmV3AAEBRm9udFNpemUAAAAAAAAAKEAAAzEABQgAAAVfaWQAEAAAAAT0mzJomiT5SITQ1dGTZjt/Al90eXBlAFcAAABlbXBvd2VyLkNoYXJ0cy5EYXRhLkRhdGFDaGFydHMuT3ZlcmxheXMuRGF0YS5Db2x1bW5TdW1PdmVybGF5RGF0YSwgZW1wb3dlci5DaGFydHMuRGF0YQAQQ29sdW1uAAIAAAAQU2VyaWVzAP////8DVGV4dEVsZW1lbnQA6wYAAAJBdXRvU2hhcGVUeXBlAAoAAABSZWN0YW5nbGUABEFkanVzdG1lbnRzAAUAAAAABU1hbmFnZWRJZAAQAAAABPVG1vaBNTpLgjhgT4FEGNs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IAULi1AAVdpZHRoAAAAAECJ8zp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MCouypAAAJDb2x1bW5TdW1Qb3NpdGlvbgAMAAAARGVmYXVsdERvY2sACBwAAAAFGwAAAP////+OCFkHAAAAAAAAAABEZWxldGVkAAEDTnVtYmVyRm9ybWF0AB8AAAAFX2lkABAAAAAEAAAAAAAAAAAAAAAAAAAAAAAISXNOZXcAAQFGb250U2l6ZQAAAAAAAAAoQAADMgAFCAAABV9pZAAQAAAABIMt0NYwN4VOrXT8LELlpC8CX3R5cGUAVwAAAGVtcG93ZXIuQ2hhcnRzLkRhdGEuRGF0YUNoYXJ0cy5PdmVybGF5cy5EYXRhLkNvbHVtblN1bU92ZXJsYXlEYXRhLCBlbXBvd2VyLkNoYXJ0cy5EYXRhABBDb2x1bW4AAwAAABBTZXJpZXMA/////wNUZXh0RWxlbWVudADrBgAAAkF1dG9TaGFwZVR5cGUACgAAAFJlY3RhbmdsZQAEQWRqdXN0bWVudHMABQAAAAAFTWFuYWdlZElkABAAAAAEiG6syCSsNUGY/xWD6EEEbg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gBQuLUABV2lkdGgAAAAAQInzOk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wKi7KkAAAkNvbHVtblN1bVBvc2l0aW9uAAwAAABEZWZhdWx0RG9jawAIRGVsZXRlZAABA051bWJlckZvcm1hdAAfAAAABV9pZAAQAAAABAAAAAAAAAAAAAAAAAAAAAAACElzTmV3AAEBRm9udFNpemUAAAAAAAAAKEAAAAJOYW1lAAkAAABPdmVybGF5cwAQVmVyc2lvbgAFAAAACUxhc3RXcml0ZQCoGk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AAAABf////8eAAAA5w8AAAAAAAAAAAAAKUoAAAVfaWQAEAAAAARfqSxH0FChSaXWsugBtu1cA0RhdGEAz0kAAANEYXRhTGFiZWxzUGVyQXhpcwCYSQAAA1ByaW1hcnkAikkAAAREYXRhTGFiZWxzAEZJAAADMABoGAAAEFBvaW50SW5kZXgAAQAAAAJBbGlnbm1lbnQABwAAAENlbnRlcgAQU2VyaWVzSW5kZXgAAQAAAAhSZXF1aXJlRm9udENvbG9yTWlncmF0aW9uAAAITWFudWFsRGF0YUxhYmVsQmFja2dyb3VuZFZpc2libGUAAAhIYXNXaXNoQ29sb3I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NWYWx1ZUF4aXNOdW1iZXJGb3JtYXQAHwAAAAVfaWQAEAAAAAQAAAAAAAAAAAAAAAAAAAAAAANDYXRlZ29yeUF4aXNOdW1iZXJGb3JtYXQAHwAAAAVfaWQAEAAAAAQAAAAAAAAAAAAAAAAAAAAAAANUZXh0Qm94AL4GAAAFTWFuYWdlZElkABAAAAAESH9aaIxMOkGs39Bs5jKnqA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UAAAA1NCA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QAAADU0ICUAAUhlaWdodAAAAACgIp4qQAFXaWR0aAAAAADgp7g5QAFUb3AAAAAA4DcUH0ABTGVmdAAAAACACllo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FSmgy7WeRVNqgwANxP3ick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HgAAAAUdAAAAHwAAAOcPAAAAAAAAAAAAAH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AAAAAAAVkAAAAAAAAAAAAAA0VuZAAbAAAAAVgAAAAAAAAAAAABWQAAAAAAAAAAAAACU3RhcnRBcnJvd0hlYWQAEQAAAG1zb0Fycm93aGVhZE5vbmUAAkVuZEFycm93SGVhZAARAAAAbXNvQXJyb3doZWFkTm9uZQAFTWFuYWdlZElkABAAAAAEFI8K8hGDJEWHqmHk/0xhrw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QAAAABBHAEAAAAAQQgBAAAAAAVNjQQAAAAAAAADwPwFTY1IAAAAAgP0/qj8BU2NHAAAAAID9P6o/AVNjQgAAAACA/T+q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P6U9GlAAVkAAAAAoAsQK0AACEhhc0xlYWRlckxpbmUAAAhJc0NlbnRlckF1dG9tYXRpY0FkanVzdGVkAAAISXNVc2VyUG9zaXRpb24AAAJQb3N0Zml4AAMAAAAgJQACU2VwYXJhdG9yAAIAAAAKAAJUZXh0AAMAAAA1NAAIUmVxdWlyZVJlbGF0aXZlUG9zaXRpb25VcGdyYWRlAAEISXNHZW9tZXRyeU91dE9mQm91bmRzAAAISXNMZWFkZXJMaW5lSW5BdXRvTW9kZQABCERlbGV0ZWQAAAADMQBoGAAAEFBvaW50SW5kZXgAAgAAAAJBbGlnbm1lbnQABwAAAENlbnRlcgAQU2VyaWVzSW5kZXgAAQAAAAhSZXF1aXJlRm9udENvbG9yTWlncmF0aW9uAAAITWFudWFsRGF0YUxhYmVsQmFja2dyb3VuZFZpc2libGUAAAhIYXNXaXNoQ29sb3I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NWYWx1ZUF4aXNOdW1iZXJGb3JtYXQAHwAAAAVfaWQAEAAAAAQAAAAAAAAAAAAAAAAAAAAAAANDYXRlZ29yeUF4aXNOdW1iZXJGb3JtYXQAHwAAAAVfaWQAEAAAAAQAAAAAAAAAAAAAAAAAAAAAAANUZXh0Qm94AL4GAAAFTWFuYWdlZElkABAAAAAEQEZ0/d9AOkiGTQac/Lrwjw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UAAAAyMSA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B8AAAAFHgAAACAAAADnDwAAAAAAAAAAAABsYXlUZXh0AAUAAAAyMSAlAAFIZWlnaHQAAAAAoCKeKkABV2lkdGgAAAAA4Ke4OUABVG9wAAAAAEAcT0JAAUxlZnQAAAAAYIq6X0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DVpZEABWQAAAACgevZKQAADRW5kABsAAAABWAAAAACgDAZlQAFZAAAAAKB69kpAAAJTdGFydEFycm93SGVhZAARAAAAbXNvQXJyb3doZWFkTm9uZQACRW5kQXJyb3dIZWFkABEAAABtc29BcnJvd2hlYWROb25lAAVNYW5hZ2VkSWQAEAAAAASZNggbEBbaQb7vB34gXhdp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PSaE0ABVG9wAAAAAKB69kpAAUxlZnQAAAAAADVpZE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KAMZmVAAVkAAAAAoHr2SkAAA0VuZAAbAAAAAVgAAAAAoAwGZUABWQAAAACgevZKQAACU3RhcnRBcnJvd0hlYWQAEQAAAG1zb0Fycm93aGVhZE5vbmUAAkVuZEFycm93SGVhZAARAAAAbXNvQXJyb3doZWFkTm9uZQAFTWFuYWdlZElkABAAAAAEcyiJUg4d6kWYYdbJD7NqXg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hAAVRvcAAAAACgevZKQAFMZWZ0AAAAAKAMBmVACEZsaXBIb3Jpem9udGFsbHkAAQhGbGlwSG9yaXpvbnRhbGx5QXBwbGllZAAACEZsaXBWZXJ0aWNhbGx5AAAIRmxpcFZlcnRpY2FsbHlBcHBsaWVkAAABUm90YXRpb24AAAAAAAAAAAABWk9yZGVyAAAAAAAAAAAAA0JvcmRlckNvbG9yAFUAAAAQQQD/AAAAEFIAQAAAABBHAEAAAAAQQgBAAAAAAVNjQQAAAAAAAADwPwFTY1IAAAAAwP0/qj8BU2NHAAAAAMD9P6o/AVNjQgAAAADA/T+qPwAQQm9yZGVyVGhlbWVDb2xvcgAAAAAAAUJvcmRlclRpbnRBbmRTaGFkZQAAAAAAAAAAABBCb3JkZXJTY2hlbWVDb2xvcgAAAAAAAUJvcmRlclRoaWNrbmVzcwAAAAAAAADQPwJMaW5lRGFzaFN0eWxlAAoAAABMaW5lU29saWQAAUZpcnN0TGluZUluZGVudAAAAAAAAAAAAAhIYW5naW5nUHVuY3R1YXRpb24AABBJbmRlbnRMZXZlbAAAAAAAAUxlZnRJbmQgAAAABR8AAAAhAAAA5w8AAAAAAAAAAAAAZW50AAAAAAAAAAAACExpbmVSdWxlQWZ0ZXIAAAhMaW5lUnVsZUJlZm9yZQAACExpbmVSdWxlV2l0aGluAAABUmlnaHRJbmRlbnQAAAAAAAAAAAABU3BhY2VBZnRlcgAAAAAAAAAAAAFTcGFjZUJlZm9yZQAAAAAAAAAAAAFTcGFjZVdpdGhpbgAAAAAAAAAAAAADQ2VudGVyABsAAAABWAAAAACuz3hhQAFZAAAAACyYMEVAAAhIYXNMZWFkZXJMaW5lAAAISXNDZW50ZXJBdXRvbWF0aWNBZGp1c3RlZAAACElzVXNlclBvc2l0aW9uAAACUG9zdGZpeAADAAAAICUAAlNlcGFyYXRvcgACAAAACgACVGV4dAADAAAAMjEACFJlcXVpcmVSZWxhdGl2ZVBvc2l0aW9uVXBncmFkZQABCElzR2VvbWV0cnlPdXRPZkJvdW5kcwAACElzTGVhZGVyTGluZUluQXV0b01vZGUAAQhEZWxldGVkAAAAAzIAaBgAABBQb2ludEluZGV4AAMAAAACQWxpZ25tZW50AAcAAABDZW50ZXIAEFNlcmllc0luZGV4AAEAAAAIUmVxdWlyZUZvbnRDb2xvck1pZ3JhdGlvbgAACE1hbnVhbERhdGFMYWJlbEJhY2tncm91bmRWaXNpYmxlAAAISGFzV2lzaENvbG9y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DVmFsdWVBeGlzTnVtYmVyRm9ybWF0AB8AAAAFX2lkABAAAAAEAAAAAAAAAAAAAAAAAAAAAAADQ2F0ZWdvcnlBeGlzTnVtYmVyRm9ybWF0AB8AAAAFX2lkABAAAAAEAAAAAAAAAAAAAAAAAAAAAAADVGV4dEJveAC+BgAABU1hbmFnZWRJZAAQAAAABDu4gcdr2J9Ak0B8cDdXNOs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FAAAAMjUg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UAAAAyNSAlAAFIZWlnaHQAAAAAoCKeKkABV2lkdGgAAAAA4Ke4OUABVG9wAAAAAODYXVBAAUxlZnQAAAAAwIPkY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YMH+Y0ABWQAAAAAYcMZWQAADRW5kABsAAAABWAAAAAAgKv1lQAFZAAAAABhwxlZAAAJTdGFydEFycm93SGVhZAARAAAAbXNvQXJyb3doZWFkTm9uZQACRW5kQXJyb3dIZWFkABEAAABtc29BcnJvd2hlYWROb25lAAVNYW5hZ2VkSWQAEAAAAAQ1qiRXlkZKRKmGwuI4Yw2u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IzmL0ABVG9wAAAAACBwxlZAAUxlZnQAAAAAYMH+Y0AIRmxpcEhvcml6b250YWxsIQAAAAUgAAAA/////40KWgUAAAAAAAAAA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gKl1mQAFZAAAAABhwxlZAAANFbmQAGwAAAAFYAAAAACAq/WVAAVkAAAAAGHDGVkAAAlN0YXJ0QXJyb3dIZWFkABEAAABtc29BcnJvd2hlYWROb25lAAJFbmRBcnJvd0hlYWQAEQAAAG1zb0Fycm93aGVhZE5vbmUABU1hbmFnZWRJZAAQAAAABJzJsgUCQNhNjM90zUabb/E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IQAFUb3AAAAAAIHDGVkABTGVmdAAAAAAgKv1lQAhGbGlwSG9yaXpvbnRhbGx5AAEIRmxpcEhvcml6b250YWxseUFwcGxpZWQAAAhGbGlwVmVydGljYWxseQAACEZsaXBWZXJ0aWNhbGx5QXBwbGllZAAAAVJvdGF0aW9uAAAAAAAAAAAAAVpPcmRlcgAAAAAAAAAAAANCb3JkZXJDb2xvcgBVAAAAEEEA/wAAABBSAEAAAAAQRwBAAAAAEEIAQAAAAAFTY0EAAAAAAAAA8D8BU2NSAAAAAMD9P6o/AVNjRwAAAADA/T+qPwFTY0IAAAAAwP0/qj8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A+DoBiQAFZAAAAANaWzlFAAAhIYXNMZWFkZXJMaW5lAAAISXNDZW50ZXJBdXRvbWF0aWNBZGp1c3RlZAAACElzVXNlclBvc2l0aW9uAAACUG9zdGZpeAADAAAAICUAAlNlcGFyYXRvcgACAAAACgACVGV4dAADAAAAMjUACFJlcXVpcmVSZWxhdGl2ZVBvc2l0aW9uVXBncmFkZQABCElzR2VvbWV0cnlPdXRPZkJvdW5kcwAACElzTGVhZGVyTGluZUluQXV0b01vZGUAAQhEZWxldGVkAAAAAAhMYWJlbHNWaXNpYmxlAAEIQXV0b21hdGljTGFiZWxCYWNrZ3JvdW5kc0VuYWJsZWQAAQAACERpc2FibGVBdXRvbWF0aWNEZWFjdGl2YXRpb24AAAACTmFtZQALAAAARGF0YUxhYmVscwAQVmVyc2lvbgAJAAAACUxhc3RXcml0ZQBIt0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IAAAAE//////////8DAJsFAAAAAAAAAAAAACMAAAAAAAEA/////2sAawAAAAVfaWQAEAAAAASiIHVwnM96Q6NxyzQ2sEzoA0RhdGEAEgAAAAhJc1JldmVyc2VkAAAAAk5hbWUACgAAAFdhdGVyZmFsbAAQVmVyc2lvbgAAAAAACUxhc3RXcml0ZQB4jTDTYgEAAAACAP/////JCckJAAAFX2lkABAAAAAEEai4cUT7m0CbYU1k/eVBIANEYXRhAGYJAAAIQXV0b21hdGljTGF5b3V0QWN0aXZlAAEEQWRkaXRpb25hbENoYXJ0TWFyZ2luRGF0YXMABQAAAAACRGF0YVJlZmVyZW5jZURpcmVjdGlvbgANAAAAU2VyaWVzQnlSb3dzAAJTZXJpZXNPcmRlcgAKAAAAQXNJbkV4Y2VsAAJQb2ludE9yZGVyAAoAAABBc0luRXhjZWwAAlByaW1hcnlBeGlzQ3Jvc3NUeXBlABkAAABDcm9zc2VzQmV0d2VlbkNhdGVnb3JpZXMAAlNlY29uZGFyeUF4aXNDcm9zc1R5cGUACAAAAEludmFsaWQACElzQ2hhcnRUaXRsZVZpc2libGUAAANDaGFydFRpdGxlRGF0YQDiBgAACFdhbnRUb0JlVmlzaWJsZQAAA1RleHRCb3hEYXRhAGwGAAAFTWFuYWdlZElkABAAAAAEh9+tEUR8rEKvA82P0vD/HQ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AAAIRm9udFN0cmlrZXRocm91Z2gAAAhGb250U3Vic2NyaXB0AAAIRm9udFN1cGVyc2NyaXB0AAAIRm9udFVuZGVybGluZQAAAAhTaXplVG9UZXh0V2lkdGgAAQhTaXplVG9UZXh0SGVpZ2h0AAE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PZmZzZXRGcm9tSG9tZQBCAAAAAVgAAAAAAAAAAAABWQAAAAAAAAAAAAFMZW5ndGgAAAAAAAAAAAABTGVuZ3RoU3F1YXJlZAAAAAAAAAAAAAAAAVBsb3RUb0NoYXJ0QXJlYVJhdGlvAAAAAAAAAAAAAlJlbmRlck1vZGUACwAAAEh5YnJpZFRleHQAA0N1c3RvbWl6aW5nRGVzY3JpcHRpb25EYXRhAJEAAAACTmFtZQAXAAAARGVmYXVsdEZsZXhDdXN0b21pemluZwAQVmVyc2lvbgABAAAAEE1pbm9yVmVyc2lvbgAAAAAAAkN1c3RvbWl6aW5nVHlwZQAIAAAARGVmYXVsdAACTWlvQ2RJZAABAAAAAAJGbGV4Q3VzdG9taXppbmdUeXBlAAgAAABEZWZhdWx0AAABTGFzdFNlZW5XaWR0aAAAAACgAS10QAFMYXN0U2VlbkhlaWdodAAAAABA4aJVQAhNaWdyYXRpb25Ub1BlcmZvcm1hbmNlTW9kZURvbmUAAQVMYXN0U2VlblNsaWRlQ29sb3JUaGVtZU1kNUhhc2gAEAAAAADCZAk1JOntz300feOG59EeAAJOYW1lABQAAABHbG9iYWxDaGFydFNldHRpbmdzABBWZXJzaW9uAAUAAAAJTGFzdFdyaXRlAJ0bTj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AAAABf////8kAAAA5w8AAAAAAAAAAAAAVxgAAAVfaWQAEAAAAASShDhvk04gR4t+A6J6waHBBERhdGEA/xcAAAMwAPsHAAAFX2lkABAAAAAEVzIU5r1o8UylkXw9mvVClAJfdHlwZQBXAAAAZW1wb3dlci5DaGFydHMuRGF0YS5EYXRhQ2hhcnRzLk92ZXJsYXlzLkRhdGEuQ29sdW1uU3VtT3ZlcmxheURhdGEsIGVtcG93ZXIuQ2hhcnRzLkRhdGEAEENvbHVtbgABAAAAEFNlcmllcwD/////A1RleHRFbGVtZW50AOsGAAACQXV0b1NoYXBlVHlwZQAKAAAAUmVjdGFuZ2xlAARBZGp1c3RtZW50cwAFAAAAAAVNYW5hZ2VkSWQAEAAAAAR3Kl8qXRajQZ+9kg7oVkfD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CAFC4tQAFXaWR0aAAAAABAifM6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DAqLsqQAACQ29sdW1uU3VtUG9zaXRpb24ADAAAAERlZmF1bHREb2NrAAhBZGRQcmVmaXhTcGFjZQAACEFkZFBvc3RmaXhTcGFjZQAACERlbGV0ZWQAAQhJc05ldwABAUZvbnRTaXplAAAAAAAAAChAAAMxAPsHAAAFX2lkABAAAAAE9JsyaJok+UiE0NXRk2Y7fwJfdHlwZQBXAAAAZW1wb3dlci5DaGFydHMuRGF0YS5EYXRhQ2hhcnRzLk92ZXJsYXlzLkRhdGEuQ29sdW1uU3VtT3ZlcmxheURhdGEsIGVtcG93ZXIuQ2hhcnRzLkRhdGEAEENvbHVtbgACAAAAEFNlcmllcwD/////A1RleHRFbGVtZW50AOsGAAACQXV0b1NoYXBlVHlwZQAKAAAAUmVjdGFuZ2xlAARBZGp1c3RtZW50cwAFAAAAAAVNYW5hZ2VkSWQAEAAAAAT1Rtb2gTU6S4I4YE+BRBjb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CAFC4tQAFXaWR0aAAAAABAifM6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DAqLsqQAACQ29sdW1uU3VtUG9zaXRpb24ADAAAAERlZmF1bHREb2NrAAhBZGRQcmVmaXhTJAAAAAUjAAAA/////3AIdwcAAAAAAAAAAHBhY2UAAAhBZGRQb3N0Zml4U3BhY2UAAAhEZWxldGVkAAEISXNOZXcAAQFGb250U2l6ZQAAAAAAAAAoQAADMgD7BwAABV9pZAAQAAAABIMt0NYwN4VOrXT8LELlpC8CX3R5cGUAVwAAAGVtcG93ZXIuQ2hhcnRzLkRhdGEuRGF0YUNoYXJ0cy5PdmVybGF5cy5EYXRhLkNvbHVtblN1bU92ZXJsYXlEYXRhLCBlbXBvd2VyLkNoYXJ0cy5EYXRhABBDb2x1bW4AAwAAABBTZXJpZXMA/////wNUZXh0RWxlbWVudADrBgAAAkF1dG9TaGFwZVR5cGUACgAAAFJlY3RhbmdsZQAEQWRqdXN0bWVudHMABQAAAAAFTWFuYWdlZElkABAAAAAEiG6syCSsNUGY/xWD6EEEbg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gBQuLUABV2lkdGgAAAAAQInzOk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wKi7KkAAAkNvbHVtblN1bVBvc2l0aW9uAAwAAABEZWZhdWx0RG9jawAIQWRkUHJlZml4U3BhY2UAAAhBZGRQb3N0Zml4U3BhY2UAAAhEZWxldGVkAAEISXNOZXcAAQFGb250U2l6ZQAAAAAAAAAoQAAAAk5hbWUACQAAAE92ZXJsYXlzABBWZXJzaW9uAAcAAAAJTGFzdFdyaXRlAKsaTj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UAAAAE//////////8EALcFAAAAAAAAAAAAAP/////gAOAAAAAFX2lkABAAAAAEHRpcc62+MUa/mvdjXBSr4ANEYXRhAGwAAAAEUG9pbnRNYXJrZXJTdHlsZXMABQAAAAADU2VyaWVzTWFya2VyU3R5bGVzAAUAAAAACFN1cHByZXNzTWFya2VycwAACE1hcmtlcnNTdXBwcmVzc2VkT25QcmV2aW91c0xheW91dAAAAAJOYW1lACUAAABQb2ludEFuZFNlcmllc01hcmtlclN0eWxlRGVmaW5pdGlvbnMAEFZlcnNpb24AAAAAAAlMYXN0V3JpdGUAqNg6YIoBAAAAAQAmAAAAAAACAP/////NAM0AAAAFX2lkABAAAAAEUDsweymK60CjrGRMOr12rANEYXRhAGEAAAAISGFzU3R5bGVSZXBvc2l0b3J5QmVlbk1pZ3JhdGVkAAEISGFzQm9yZGVyU3R5bGVCZWVuTWlncmF0ZWQAAQhIYXNDaGFydEJlZW5MYXlvdXRlZEZvckZsZXgAAQACTmFtZQAdAAAAQ2hhcnRTdHlsZVN0YXR1c0luZm9ybWF0aW9ucwAQVmVyc2lvbgAAAAAACUxhc3RXcml0ZQCgGk41lwEAAAADAP////9jCGMIAAAFX2lkABAAAAAEwRykfusjWE+mqJ1a1GjFvANEYXRhAAcIAAAEUG9pbnRDb2xvckluZGljZXMAzQYAAAMwAPUAAAAQU2VyaWVzSW5kZXgAAQAAABBQb2ludEluZGV4AAEAAAADQ29sb3IAVQAAABBBAP8AAAAQUgD7AAAAEEcAugAAABBCALkAAAABU2NBAAAAAAAAAPA/AVNjUgAAAADAtd7uPwFTY0cAAAAAwOJs3z8BU2NCAAAAAGCyDN8/AANDb2xvckluZGV4SW5DdXN0b21pemluZwBaAAAAEFRoZW1lQ29sb3JTY2hlbWVJbmRleAD/////AkluZGV4AAcAAABOb1RpbnQACElzRGVmYXVsdENvbG9yAAAQRGVmYXVsdENvbG9ySW5kZXgA/////wAAAzEA9QAAABBTZXJpZXNJbmRleAABAAAAEFBvaW50SW5kZXgAAgAAAANDb2xvcgBVAAAAEEEA/wAAABBSAPsAAAAQRwC6AAAAEEIAuQAAAAFTY0EAAAAAAAAA8D8BU2NSAAAAAMC13u4/AVNjRwAAAADA4mzfPwFTY0IAAAAAYLIM3z8AA0NvbG9ySW5kZXhJbkN1c3RvbWl6aW5nAFoAAAAQVGhlbWVDb2xvclNjaGVtZUluZGV4AP////8CSW5kZXgABwAAAE5vVGludAAISXNEZWZhdWx0Q29sb3IAABBEZWZhdWx0Q29sb3JJbmRleAD/////AAADMgD1AAAAEFNlcmllc0luZGV4AAEAAAAQUG9pbnRJbmRleAADAAAAA0NvbG9yAFUAAAAQQQD/AAAAEFIA+wAAABBHALoAAAAQQgC5AAAAAVNjQQAAAAAAAADwPwFTY1IAAAAAwLXe7j8BU2NHAAAAAMDibN8/AVNjQgAAAABgsgzfPwADQ29sb3JJbmRleEluQ3VzdG9taXppbmcAWgAAABBUaGVtZUNvbG9yU2NoZW1lSW5kZXgA/////wJJbmRleAAHAAAATm9UaW50AAhJc0RlZmF1bHRDb2xvcgAAEERlZmF1bHRDb2xvckluZGV4AP////8AAAMzAPUAAAAQU2VyaWVzSW5kZXgAAQAAABBQb2ludEluZGV4AAQAAAADQ29sb3IAVQAAABBBAP8AAAAQUgD7AAAAEEcAugAAABBCALkAAAABU2NBAAAAAAAAAPA/AVNjUgAAAADAtd7uPwFTY0cAAAAAwOJs3z8BU2NCAAAAAGCyDN8/AANDb2xvckluZGV4SW5DdXN0b21pemluZwBaAAAAEFRoZW1lQ29sb3JTY2hlbWVJbmRleAD/////AkluZGV4AAcAAABOb1RpbnQACElzRGVmYXVsdENvbG9yAAAQRGVmYXVsdENvbG9ySW5kZXgA/////wAAAzQA9QAAABBTZXJpZXNJbmRleAABAAAAEFBvaW50SW5kZXgABQAAAANDb2xvcgBVAAAAEEEA/wAAABBSAPsAAAAQRwC6AAAAEEIAuQAAAAFTY0EAAAAAAAAA8D8BU2NSAAAAAMC13u4/AVNjRwAAAADA4mzfPwFTY0IAAAAAYLIM3z8AA0NvbG9ySW5kZXhJbkN1c3RvbWl6aW5nAFoAAAAQVGhlbWVDb2xvclNjaGVtZUluZGV4AP////8CSW5kZXgABwAAAE5vVGludAAISXNEZWZhdWx0Q29sb3IAABBEZWZhdWx0Q29sb3JJbmRleAD/////AAADNQD1AAAAEFNlcmllc0luZGV4AAEAAAAQUG9pbnRJbmRleAAGAAAAA0NvbG9yAFUAAAAQQQD/AAAAEFIA+wAAABBHALoAAAAQQgC5AAAAAVNjQQAAAAAAAADwPwFTY1IAAAAAwLXe7j8BU2NHAAAAAMDibN8/AVNjQgAAAABgsgzfPwADQ29sb3JJbmRleEluQ3VzdG9taXppbmcAWgAAABBUaGVtZUNvbG9yU2NoZW1lSW5kZXgA/////wJJbmRleAAHAAAATm9UaW50AAhJc0RlZmF1bHRDb2xvcgAAEERlZmF1bHRDb2xvckluZGV4AP////8AAAM2APUAAAAQU2VyaWVzSW5kZXgAAQAAABBQb2ludEluZGV4AAcAAAADQ29sb3IAVQAAABBBAP8AAAAQUgD7AAAAEEcAugAAABBCALkAAAABU2NBAAAAAAAAAPA/AVNjUgAAAADAtd7uPwFTY0cAAAAAwOJs3z8BU2NCAAAAAGCyDN8/AANDb2xvckluZGV4SW5DdXN0b21pemluZwBaAAAAEFRoZW1lQ29sb3JTY2hlbWVJbmRleAD/////AkluZGV4AAcAAABOb1RpbnQACElzRGVmYXVsdENvbG9yAAAQRGVmYXVsdENvbG9ySW5kZXgA/////wAAAARTZXJpZXNDb2xvckluZGljZXMA7QAAAAMwAOUAAAAQU2VyaWVzSW5kZXgAAQAAAANDb2xvcgBVAAAAEEEA/wAAABBSAPsAAAAQRwC6AAAAEEIAuQAAAAFTY0EAAAAAAAAA8D8BU2NSAAAAAMC13u4/AVNjRwAAAADA4mzfPwFTY0IAAAAAYLIM3z8AA0NvbG9ySW5kZXhJbkN1c3RvbWl6aW5nAFoAAAAQVGhlbWVDb2xvclNjaGVtZUluZGV4AP////8CSW5kZXgABwAAAE5vVGludAAISXNEZWZhdWx0Q29sb3IAABBEZWZhdWx0Q29sb3JJbmRleAD/////AAAABE5lZ2F0aXZlU2VyaWVzQ29sb3JJbmRpY2VzAAUAAAAAAAJOYW1lAA0AAABDb2xvckluZGljZXMAEFZlcnNpb24AAgAAAAlMYXN0V3JpdGUAk1Jo4I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AAAABf////8nAAAA5w8AAAAAAAAAAAAADisAAAVfaWQAEAAAAARGkSN3jwhcRYGPj7V1NkGxA0RhdGEAsyoAAAVEYXRhAKMqAAAAUEsDBBQABgAIAAAAIQA3Mb2RewEAAIQF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VEtvwjAMvk/af6hynWhgh2maKBz2OG5IsB8QGreNaJMoNgz+/dzw0DQBFYJLoybx97AdD8frpk5WENA4m4lB2hcJ2NxpY8tMfM8+es8iQVJWq9pZyMQGUIxH93fD2cYDJhxtMRMVkX+REvMKGoWp82D5pHChUcS/oZRe5QtVgnzs959k7iyBpR61GGI0fINCLWtK3te8vVUyN1Ykr9t7LVUmlPe1yRWxULmy+h9JzxWFyUG7fNkwdIo+gNJYAVBTpz4YZgxTIGJjKORRzgA1Xka6c5VyZBSGlfH4wNZPMLQnp13t4r64HMFoSCYq0Kdq2Ltc1/LHhcXcuUV6HuTS1MQUpY0ydq/7DH+8jDIugxsLaf1F4A4dxD0GMn6vlxBhOgiRNjXgrdMeQbuYKxVAT4m7t7y5gL/YXSlXc86ApHa5ddkj6Dl+ftKT4Dzy1AhweRX2T7SN7nkGgkAGDo/0WLMfGHnkXF12aGeaBn2EW8YZOvoFAAD//wMAUEsDBBQABgAIAAAAIQC1VTAj9A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JNT8MwDIbvSPyHyPfV3ZAQQkt3QUi7IVR+gEncD7WNoyQb3b8nHBBUGoMDR3+9fvzK2908jerIIfbiNKyLEhQ7I7Z3rYaX+nF1ByomcpZGcazhxBF21fXV9plHSnkodr2PKqu4qKFLyd8jRtPxRLEQzy5XGgkTpRyGFj2ZgVrGTVneYviuAdVCU+2thrC3N6Dqk8+bf9eWpukNP4g5TOzSmRXIc2Jn2a58yGwh9fkaVVNoOWmwYp5yOiJ5X2RswPNEm78T/XwtTpzIUiI0Evgyz0fHJaD1f1q0NPHLnXnENwnDq8jwyYKLH6jeAQAA//8DAFBLAwQUAAYACAAAACEAxF5zx7MDAABXCAAADwAAAHhsL3dvcmtib29rLnhtbKxWXW/iOBR9X2n/Q8bb1zTfKUQNIyBUi9QdVbQz84KEnMQhVhM7azuF7mj++14nhNIyD92ZRWDHdnx8ju+5Ntcf93VlPBEhKWcxci5tZBCW8ZyybYw+P9yYI2RIhVmOK85IjJ6JRB8nv/92vePiMeX80QAAJmNUKtVEliWzktRYXvKGMBgpuKixgqbYWrIRBOeyJETVleXadmjVmDLUI0TiPRi8KGhGEp61NWGqBxGkwgroy5I2ckCrs/fA1Vg8to2Z8boBiJRWVD13oMios2i5ZVzgtALZeycw9gK+IfwcGwp3WAmGzpaqaSa45IW6BGirJ32m37Etx3m1BfvzPXgfkm8J8kR1DI+sRPiTrMIjVvgC5ti/jOaAtTqvRLB5P4kWHLm5aHJd0Ip86a1r4Kb5hGsdqQoZFZZqkVNF8hhdQZPvyEsHqBJtM2tpBaPuKHQ9ZE2Odr4TBrif9FgJJZJMRUqokjWsQPSbYIxppYhgWJE5Zwp8eND1q57rsOclB4cbK/J3SwWBxAJ/gVYocRbhVN5hVRqtqGI0j9afJchfZ6WgUlGGLyH7WgIZx9h62jQJVnh9yzNcrR9I3azt7AoXKU5zOwj93B6Nszx18sItvNwP09Bbn1gan+fPfzA1zvROWbBVvZz++e22gSoRDca9U8KA52VyC8G7x08QSjBMfsj0JcTK8TYsE5Gz+Xaz8MOpO1qYQTgLTd+zZ+bICWemNxrP5743myU3o+8gRoRRxnGryoNLNHSMfLDE2dBfeD+MOHbU0vyFxjf78DF1/aYYxr5rwfo8/ELJTr74STcNWfLdvT73HiCAna79V8pyvouR6QZuCEKfhw5vDK1dN/qV5qqM0Ti0j11/ErotQUPg6z6F05U++oB5oJNVuJp5jF4xTnrGN/AxdfGKsXVCuTuZgXpXG6zLpiVrWgU3gCbfxQCSJ9JLiGXudDEeZuWkoIzkOnEA46R1QKop32QlFkpugHZFNkIr2aRcKV7rHAWbdnuklwFtJc1zoq8kNOlIfLhILtxr6wT4R6sIttWBW/HdcZoXXXjvmadTBC4SyOmqrdkw/Y/V4ubDm+mnJEArEM/0sQFVzx2cwCtyT/8h4OgiRlMnSly9WfrAWpGMw337DDPAmfzQ1JLhBbJXt1J1NeQ4hUg6vj29sse+aS+8wPRHY9cc+Z5rzv3EXQRXi2QxC7TV9SUc/R9XUXfURMPtrnXpoD0InD3Cf4IVKWZYQm72wQe+kNoDa2uYNfkXAAD//wMAUEsDBBQABgAIAAAAIQCBPpSX8wAAALoC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Uk1LxDAQvQv+hzB3m3YVEdl0LyLsVesPCMm0KdsmITN+9N8bKrpdWNZLLwNvhnnvzcd29zUO4gMT9cErqIoSBHoTbO87BW/N880DCGLtrR6CRwUTEuzq66vtCw6acxO5PpLILJ4UOOb4KCUZh6OmIkT0udKGNGrOMHUyanPQHcpNWd7LtOSA+oRT7K2CtLe3IJopZuX/uUPb9gafgnkf0fMZCUk8DXkA0ejUISv4wUX2CPK8/GZNec5rwaP6DOUcq0seqjU9fIZ0IIfIRx9/KZJz5aKZu1Xv4XRC+8opv9vyLMv072bkycfV3wAAAP//AwBQSwMEFAAGAAgAAAAhAAMaKNFtAwAAXQcAABgAAAB4bC93b3Jrc2hlZXRzL3NoZWV0MS54bWycU9uK2zAQfS/0H4Te41uyITFxlrJhaV5K6fbyLMvjWESyXEnOhdJ/78iOnS2hJayJFXk0c84Z6Wj1eFKSHMBYoeuMxkFECdRcF6LeZfTb1+fJghLrWF0wqWvI6BksfVy/f7c6arO3FYAjiFDbjFbONWkYWl6BYjbQDdS4UmqjmMNPswttY4AVXZGSYRJF81AxUdMeITX3YOiyFBw2mrcKateDGJDMoX5bicYOaIrfA6eY2bfNhGvVIEQupHDnDpQSxdPtrtaG5RL7PsUzxsnJ4C/BdzrQdPEbJiW40VaXLkDksNd82/4yXIaMj0i3/d8FE89CAwfhD/AKlbxNUvwwYiVXsOkbweYjmN8uk7aiyOiv6PJM8D/2Q3QdhrXfdL3qfPLZEDQjfGIKz+DF221bN62j4XpVCHSA75oYKDP6IU43iY93dd8FHO2rOXEsfwEJ3AFqiCnx9s213vvELYYiz9gleETGnTjAE0iZ0Q2Ktz87DpwiQTgyvJ4PbM+d4VF3ziw8aflDFK5CSrxYBZSsle4aXAbJwxj+oo8fQewqh8nzYLH866GEt9ZpNWbghnpHpsV5A5bjVcAWgk4e1xK14EiU8FcancxOfc8XKbMg9rzWnb2z8aB77EGp73Esx9WuHPOPfXkv+lKMe/Of4vnAPZ8uZv8C8Dvaaf4DAAD//wAAAP//lJHRDoIgFIZfxfEAoqitHLKVrPUajFh2oTQhq7fvgE1Fr+IG9p+PM74DNY1SlgsrGO31K+orlKLIPERn4FTmcPaJfBqr27PuW2F90MBGAB0LF3W/uQSCd5oLWV4/XBmpOsiSOEOMStf66HpXCLpCbiAdWELxwCiWP+I0EsWCICFRb4ksJPiWyCcCg+WkJwAAAAUmAAAAKAAAAOcPAAAAAAAAAAAAAEpCVW+wi/eHYP3r6JrCbBYG6cpxJNxUBlbMT/MjqpdFsrrJg2KxksLzX34BAAD//wAAAP//dI5BDoJADEWvMukBBBRFDMPehYkJJxikwEScTkqJiad30BDc2FX//6/pL7zp8GK4s25UA7aiId5koNh2/bIL+Y97zNI42Wdp/p0DqJpE6PEn7NE0yHO4A9USySKispi/ViiTV9545Mq+UEMOitiiEyOWnAZPLGyshDYn22jgc5NAOBZTD3g1LKO60eRCzQR+3JXeznS04kE8ie9jjyjlGwAA//8DAFBLAwQUAAYACAAAACEAfrdOPmoEAACcDwAAEwAAAHhsL3RoZW1lL3RoZW1lMS54bWzMV1tvozgUfl9p/4PFOw13QtV0RCBoV5rVStsZ7bPLfWogwk4vGvW/z7FNAId0O9PtSJO8gPl8/PlcvmNffXhsCLrPe1p37UYzLwwN5W3aZXVbbrTPnxJ9rSHKcJth0rX5RnvKqfbh+vffrvAlq/ImRzC/pZd4o1WM7S9XK5rCMKYX3T5v4VvR9Q1m8NqXq6zHD2C3ISvLMLxVg+tWQy1uwOzfRVGnOfrETWrXR+M7Aq8to3wgJf0NN50rMwQ2uzM5gvblbUR6dI/JRjPET1tdX63w5QAgbIlLxG/ADYDszlrYcxzX8cLRngAQtsTt/J2380Z7AoDTFHaxXNtxfCtyBuwMJB/P2I792DYV/My+veAcuvyv4AVI2ncW+CSJwGsKXoAk3l3g3W2wjVX7AiTx3gLvG2Hs+Ip9AapI3d4tI+h6dnTc7QgpOvLHWXjgOolvDcYnFER/zBy+RNG1TMmjm7zsZMo1+EvXJ/Cd4whmdYvY0z4vcAoJKmDo85/oY11WjC+DL3M8A8ihlJ4MwfqK3aZuX1/kx8xPFmGxaX9it426WVlmomiKmpAb9kTyj1RsmHakzhIYFIEQlTYW076Cx8G1Cq7ssZiD+o79W7PqpsJ7cJYpVijpYLqkaN9RqEkxLAQiP7EtXH5o/uoyWb6myetX+oFiNo0b7jgOAWIS7flT3o7mReWXQjuOBPjcHyExW0wlYZ8h4R8HIQr/RULs7F1YBGdYrLn5Y6iOURxdAdTGqEAVIcxV3nWkViKaYpJnPE5SNo/R5cF510i/5EwyzwADmsSQAVOkA871xe3x3clU+45IKyRm6aaSmKVhhbN8yM55c3nPWAdTSBV63BXHapho+OufEWsuIifaQNq5UpAWPWw0z3bhrJDi/UYrQCzhsdlD7tC21BAmJRwmUtbLgn+Lsux7ymJMK+lwITpSDZqa5T0idbPR+PbHbCCt0BDBzbRAEH5ZcgHIyq9GDoKuBjkvijxl87DPRkTzEwBQeKkVZ7+K6W8H85ndAcJ9U2UP6JYc+n8wpJjrm9yBWU0ZtBrpzazuZ0I25d9JYxpk98xBka+Fyb7CQ0eZi7mECxEd6Yg3uWnR5cCBigvU96ER3pa8wf7vrvt6q+a7mYnm1DMVVeFd87yY/rwmP2M1NVGFlZRuccCik9YFR62DRD3bJV7put/REGbUpsUUapzxUoa5Zg+jKrV3PBDMPOG94LexR5z1xFs7P8w7zVreII7nSlEG4iI4v6t1t19APGI4Oh8Io/Ks/Mh6DIc+efaWsgEl88iG0oAndOjrjfbVcEMnstxIN9buTndsx9DXbmjroeva5s41jXhrPUNjYVVjuvISmuCmJk/DVVSML66jTZ32He0KdpF2zaoT182VIC6uo6b18nUU1SA6Xz0rCexg6+mBHSa6E2/XehB5Wz32Ij9O4shdB8mzhu4F2AntyPF2a90zo0h3PIPTXwe671hW6PjheueEz8MxBnYuxWTwBbhX8Lr+BgAA//8DAFBLAwQUAAYACAAAACEAUFHkqbEFAABzGgAADQAAAHhsL3N0eWxlcy54bWzsGdlu4zbwvUD/gdC7oyOSYhm2F7kELJCixcYL9JWWKJsNJRoUldgt9t87JCWLTuLE8R7YorEDhxqSw+HcMxp/WJcM3RNRU15NHP/EcxCpMp7TajFxPs/SwdBBtcRVjhmvyMTZkNr5MP31l3EtN4zcLgmRCFBU9cRZSrkauW6dLUmJ6xO+IhXMFFyUWMKjWLj1ShCc12pTydzA82K3xLRyDIZRmR2CpMTirlkNMl6usKRzyqjcaFwOKrPRx0XFBZ4zIHXthzhDaz8WAVoL+Eu6g/TMk7NKmgle80KeAG6XFwXNyFOSEzdxcdZjAuzHYfIj1wt27r8WR2IKXUHuqRLhli6RHIkr3uJKnOm44JWsUcabSk6cELArno7uKv5QpWoKVKZdNR3Xf6N7zADiO+50nHHGBZKgCyAKDalwScyKW7LgBH3+qNYVuKRsY+CBAmj9aReWFKSpgK4ixJAzHc/VqoMPOxcUs2dPOgipWMwnTpp6+qPQ9Nc4EPM3JFVTXAMfKGOWWAxgOgaDkERUKcyidjzbrID/FdiuYSNMvbp6IfDGD6LDN9Sc0VzpweJSS73l2ZX+KDTzdoJWOVmTfOLEocZuEaxkfAhxe846j9X3rWfpI4Gfcy5y8IGdoiudNqDpmJFCwg0EXSzVf8lX6j5cSvAR03FO8YJXmCkV7Xa0A0CbEcZulZ/8s9jBvS5Q1ZRpKT8CK8DjKuXuhsCDdmjwmQeF38ZmcFtoYyD57WjRutji37fbB/paok4dZBO13Y3wasU2yiEoU2+fYE//dM7ooiqJWTAd4+4RLbmgf8NG5Tg0jx0VjSTNFCCDDcTY/7rYfz+LwuD7UqiU4QgCgW8dC0HaB7PwRzHtO4v1SKaBKH8SvdOWB7ZmGfSOOW8NE6nYMHFudb4kcgiXrXmheUOZpFVr2VlTg/u4MLA2OvbmDefka8theGDaANhGPxMrPeXrqDWupaB3bdzUkxkHb1vVNoisJalyaxNvJKOVvaRe4pw/WEsaM+5CiLJOrZgGPMc1URh05P4GMdmO/n3U0sH/bU4DSbjsJy4hR1SZLdjdg8CrGQD1g4pEyhsB/C+QBi02N7iWN3ATDauXglZ3M55Ss0blrZAS/67ChFqg/LGWybtg3urN3wXzbjG6rjCJ/P/KhZkMd2+a/ji3fZQud1n0k/TafS6Pft5d7gnGP9IoTf6D2tCjvGmXUEOnAZLliSOX0BR4VEKagsEk3nay/e6F2zL25w2PXWFkhPeskHEjeZcIHS9j03OwcbVtA11Y7hjJI1u6TNV3b03a3aArTV5SVMgoINODtGHgnYRJkgzDs9A7C6Mg1u0Nt8MxHfe1z9fg67EcYxY7bRqT1+zh2W5H4bGrspj+iLV+cJrG19+EtbHF2gB4G8ZREsTeMPTPPN1iejNzX8d4GHuP17z0TH1fZc8LttP22F7Tu86s/mM6rNJsqIik6unqXopVeqGcFLhhcradnDj9+DeS06aEMrJd9Qe951KjmDj9+EY1dnzVPumPaOs4Uq74AxEoW2IhawetFAJdHlgNUZGMGgptnH9Mh9DzBp7n+/ADoxQ++qeb+7JzzDWD5mglkdQ9uoclZ0RTDxSbwjFRatGTtbt+CSUJEZ/4w3b58KXlBRW1hPZcU0KTuMWv1W4ffgb10AzqJ3YJXaztFt1ic/s94HMs0bQxG+RVikb3AlXR/HxP8Cn4VNG/A+59xw448M9OQ0OJdY6r18CBUOPd1NAthv+oERRkc31xllxdp8Fg6F0MB+EpiQZJdHE1iMLLi6urNPEC7/KL9XbgK94N6Bca0Kvyw1HN4A2CaJW2VcLbHgaNgv7BqKF2A0C2TbvycOeRD9p06vmDMMbDwTA+jQZp5AdXcXhxHaWRRXt0ZN/fc33fvI1QxEcjSUtd2O+SP7OhYGzw+MIl3E4Sbv+2aPovAAAA//8DAFBLAwQUAAYACAAAACEA5glBBxQBAACcAQAAFAAAAHhsL3NoYXJlZFN0cmluZ3MueG1sXFBdasMwDH4f7A7G76uTwsYoScoYy14H3Q7gpkpicOTMUsK68+wYe+vFJqeMQo0l8/3YfHKx/Rq8miGSC1jqfJVpBdiEg8Ou1B/v9d2jVsQWD9YHhFIfgfS2ur0piFjJXaRS98zjxhhqehgsrcIIKEob4mBZYOwMjRHsgXoAHrxZZ9mDGaxDrZowIZf6XqsJ3ecEz/+4KshVRZT9Jm1vBH+r2XrJmGtBTfAhqtjtS13X2bISHeuAfPY9RWd94lo7OH88k+tEmOXNJf6GRtvIWJKPIM6gK1UYThaplCAVVzuIDkjlZ+3Cv4IMffppmdrTbx8n7K4dLw6ja3oWiTy4dF5bdgGJXQd0EYz8bvUHAAD//wMAUEsDBBQABgAIAAAAIQBBv/hg2QAAAMoBAAAjAAAAeGwvd29ya3NoZWV0cy9fcmVscy9zaGVldDEueG1sLnJlbHOskcFOwzAMQO9I/EPkO0m7A0Jo6S4IaVcYH+ClbhvROlFsEPt7gnah0yQunCzb8vOTvd19LbP5pCIxsYfWNmCIQ+ojjx7eDs93D2BEkXucE5OHEwnsutub7QvNqHVIppjFVAqLh0k1PzonYaIFxaZMXDtDKgtqTcvoMoZ3HMltmubeld8M6FZMs+89lH2/AXM45br5b3YahhjoKYWPhVivrHCKx5kqEMtI6sHac0XOobVVFtx1j/Y/PXKJrFReSbUeWlZGFz13kbf2GPlH0q0+0H0DAAD//wMAUEsDBBQABgAIAAAAIQBhruZHiAEAAAAoAAAnAAAAeGwvcHJpbnRlclNldHRpbmdzL3ByaW50ZXJTZXR0aW5nczEuYmlu7Jq/SsNQFMa/Y6JN6VAfQqiLoiWCuBV10y4iOGQpxkHwH1rEMe4ZnPtOzi7uvoAP4LmpCS1JhXhbm+J32vTShJx+95dz7p9DAwR4RIhzbGMT17jEbdYGOMYR2tjFjl7t4gB5ExfuO9ZazbdnR1DHoOF7IQQ1nC1BW8DRzw78gnttTxnv+iMT7eRwv0jyDJSkLo0iGgmMEqgTBwlMILA6IzLOQhB/wobq7OBeZ50eriw1D8feKIrUzwsHYuacIVAmDk5xg76GYl9D8UKXRPO2Lexh/PhJUdrTvG77XDBLuXbuVY6PW/GAtF2icsSZ0gNupn4k1CQUk4jZu3C9n5DP8IvZhXzbb56JqIMKWE01aD/GG/Pd98wWa9AY0bi84ianJdkNmYufrdePUmMfZwsSIAESIAESIAESIAESKEOAu59/Hy/zL5gwZRefgAwLuFPriH11WTzEcczYIoGUACc7xgIJkMAfEHCqUY0u21PBA+60bN/T/w1lts6IIQESqBaBLwAAAP//AwBQSwMEFAAGAAgAAAAhAAkwvHI8AgAAdwQAABQAAAB4bC90YWJsZXMvdGFibGUxLnhtbJxUXW+bMBR9n7T/gPzugvkwEJVWGINUqdpD2/0Al5jEmsHIOG2iaf99lyRLO9qHaS8IDr7n3CgAAAAFJwAAAP////9AC6cEAAAAAAAAAABz74Hr232vvRdpJ2WGApGrAHlyaM1aDZsCfX9qcIa8yYlhLbQZZIEOckK3N1+/XDvxrKUH1cNUoK1z48r3p3YrezFdmVEO8KYzthcOHu3Gn0YrxXraSul67YdBQP1eqAGdGFZ9+y8kvbA/diNuTT8Kp56VVu5w5EJe367uNoOxc1cF2ltvb6M/5Hv7gbxXrTWT6dwVkPmm61QrP/RIYt/KFzWP5o0q+k8ueuGCvtQaZg2cdrWbb39GCQvKiiU4S9IYx3kQYxZQhnNWN2GYkrJm/BfyBtGDuSfxLLWWIfLWahq1OHxbwFZ2BSrJisORLUxd2gfzWpnd4AoE+3XGCT0B9Lg1r7B0gC6n+L67g4YSODVPkhkL1WcwRjenrVdG7/ph8toT5QJ/Mxed3XHKEh6XJaZRnOCYNWAsCylmJKh4lGdRw+uLu8dRaCdhOMueIuT/pX/UAYew6LNOmsaEpJRi0qQhjnla45yyEC5JHrKS0iSsFjrvJ3S2GX6mM2fpohPlPK+CoMGcNxXoRCHO4qTGpI54mNOU5FWz0IH6pR/ymQ59r8NTArGAQDSEERxDBnBe8hAnVUZreCqzkix0oH6pE8w6/nGd58Wdx/joDlreDZ15y5WWR/BebbYuhw8fAtIoO7lT4TEqM3YvPkBznJxVo4S/ASxvPnUquqDv+rj5DQAA//8DAFBLAwQUAAYACAAAACEAQEMmnlMBAABn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JJRS8MwFIXfBf9DybNt0naOEdoOnO7JgeBE8S0kd12wSUsS7fbvTdutdig+3txzP845JFseVBV8gbGy1jmKI4IC0LwWUpc5etmuwwUKrGNasKrWkKMjWLQsrq8y3lBeG3gydQPGSbCBJ2lLeZOjvXMNxdjyPShmI6/QfrmrjWLOj6bEDeMfrAScEDLHChwTzDHcAcNmJKITUvAR2XyaqgcIjqECBdpZHEcx/tE6MMr+edBvJkol3bHxmU52p2zBh+WoPlg5Ctu2jdq0t+H9x/ht8/jcRw2l7rrigIpMcMoNMFebQsk6w5O5665i1m18zTsJ4u5YPOiykr6vm2C1N9I6qVmGf8s8tQ8xoEEE3hYdQpw3r+nqfrtGRULiWRiTMCVbQmiyoLPkvXNxcd/ZHB7Uycu/xOQ2JPOQpNvYEwlN4wnxDCh635dfo/gGAAD//wMAUEsDBBQABgAIAAAAIQB3kc87xAEAAMI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STTW7bMBCF9wV6B4H7mHIaBIVBMUicFimQokasZD+mRjZRiiTIsWr3PL1JL1ZKgm2lKbJId/Onx4+PI3G1a0zWYoja2YJNJznL0CpXabsu2GP5+ewjyyKBrcA4iwXbY2RX8v07sQjOYyCNMUsSNhZsQ+RnnEe1wQbiJLVt6tQuNEApDWvu6lorvHVq26Alfp7nlxx3hLbC6swfBdmgOGvpraKVUx1ffCr3PgFLUToCU+oGZS74KRHX3hutgNLt5VetgouupuzTTqERfNwUiXqJahs07TuNcSqWCgzO04GyBhNR8FNB3CF0Zi5AhyhFS7MWFbmQRf0z2XnBshVE7DAL1kLQYCnhdmND0sfGRwryOqxQU1yZ37+IMAiepoZOH44/GMf6Qk77gRS8Ojho3aAFawmzGwyo01v+/zkd6HDrBPDcj1KTwfitXkCgf9hzPran5xvMGVC/WL+lMd7RkGDX9xDpwf14Qd+7nzj+OnnuGg92LxuoMNM2G1ZV8ENd3Gv7PT760t0C4eGdnxfFcgMBq7Qaxz04FsRdeuJgOpH5Buwaq8PMy0a3lU/DLymnl5P8Q54WblQT/PTzyT8AAAD//wMAUEsBAi0AFAAGAAgAAAAhADcxvZF7AQAAhAUAABMAAAAAAAAAAAAAAAAAAAAAAFtDb250ZW50X1R5cGVzXS54bWxQSwECLQAUAAYACAAAACEAtVUwI/QAAABMAgAACwAAAAAAAAAAAAAAAAC0AwAAX3JlbHMvLnJlbHNQSwECLQAUAAYACAAAACEAxF5zx7MDAABXCAAADwAAAAAAAAAAAAAAAADZBgAAeGwvd29ya2Jvb2sueG1sUEsBAi0AFAAGAAgAAAAhAIE+lJfzAAAAugIAABoAAAAAAAAAAAAAAAAAuQoAAHhsL19yZWxzL3dvcmtib29rLnhtbC5yZWxzUEsBAi0AFAAGAAgAAAAhAAMaKNFtAwAAXQcAABgAAAAAAAAAAAAAAAAA7AwAAHhsL3dvcmtzaGVldHMvc2hlZXQxLnhtbFBLAQItABQABgAIAAAAIQB+t04+agQAAJwPAAATAAAAAAAAAAAAAAAAAI8QAAB4bC90aGVtZS90aGVtZTEueG1sUEsBAi0AFAAGAAgAAAAhAFBR5KmxBQAAcxoAAA0AAAAAAAAAAAAAAAAAKhUAAHhsL3N0eWxlcy54bWxQSwECLQAUAAYACAAAACEA5glBBxQBAACcAQAAFAAAAAAAAAAAAAAAAAAGGwAAeGwvc2hhcmVkU3RyaW5ncy54bWxQSwECLQAUAAYACAAAACEAQb/4YNkAAADKAQAAIwAAAAAAAAAAAAAAAABMHAAAeGwvd29ya3NoZWV0cy9fcmVscy9zaGVldDEueG1sLnJlbHNQSwECLQAUAAYACAAAACEAYa7mR4gBAAAAKAAAJwAAAAAAAAAAAAAAAABmHQAAeGwvcHJpbnRlclNldHRpbmdzL3ByaW50ZXJTZXR0aW5nczEuYmluUEsBAi0AFAAGAAgAAAAhAAkwvHI8AgAAdwQAABQAAAAAAAAAAAAAAAAAMx8AAHhsL3RhYmxlcy90YWJsZTEueG1sUEsBAi0AFAAGAAgAAAAhAEBDJp5TAQAAZwIAABEAAAAAAAAAAAAAAAAAoSEAAGRvY1Byb3BzL2NvcmUueG1sUEsBAi0AFAAGAAgAAAAhAHeRzzvEAQAAwgMAABAAAAAAAAAAAAAAAAAAKyQAAGRvY1Byb3BzL2FwcC54bWxQSwUGAAAAAA0ADQBoAwAAJScAAAAAAAJOYW1lAAwAAABFeGNlbE1pcnJvcgAQVmVyc2lvbgABAAAACUxhc3RXcml0ZQBGk0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pAAAABP//////////BgAYBwAAAAAAAAAAAAD/////YQBhAAAABV9pZAAQAAAABEWypX9d4jhAhbuJg3nnc6wERGF0YQAFAAAAAAJOYW1lAA0AAABMaW5rRGF0YUxpc3QAEFZlcnNpb24AAQAAAAlMYXN0V3JpdGUAAbJBNZcBAAAAAQD/////zQDNAAAABV9pZAAQAAAABNQV639/g5xKsxA1sTJidM4DRGF0YQBhAAAACEhhc1N0eWxlUmVwb3NpdG9yeUJlZW5NaWdyYXRlZAABCEhhc0JvcmRlclN0eWxlQmVlbk1pZ3JhdGVkAAEISGFzQ2hhcnRCZWVuTGF5b3V0ZWRGb3JGbGV4AAEAAk5hbWUAHQAAAENoYXJ0U3R5bGVTdGF0dXNJbmZvcm1hdGlvbnMAEFZlcnNpb24AAQAAAAlMYXN0V3JpdGUArhpONZcBAAAAAgD/////gAOAAwAABV9pZAAQAAAABD0kboCBlYJEi1bb5TPAchkDRGF0YQAeAwAAA0JvdW5kcw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CElzVmlzaWJsZQAACElzUmV2ZXJzZWQAAAhTaG93R3JpZExpbmVzAAABTWFqb3JVbml0AAAAAAAAAAAAAU1heGltdW1TY2FsZQAAAAAAAAAAAAFNaW5pbXVtU2NhbGUAAAAAAAAAAAAIVXNlQXV0b21hdGljTWFqb3JVbml0AAEIVXNlQXV0b21hdGljTWluaW11bVNjYWxlAAEIVXNlQXV0b21hdGljTWF4aW11bVNjYWxlAAEDQWRkaXRpb25hbEF4aXNUaWNrTGFiZWxzRGF0YQC3AAAABEl0ZW1EYXRhAAUAAAAAA0ZvbnRDb2xvcgBVAAAAEEEAAAAAABBSAAAAAAAQRwAAAAAAEEIAAAAAAAFTY0EAAAAAAAAAAAABU2NSAAAAAAAAAAAAAVNjRwAAAAAAAAAAAAFTY0IAAAAAAAAAAAAAEEZvbnRTY2hlbWVDb2xvcgAAAAAAEEZvbnRUaGVtZUNvbG9yAAAAAAABRm9udFRpbnRBbmRTaGFkZQAAAAAAAAAAAAAER3JpZExpbmVJdGVtRGF0YQAFAAAAAAACTmFtZQATAAAAQWRkaXRpb25hbEF4aXNEYXRhABBWZXJzaW9uAAEAAAAJTGFzdFdyaXRlAJEUTjWXAQAAAAMA/////5EAkQAAAAVfaWQAEAAAAAT4e2aDWGYFTaZHUhpYSA7LA0RhdGEAOAAAAARPblRvcFNlcmllc0luZGl6ZXMABQAAAAAESGlkZGVuU2VyaWVzSW5kaXplcwAFAAAAAAACTmFtZQAKAAAAV2F0ZXJmYWxsABBWZXJzaW9uAAEAAAAJTGFzdFdyaXRlAAEFTjWXAQAAAAQA/////3MAcwAAAAVfaWQAEAAAAARYKveF4rNYQpLxA1Bc7VC8A0RhdGEAFwAAAARTZXJpZUxhYmVscwAFAAAAAAACTmFtZQANAAAAU2VyaWVzTGFiZWxzABBWZXJzaW9uAAUAAAAJTGFzdFdyaXRlAO4ETjWXAQAAAAUA/////+0C7QIAAAVfaWQAEAAAAAQxsCmG+EziSJZETuJy6qG7A0RhdGEAdgIAAARQb2ludEFkZGl0aW9uYWxTdHlsZXMAagEAAAMwAHQAAAADUG9pbnRBZGRyZXNzADMAAAAQU2VyaWVzSW5kZXgAAQAAABBQb2ludEluZGV4AAEAAAAISXNQb2ludFN1bQAAAANBZGRpdGlvbmFsU3R5bGVzABwAAAACRmlsbFBhdHRlcm4ABgAAAFVuc2V0AAAAAzEAdAAAAANQb2ludEFkZHJlc3MAMwAAABBTZXJpZXNJbmRleAABAAAAEFBvaW50SW5kZXgAAgAAAAhJc1BvaW50U3VtAAAAA0FkZGl0aW9uYWxTdHlsZXMAHAAAAAJGaWxsUGF0dGVybgAGAAAAVW5zZXQAAAADMgB0AAAAA1BvaW50QWRkcmVzcwAzAAAAEFNlcmllc0luZGV4AAEAAAAQUG9pbnRJbmRleAADAAAACElzUG9pbnRTdW0AAAADQWRkaXRpb25hbFN0eWxlcwAcAAAAAkZpbGxQYXR0ZXJuAAYAAABVbnNldAAAAAADU2VyaWVzQWRkaXRpb25hbFN0eWxlcwDYAAAAAzEA0AAAABBTZXJpZXNJbmRleAABAAAAA0FkZGl0aW9uYWxTdHlsZXMAqAAAAAJGaWxsUGF0dGVybgAIAAAARGVmYXVsdAADRmlsbENvbG9yT3JUaGVtZUNvbG9yAHMAAAAQVGhlbWVDb2xvcgAAAAAAAVRpbnRBbmRTaGFkZQAAAAAAAAAAABBUaW50SW5kZXgA/////xBTY2hlbWVDb2xvcgAAAAAAA0NvbG9yACEAAAAQQQD/AAAAEFIAAAAAABBHAAAAAAAQQgAAAAAAAAAAAAAAAk5hbWUAKAAAAFBvaW50QW5kU2VyaWVzQWRkaXRpb25TdHlsZXNEZWZpbml0aW9ucwAQVmVyc2lvbgABAAAACUxhc3RXcml0ZQAhBU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gAAAAT//////////w0AHAcAAAAAAAAAAAAAKwAAAAAAAQD/////sgCyAAAABV9pZAAQAAAABP6WfY5VlnBBri507+lpNuIDRGF0YQBXAAAAA1NldHRpbmdzUGVyQXhpcwBBAAAAA1ByaW1hcnkAFAAAAAhJc0luQXV0b01vZGUAAQADU2Vjb25kYXJ5ABQAAAAISXNJbkF1dG9Nb2RlAAEAAAACTmFtZQAMAAAATGVhZGVyTGluZXMAEFZlcnNpb24AAAAAAAlMYXN0V3JpdGUA/oZFYIoBAAAAAgD/////ewB7AAAABV9pZAAQAAAABMRogJvVU9xNk5BVjhj7yyoDRGF0YQASAAAABFNlcmllcwAFAAAAAAACTmFtZQAaAAAAU2hhcGVDb25zdHJ1Y3RlZENoYXJ0RGF0YQAQVmVyc2lvbgAAAAAACUxhc3RXcml0ZQAkBU41lwEAAAADAP////9zAHMAAAAFX2lkABAAAAAEpu5loRuthUGdWk6/weBeOgNEYXRhABcAAAAEU2VyaWVMYWJlbHMABQAAAAAAAk5hbWUADQAAAFNlcmllc0xhYmVscwAQVmVyc2lvbgAEAAAACUxhc3RXcml0ZQDa2DpgigEAAAAEAP/////tAu0CAAAFX2lkABAAAAAEFfadqcz1q0yf95ZPqR193gNEYXRhAHYCAAAEUG9pbnRBZGRpdGlvbmFsU3R5bGVzAGoBAAADMAB0AAAAA1BvaW50QWRkcmVzcwAzAAAAEFNlcmllc0luZGV4AAEAAAAQUG9pbnRJbmRleAABAAAACElzUG9pbnRTdW0AAAADQWRkaXRpb25hbFN0eWxlcwAcAAAAAkZpbGxQYXR0ZXJuAAYAAABVbnNldAAAAAMxAHQAAAADUG9pbnRBZGRyZXNzADMAAAAQU2VyaWVzSW5kZXgAAQAAABBQb2ludEluZGV4AAIAAAAISXNQb2ludFN1bQAAAANBZGRpdGlvbmFsU3R5bGVzABwAAAACRmlsbFBhdHRlcm4ABgAAAFVuc2V0AAAAAzIAdAAAAANQb2ludEFkZHJlc3MAMwAAABBTZXJpZXNJbmRleAABAAAAEFBvaW50SW5kZXgAAwAAAAhJc1BvaW50U3VtAAAAA0FkZGl0aW9uYWxTdHlsZXMAHAAAAAJGaWxsUGF0dGVybgAGAAAAVW5zZXQAAAAAA1Nlcmllc0FkZGl0aW9uYWxTdHlsZXMA2AAAAAMxANAAAAAQU2VyaWVzSW5kZXgAAQAAAANBZGRpdGlvbmFsU3R5bGVzAKgAAAACRmlsbFBhdHRlcm4ACAAAAERlZmF1bHQAA0ZpbGxDb2xvck9yVGhlbWVDb2xvcgBzAAAAEFRoZW1lQ29sb3IAAAAAAAFUaW50QW5kU2hhZGUAAAAAAAAAAAAQVGludEluZGV4AP////8QU2NoZW1lQ29sb3IAAAAAAANDb2xvcgAhAAAAEEEA/wAAABBSAAAAAAAQRwAAAAAAEEIAAAAAAAAAAAAAAAJOYW1lACgAAABQb2ludEFuZFNlcmllc0FkZGl0aW9uU3R5bGVzRGVmaW5pdGlvbnMAEFZlcnNpb24AAAAAAAlMYXN0V3JpdGUAQEA7YIoBAAAABQD/////cwBzAAAABV9pZAAQAAAABIAF3qlWFcVOkl66lK12yMoDRGF0YQAXAAAABFNlcmllTGFiZWxzAAUAAAAAAAJOYW1lAA0AAABTZXJpZXNMYWJlbHMAEFZlcnNpb24AAwAAAAlMYXN0V3JpdGUAedg6YIoBAAAABgD/////UgBSAAAABV9pZAAQAAAABJK1/Li4i0lAkEX8ZS3DvE8CTmFtZQAJAAAARGF0YUxpbmsAEFZlcnNpb24AAQAAAAlMYXN0V3JpdGUAQ/IVeXwBAAAABwAuAAAAAAAIADAAAAAAAAkA/////2EAYQAAAAVfaWQAEAAAAATioBLSRSImTZORTjmzN2VABERhdGEABQAAAAACTmFtZQANAAAATGlua0RhdGFMaXN0ABBWZXJzaW9uAAAAAAAJTGFzdFdyaXRlAEjYFHl8AQAAAAoA/////4EAgQAAAAVfaWQAEAAAAAS04DHYRJNXS5y5OaU60feRA0RhdGEAIAAAAANTZXJpZXNOZWdhdGl2ZUNvbG9ycwAFAAAAAAACTmFtZQASAAAAQ29sb3JEYXRhUHJvcGVydHkAEFZlcnNpb24AAAAAAAlMYXN0V3JpdGUAC/fvj28BAAAACwD/////tQC1AAAABV9pZAAQAAAABBK2cd+4M1dOkUhgVCDADUwDRGF0YQBXAAAAAUxlZnQAAAAAAAAAAAABVG9wAAAAAAAAAAAAAVJpZ2h0AAAAAAAAAAAAAUJvdHRvbQAAAAAAAAAAAAFNYXJnaW5Ub0xlZ2VuZAAAAAAAAAAAAAACTmFtZQAPAAAAUGxvdEFyZWFCb3JkZXIAEFZlcnNpb24AAAAAAAlMYXN0V3JpdGUACIq/92IBAAAADAD/////egF6AQAABV9pZAAQAAAABJnnEuEftoRDkA7uSOu5FHwDRGF0YQAMAQAABFBvaW50Q29sb3JzU3R5bGUABQAAAAADU2VyaWVzQ29sb3JzU3R5bGUA3QAAAAMxANUAAAAQU2VyaWVzSW5kZXgAAQAAAANQcmltYXJ5Q29sb3JTdHlsZQCsAAAAAkNvbG9yUHJvcGVydHlUYXJnZXQACAAAAFByaW1hcnkAA0NvbG9yT3JUaGVtZUNvbG9yAHMAAAAQVGhlbWVDb2xvcgAFAAAAAVRpbnRBbmRTaGFkZQAAAAAAAAAAABBUaW50SW5kZXgA/////xBTY2hlbWVDb2xvcgAAAAAAA0NvbG9yACEAAAAQQQD/AAAAEFIAxwAAABBHACoAAAAQQgA0AAAAAAAAAAAAAk5hbWUAHwAAAFBvaW50QW5kU2VyaWVzU3R5bGVEZWZpbml0aW9ucwAQVmVyc2lvbgACAAAACUxhc3RXcml0ZQCuGk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AAAAF/////ywAAADnDwAAAAAAAAAAAAAXKAAABV9pZAAQAAAABCV2LYfRJ3NIoTDqziqYoH4DRGF0YQC/JwAABFNhdmVkQXhpc0xhYmVsRGF0YQCmJwAAAzAAtw0AAAJBeGlzVHlwZQAIAAAAeGxWYWx1ZQACQXhpc0dyb3VwAAoAAAB4bFByaW1hcnkACFNjaGVtZUNvbG9yQXBwbGllZAAACEZvbnRTdHlsZVVuZGVybGluZWQAAAhBcHBseU92ZXJhbGxGb250c2l6ZQABCElzVmlzaWJsZQAACFhsQXV0b21hdGljQ29sb3JJbmRleEFwcGxpZWQAAAhVc2VFeGNlbEZvcm1hdHNXaGVuRGF0ZUF4aXMAAANBeGlzVGl0bGVEYXRhAJQIAAADUG9zaXRpb24AOgAAAAJBbmNob3IACwAAAEF4aXNDZW50ZXIAAVJlbGF0aXZlQW5jaG9yT2Zmc2V0AAAAAAAAAAAAAAhXYW50VG9CZVZpc2libGUAAANUZXh0Qm94RGF0YQCvBgAABU1hbmFnZWRJZAAQAAAABNxO3GikDCBKnE23xk40D7Q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0AAABtc29BbGlnbkxlZnQAAlRleHRWZXJ0aWNhbEFsaWdubWVudAANAAAAbXNvQW5jaG9yVG9w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AAAAAAABQm90dG9tAAAAAAAAAAAAAAJEaXNwbGF5VGV4dAABAAAAAAFIZWlnaHQAAAAAwI5AA0ABV2lkdGgAAAAAoJmZuT8BVG9wAAAAAAAAABBAAUxlZnQAAAAAAAAAE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AMJzAkAAA1Bvc3NpYmxlQXJlYQ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AAhVc2VBdXRvbWF0aWNNYWpvclVuaXQAAQhVc2VBdXRvbWF0aWNNaW5pbXVtU2NhbGUAAQhVc2VBdXRvbWF0aWNNYXhpbXVtU2NhbGUAAQNGb250Q29sb3IAVQAAABBBAP8AAAAQUgBAAAAAEEcAQAAAABBCAEAAAAABU2NBAAAAAAAAAPA/AVNjUgAAAADA/T+qPwFTY0cAAAAAwP0/qj8BU2NCAAAAAMD9P6o/ABBGb250U2NoZW1lQ29sb3IAAgAAABBGb250VGhlbWVDb2xvcgAAAAAAAUZvbnRUaW50QW5kU2hhZGUAAAAAAAAAAAACTGFiZWxQb3NpdGlvbgAFAAAATm9uZQADQXhpc0xpbmVTdHlsZQAzAQAAAl90eXBlAHIAAABtaW8uQ29tbW9uLlBvd2VyUG9pbnQuTWFuYWdlZC5Db250cmFjdHMuQ3VzdG9taXppbmcuU3R5bGVzLkF4aXNMaW5lU3R5bGUsIG1pby5Db21tb24uUG93ZXJQb2ludC5NYW5hZ2VkLkNvbnRyYWN0cwABTGluZVdlaWdodAAAAAAAAADgPwJEYXNoU3R5bGUACgAAAExpbmVTb2xpZAAIVmlzaWJsZQABA0NvbG9yAHMAAAAQVGhlbWVDb2xvcgANAAAAAVRpbnRBbmRTaGFkZQAAAAAAAAAAABBUaW50SW5kZXgA/////xBTY2hlbWVDb2xvcgAAAAAAA0NvbG9yACEAAAAQQQAAAAAAEFIA/wAAABBHAP8AAAAQQgD/AAAAAAAAA051bWJlckZvcm1hdAAfAAAABV9pZAAQAAAABAAAAAAAAAAAAAAAAAA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AAMxACcMAAACQXhpc1R5cGUACAAAAHhsVmFsdWUAAkF4aXNHcm91cAAMAAAAeGxTZWNvbmRhcnkACFNjaGVtZUNvbG9yQXBwbGllZAAACEZvbnRTdHlsZVVuZGVybGluZWQAAAhBcHBseU92ZXJhbGxGb250c2l6ZQAACElzVmlzaWJsZQAACFhsQXV0b21hdGljQ29sb3JJbmRleEFwcGxpZWQAAAhVc2VFeGNlbEZvcm1hdHNXaGVuRGF0ZUF4aXMAAANBeGlzVGl0bGVEYXRhAEcIAAADUG9zaXRpb24AOgAAAAJBbmNob3IACwAAAEF4aXNDZW50ZXIAAVJlbGF0aXZlQW5jaG9yT2Zmc2V0AAAAAAAAAAAAAAhXYW50VG9CZVZpc2libGUAAANUZXh0Qm94RGF0YQBiBgAABU1hbmFnZWRJZAAQAAAABINjYrLYmERIhaGUpkBK23AISGFzQ2hhbmdlcwABCFVzZU5hbWVJbnN0ZWFkT2ZUYWdBc0lkAAEIU2hhcGVQcmV2aW91c2x5Q3JlYXRlZAAAA0ZpbGxDb2xvcgBVAAAAEEEAAAAAABBSAAAAAAAQRwAAAAAAEEIAAAAAAAFTY0EAAAAAAAAA8L8BU2NSAAAAAAAAAPC/AVNjRwAAAAAAAAAsAAAABSsAAAAtAAAA5w8AAAA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DQAAAG1zb0FsaWduTGVmdAACVGV4dFZlcnRpY2FsQWxpZ25tZW50AA0AAABtc29BbmNob3JUb3AAA0ZvbnRTdHlsZQAsAQAAEEZvbnRCYWNrZ3JvdW5kAAAAAAAIRm9udEJvbGQAAANGb250Q29sb3IAVQAAABBBAP8AAAAQUgAAAAAAEEcAAAAAABBCAAAAAAABU2NBAAAAAAAAAPA/AVNjUgAAAAAAAAAAAAFTY0cAAAAAAAAAAAABU2NCAAAAAAAAAAAAABBGb250VGhlbWVDb2xvcgAAAAAAAUZvbnRUaW50QW5kU2hhZGUAAAAAAAAAAAAQRm9udFNjaGVtZUNvbG9yAAAAAAAIRm9udEl0YWxpYwAAAUZvbnRTaXplAAAAAAAAAChACEZvbnRTdHJpa2V0aHJvdWdoAAAIRm9udFN1YnNjcmlwdAAACEZvbnRTdXBlcnNjcmlwdAAACEZvbnRVbmRlcmxpbmUAAAAIU2l6ZVRvVGV4dFdpZHRoAAEIU2l6ZVRvVGV4dEhlaWdodAABA1RleHRNYXJnaW4APwAAAAFMZWZ0AAAAAAAAAAAAAVRvcAAAAAAAAAAAAAFSaWdodAAAAAAAAAAAAAFCb3R0b20AAAAAAAAAAAAAAUhlaWdodAAAAAAAAAAAAAFXaWR0aAAAAAAAAAAAAAFUb3AAAAAAAAAAEEABTGVmdAAAAAAAAAAQ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G9zc2libGVBcmVhAG8BAAABWAAAAAAAAAAAAAFZAAAAAAAAAAAAAVdpZHRoAAAAAAAAAAAAAUhlaWdodAAAAAAAAAAAAAFMZWZ0AAAAAAAAAAAAAVRvcAAAAAAAAAAAAAFSaWdodAAAAAAAAAAAAAFCb3R0b20AAAAAAAAAAAADVG9wTGVmdAAbAAAAAVgAAAAAAAAAAAABWQAAAAAAAAAAAAADVG9wUmlnaHQAGwAAAAFYAAAAAAAAAAAAAVkAAAAAAAAAAAAAA0JvdHRvbUxlZnQAGwAAAAFYAAAAAAAAAAAAAVkAAAAAAAAAAAAAA0JvdHRvbVJpZ2h0ABsAAAABWAAAAAAAAAAAAAFZAAAAAAAAAAAAAANTaXplAC4AAAAISXNFbXB0eQAAAVdpZHRoAAAAAAAAAAAAAUhlaWdodAAAAAAAAAAAAAADTG9jYXRpb24AGwAAAAFYAAAAAAAAAAAAAVkAAAAAAAAAAAAACElzRW1wdHkAAAAACFVzZUF1dG9tYXRpY01ham9yVW5pdAABCFVzZUF1dG9tYXRpY01pbmltdW1TY2FsZQABCFVzZUF1dG9tYXRpY01heGltdW1TY2FsZQABA0ZvbnRDb2xvcgBVAAAAEEEAAAAAABBSAAAAAAAQRwAAAAAAEEIAAAAAAAFTY0EAAAAAAAAAAAABU2NSAAAAAAAAAAAAAVNjRwAAAAAAAAAAAAFTY0IAAAAAAAAAAAAAEEZvbnRTY2hlbWVDb2xvcgAAAAAAEEZvbnRUaGVtZUNvbG9yAAAAAAABRm9udFRpbnRBbmRTaGFkZQAAAAAAAAAAAAJMYWJlbFBvc2l0aW9uAAIAAAAw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DMgC6DQAAAkF4aXNUeXBlAAsAAAB4bENhdGVnb3J5AAJBeGlzR3JvdXAACgAAAHhsUHJpbWFyeQAIU2NoZW1lQ29sb3JBcHBsaWVkAAEIRm9udFN0eWxlVW5kZXJsaW5lZAAACEFwcGx5T3ZlcmFsbEZvbnRzaXplAAEISXNWaXNpYmxlAAEIWGxBdXRvbWF0aWNDb2xvckluZGV4QXBwbGllZAAACFVzZUV4Y2VsRm9ybWF0c1doZW5EYXRlQXhpcwABA0F4aXNUaXRsZURhdGEAlAgAAANQb3NpdGlvbgA6AAAAAkFuY2hvcgALAAAAQXhpc0NlbnRlcgABUmVsYXRpdmVBbmNob3JPZmZzZXQAAAAAAAAAAAAACFdhbnRUb0JlVmlzaWJsZQAAA1RleHRCb3hEYXRhAK8GAAAFTWFuYWdlZElkABAAAAAEGBwJczXWZ0qidLmRn9OEq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DQAAAG1zb0FsaWduTGVmdAACVGV4dFZlcnRpY2FsQWxpZ25tZW50AA0AAABtc29BbmNob3JUb3A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AAAAAAAAFCb3R0b20AAAAAAAAAAAAAAkRpc3BsYXlUZXh0AAEAAAAAAUhlaWdodAAAAADAjkADQAFXaWR0aAAAAACgmZm5PwFUb3AAAAAAAAAAEEABTGVmdAAAAAAAAAAQQAhGbGlwSG9yaXpvbnRhLQAAAAUsAAAA/////0kIngcAAAAAAAAAAGxseQAACEZsaXBIb3Jpem9udGFsbHlBcHBsaWVkAAAIRmxpcFZlcnRpY2FsbHkAAAhGbGlwVmVydGljYWxseUFwcGxpZWQAAAFSb3RhdGlvbgAAAAAAAOBwQ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AMJzAkAAA1Bvc3NpYmxlQXJlYQ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AAhVc2VBdXRvbWF0aWNNYWpvclVuaXQAAQhVc2VBdXRvbWF0aWNNaW5pbXVtU2NhbGUAAQhVc2VBdXRvbWF0aWNNYXhpbXVtU2NhbGUAAQNGb250Q29sb3IAVQAAABBBAP8AAAAQUgBAAAAAEEcAQAAAABBCAEAAAAABU2NBAAAAAAAAAPA/AVNjUgAAAADA/T+qPwFTY0cAAAAAwP0/qj8BU2NCAAAAAMD9P6o/ABBGb250U2NoZW1lQ29sb3IAAgAAABBGb250VGhlbWVDb2xvcgAAAAAAAUZvbnRUaW50QW5kU2hhZGUAAAAAAAAAAAACTGFiZWxQb3NpdGlvbgAFAAAATm9uZQADQXhpc0xpbmVTdHlsZQAzAQAAAl90eXBlAHIAAABtaW8uQ29tbW9uLlBvd2VyUG9pbnQuTWFuYWdlZC5Db250cmFjdHMuQ3VzdG9taXppbmcuU3R5bGVzLkF4aXNMaW5lU3R5bGUsIG1pby5Db21tb24uUG93ZXJQb2ludC5NYW5hZ2VkLkNvbnRyYWN0cwABTGluZVdlaWdodAAAAAAAAADgPwJEYXNoU3R5bGUACgAAAExpbmVTb2xpZAAIVmlzaWJsZQABA0NvbG9yAHMAAAAQVGhlbWVDb2xvcgANAAAAAVRpbnRBbmRTaGFkZQAAAAAAAAAAABBUaW50SW5kZXgA/////xBTY2hlbWVDb2xvcgAAAAAAA0NvbG9yACEAAAAQQQAAAAAAEFIA/wAAABBHAP8AAAAQQgD/AAAAAAAAA051bWJlckZvcm1hdAAfAAAABV9pZAAQAAAABAAAAAAAAAAAAAAAAAA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AAAAAk5hbWUACQAAAEF4ZXNEYXRhABBWZXJzaW9uAAUAAAAJTGFzdFdyaXRlAEm3Tj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4AAAAF/////y8AAADnDwAAAAAAAAAAAAAuFQAABV9pZAAQAAAABKalscVH8nNMhtLy+M9vMXADRGF0YQDUFAAABEl0ZW1EYXRhABMUAAADMAALFAAAEEluZGV4AAEAAAAISXNEZWxldGVkAAADVGV4dFNoYXBlRGF0YQBrBgAABU1hbmFnZWRJZAAQAAAABITCuRprXO5KprGY+yCQpRs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BA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YAAABBcmlhbAABRm9udFNpemUAAAAAAAAAAAAIRm9udFN0cmlrZXRocm91Z2gAAAhGb250U3Vic2NyaXB0AAAIRm9udFN1cGVyc2NyaXB0AAAIRm9udFVuZGVybGluZQAAAAhTaXplVG9UZXh0V2lkdGgAAQhTaXplVG9UZXh0SGVpZ2h0AAE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NYXJrZXJTaGFwZURhdGEAdAYAAAJBdXRvU2hhcGVUeXBlAAoAAABSZWN0YW5nbGUABU1hbmFnZWRJZAAQAAAABCBaJxNVqtRDtkFrP5WGZK8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k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luZVNoYXBlRGF0YQDhBgAAA1N0YXJ0ABsAAAABWAAAAAAAAAAAAAFZAAAAAAAAAAAAAANFbmQAGwAAAAFYAAAAAAAAAAAAAVkAAAAAAAAAAAAAAlN0YXJ0QXJyb3dIZWFkABEAAABtc29BcnJvd2hlYWROb25lAAJFbmRBcnJvd0hlYWQAEQAAAG1zb0Fycm93aGVhZE5vbmUABU1hbmFnZWRJZAAQAAAABLxJOV3DzmlDqOlWsCgY2Vg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gvAAAABS4AAAD/////RwWgCgAAAAAAAAAA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CQWxpZ25tZW50AAcAAABIaWRkZW4ACElzVXNlclBvc2l0aW9uAAADQ3VzdG9tQ2VudGVyUG9zaXRpb24AGwAAAAFYAAAAAAAAAAAAAVkAAAAAAAAAAAAAAkl0ZW1PcmRlcgAKAAAAQXNjZW5kaW5nABBSb3dDb3VudAAAAAAAEENvbHVtbkNvdW50AAAAAAACSXRlbUZsb3dEaXJlY3Rpb24ACwAAAEhvcml6b250YWwAAAJOYW1lAAsAAABMZWdlbmREYXRhABBWZXJzaW9uAAIAAAAJTGFzdFdyaXRlAKsaTj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AAAAAX/////MQAAAOcPAAAAAAAAAAAAAHUYAAAFX2lkABAAAAAEuhIOxtj/a0KKHIexwciF8wREYXRhAB0YAAADMAAFCAAABV9pZAAQAAAABFcyFOa9aPFMpZF8PZr1QpQCX3R5cGUAVwAAAGVtcG93ZXIuQ2hhcnRzLkRhdGEuRGF0YUNoYXJ0cy5PdmVybGF5cy5EYXRhLkNvbHVtblN1bU92ZXJsYXlEYXRhLCBlbXBvd2VyLkNoYXJ0cy5EYXRhABBDb2x1bW4AAQAAABBTZXJpZXMA/////wNUZXh0RWxlbWVudADrBgAAAkF1dG9TaGFwZVR5cGUACgAAAFJlY3RhbmdsZQAEQWRqdXN0bWVudHMABQAAAAAFTWFuYWdlZElkABAAAAAEdypfKl0Wo0GfvZIO6FZHww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gBQuLUABV2lkdGgAAAAAQInzOk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wKi7KkAAAkNvbHVtblN1bVBvc2l0aW9uAAwAAABEZWZhdWx0RG9jawAIRGVsZXRlZAABA051bWJlckZvcm1hdAAfAAAABV9pZAAQAAAABAAAAAAAAAAAAAAAAAAAAAAACElzTmV3AAEBRm9udFNpemUAAAAAAAAAKEAAAzEABQgAAAVfaWQAEAAAAAT0mzJomiT5SITQ1dGTZjt/Al90eXBlAFcAAABlbXBvd2VyLkNoYXJ0cy5EYXRhLkRhdGFDaGFydHMuT3ZlcmxheXMuRGF0YS5Db2x1bW5TdW1PdmVybGF5RGF0YSwgZW1wb3dlci5DaGFydHMuRGF0YQAQQ29sdW1uAAIAAAAQU2VyaWVzAP////8DVGV4dEVsZW1lbnQA6wYAAAJBdXRvU2hhcGVUeXBlAAoAAABSZWN0YW5nbGUABEFkanVzdG1lbnRzAAUAAAAABU1hbmFnZWRJZAAQAAAABPVG1vaBNTpLgjhgT4FEGNs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IAULi1AAVdpZHRoAAAAAECJ8zp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MCouypAAAJDb2x1bW5TdW1Qb3NpdGlvbgAMAAAARGVmYXVsdERvY2sACDEAAAAFMAAAAP////+OCFkHAAAAAAAAAABEZWxldGVkAAEDTnVtYmVyRm9ybWF0AB8AAAAFX2lkABAAAAAEAAAAAAAAAAAAAAAAAAAAAAAISXNOZXcAAQFGb250U2l6ZQAAAAAAAAAoQAADMgAFCAAABV9pZAAQAAAABIMt0NYwN4VOrXT8LELlpC8CX3R5cGUAVwAAAGVtcG93ZXIuQ2hhcnRzLkRhdGEuRGF0YUNoYXJ0cy5PdmVybGF5cy5EYXRhLkNvbHVtblN1bU92ZXJsYXlEYXRhLCBlbXBvd2VyLkNoYXJ0cy5EYXRhABBDb2x1bW4AAwAAABBTZXJpZXMA/////wNUZXh0RWxlbWVudADrBgAAAkF1dG9TaGFwZVR5cGUACgAAAFJlY3RhbmdsZQAEQWRqdXN0bWVudHMABQAAAAAFTWFuYWdlZElkABAAAAAEiG6syCSsNUGY/xWD6EEEbg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gBQuLUABV2lkdGgAAAAAQInzOk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wKi7KkAAAkNvbHVtblN1bVBvc2l0aW9uAAwAAABEZWZhdWx0RG9jawAIRGVsZXRlZAABA051bWJlckZvcm1hdAAfAAAABV9pZAAQAAAABAAAAAAAAAAAAAAAAAAAAAAACElzTmV3AAEBRm9udFNpemUAAAAAAAAAKEAAAAJOYW1lAAkAAABPdmVybGF5cwAQVmVyc2lvbgAGAAAACUxhc3RXcml0ZQCrGk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yAAAAAwAAAAD/////CgDCDAAAAAAAAAAAAAABAQUAAAAwAP///////w4ABlBsb3RBcmVhQm9yZGVyKgAAAAsABAAAABAABAAAACQAAQADAQUAAAAxAP///////x4ABlBvaW50QW5kU2VyaWVzU3R5bGVEZWZpbml0aW9ucyoAAAAMAAQAAAAMAAQAAAAPAAQAAAAMAAQAAAAPAAQAAAALAAQAAAAPAAIAAwEFAAAAMgD///////8hAAZDYXRlZ29yeUxhYmVsU2V0dGluZ3NEYXRhUHJvcGVydHkzAAAAAAAyAAAABgAEAAAAHQAyAAAABwAEAAAAHQAyAAAACAAEAAAAIAADAAIBBQAAADMA////////EgAGQWRkaXRpb25hbEF4aXNEYXRhMwAAAAEABAAAACEABAAAAAYABAAAACEABAAAAAYABAACAQUAAAA0AP///////xMABkdsb2JhbENoYXJ0U2V0dGluZ3MzAAAAAgAEAAAAGgAEAAAABAAEAAAAEQAEAAAABAAFAAEBBQAAADUA////////CAAGT3ZlcmxheXM0AAAAAAAEAAAALQAEAAAAEAAGAAEBBQAAADYA////////GAAGQ2F0ZWdvcnlBeGlzRGF0YVByb3BlcnR5NAAAAAEAMgAAAAcAMgAAAAIABwACAQUAAAA3AP///////xMABkJyZWFrTWFuYWdlbWVudERhdGE0AAAAAgAEAAAAEgAyAAAABgAEAAAAEgAyAAAAAgAIAAgBBQAAADgA////////CAAGQXhlc0RhdGE0AAAAAwAEAAAAJQAEAAAAEgAEAAAAJQAEAAAAEgAEAAAAJQAyAAAAAgAEAAAAJQAEAAAALwAEAAAAJQAEAAAALwAEAAAAAAAEAAAALwAEAAAAAAAEAAAALwAEAAAAAAAEAAAALwAJAAgBBQAAADkA////////CgAGTGVnZW5kRGF0YTQAAAAEAAQAAAAsAAQAAAAfAAQAAAAsAAQAAAAfAAQAAAAsAAQAAAAHAAQAAAARAAQAAAALAAQAAAARAP///////wQAAAARAP///////wQAAAARAP///////wQAAAAR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wAAAAT//////////wMAuQEAAAAAAAAAAAAA/////7sAuwAAAAVfaWQAEAAAAATtx0ji9UOPTZ1FqBWV+ooqA0RhdGEASgAAAAhTaG93TmFtZQAACFNob3dWYWx1ZQAACFNob3dQZXJjZW50YWdlAAAQUGVyY2VudGFnZURlY2ltYWxQbGFjZXMAAAAAAAACTmFtZQAiAAAAQ2F0ZWdvcnlMYWJlbFNldHRpbmdzRGF0YVByb3BlcnR5ABBWZXJzaW9uAAAAAAAJTGFzdFdyaXRlAGvjpmx0AQAAAAEA/////5IDkgMAAAVfaWQAEAAAAASOLPfkrhfOSYIBLGyOm9ClA0RhdGEAMAMAAANCb3VuZHM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hJc1Zpc2libGUAAAhJc1JldmVyc2VkAAAIU2hvd0dyaWRsaW5lcwAAAU1hbnVhbE1ham9yVW5pdAAAAAAAAAAAAAFNYW51YWxNYXhpbXVtU2NhbGUAAAAAAAAAAAABTWFudWFsTWluaW11bVNjYWxlAAAAAAAAAAAACFVzZUF1dG9tYXRpY01ham9yVW5pdAABCFVzZUF1dG9tYXRpY01pbmltdW1TY2FsZQABCFVzZUF1dG9tYXRpY01heGltdW1TY2FsZQABA0FkZGl0aW9uYWxBeGlzVGlja0xhYmVsc0RhdGEAtwAAAARJdGVtRGF0YQAFAAAAAANGb250Q29sb3IAVQAAABBBAAAAAAAQUgAAAAAAEEcAAAAAABBCAAAAAAABU2NBAAAAAAAAAAAAAVNjUgAAAAAAAAAAAAFTY0cAAAAAAAAAAAABU2NCAAAAAAAAAAAAABBGb250U2NoZW1lQ29sb3IAAAAAABBGb250VGhlbWVDb2xvcgAAAAAAAUZvbnRUaW50QW5kU2hhZGUAAAAAAAAAAAAABEdyaWRsaW5lSXRlbURhdGEABQAAAAAAAk5hbWUAEwAAAEFkZGl0aW9uYWxBeGlzRGF0YQAQVmVyc2lvbgAAAAAACUxhc3RXcml0ZQBhFE41lwEAAAACAP/////JCckJAAAFX2lkABAAAAAEIFLY5jLDJ0CjeHlH0eIfMQNEYXRhAGYJAAAIQXV0b21hdGljTGF5b3V0QWN0aXZlAAEEQWRkaXRpb25hbENoYXJ0TWFyZ2luRGF0YXMABQAAAAACRGF0YVJlZmVyZW5jZURpcmVjdGlvbgANAAAAU2VyaWVzQnlSb3dzAAJTZXJpZXNPcmRlcgAKAAAAQXNJbkV4Y2VsAAJQb2ludE9yZGVyAAoAAABBc0luRXhjZWwAAlByaW1hcnlBeGlzQ3Jvc3NUeXBlABkAAABDcm9zc2VzQmV0d2VlbkNhdGVnb3JpZXMAAlNlY29uZGFyeUF4aXNDcm9zc1R5cGUACAAAAEludmFsaWQACElzQ2hhcnRUaXRsZVZpc2libGUAAANDaGFydFRpdGxlRGF0YQDiBgAACFdhbnRUb0JlVmlzaWJsZQAAA1RleHRCb3hEYXRhAGwGAAAFTWFuYWdlZElkABAAAAAEh9+tEUR8rEKvA82P0vD/HQ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AAAIRm9udFN0cmlrZXRocm91Z2gAAAhGb250U3Vic2NyaXB0AAAIRm9udFN1cGVyc2NyaXB0AAAIRm9udFVuZGVybGluZQAAAAhTaXplVG9UZXh0V2lkdGgAAQhTaXplVG9UZXh0SGVpZ2h0AAE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PZmZzZXRGcm9tSG9tZQBCAAAAAVgAAAAAAAAAAAABWQAAAAAAAAAAAAFMZW5ndGgAAAAAAAAAAAABTGVuZ3RoU3F1YXJlZAAAAAAAAAAAAAAAAVBsb3RUb0NoYXJ0QXJlYVJhdGlvAAAAAAAAAAAAAlJlbmRlck1vZGUACwAAAEh5YnJpZFRleHQAA0N1c3RvbWl6aW5nRGVzY3JpcHRpb25EYXRhAJEAAAACTmFtZQAXAAAARGVmYXVsdEZsZXhDdXN0b21pemluZwAQVmVyc2lvbgABAAAAEE1pbm9yVmVyc2lvbgAAAAAAAkN1c3RvbWl6aW5nVHlwZQAIAAAARGVmYXVsdAACTWlvQ2RJZAABAAAAAAJGbGV4Q3VzdG9taXppbmdUeXBlAAgAAABEZWZhdWx0AAABTGFzdFNlZW5XaWR0aAAAAACgAS10QAFMYXN0U2VlbkhlaWdodAAAAABA4aJVQAhNaWdyYXRpb25Ub1BlcmZvcm1hbmNlTW9kZURvbmUAAQVMYXN0U2VlblNsaWRlQ29sb3JUaGVtZU1kNUhhc2gAEAAAAADCZAk1JOntz300feOG59EeAAJOYW1lABQAAABHbG9iYWxDaGFydFNldHRpbmdzABBWZXJzaW9uAAQAAAAJTGFzdFdyaXRlAIsbTj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QAAAAEAAAAAAcAAAAFAEoPAAAAAAAAAAAAADUAAAAAAAEANwAAAAAAAgD/////dQB1AAAABV9pZAAQAAAABOGyt+349QZLu2ahK4vi1M4DRGF0YQASAAAABEJyZWFrcwAFAAAAAAACTmFtZQAUAAAAQnJlYWtNYW5hZ2VtZW50RGF0YQAQVmVyc2lvbgAAAAAACUxhc3RXcml0ZQBx5sNDYgEAAAADADoAAAAAAAQA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1AAAABf////82AAAA5w8AAAAAAAAAAAAAAB4AAAVfaWQAEAAAAASLg1HpU6U+RIfp3Ji9k84RBERhdGEAqB0AAAMwAN4JAAAFX2lkABAAAAAEVzIU5r1o8UylkXw9mvVClAJfdHlwZQBXAAAAZW1wb3dlci5DaGFydHMuRGF0YS5EYXRhQ2hhcnRzLk92ZXJsYXlzLkRhdGEuQ29sdW1uU3VtT3ZlcmxheURhdGEsIGVtcG93ZXIuQ2hhcnRzLkRhdGEAEENvbHVtbgABAAAAEFNlcmllcwD/////A1RleHRFbGVtZW50AOsGAAACQXV0b1NoYXBlVHlwZQAKAAAAUmVjdGFuZ2xlAARBZGp1c3RtZW50cwAFAAAAAAVNYW5hZ2VkSWQAEAAAAAR3Kl8qXRajQZ+9kg7oVkfD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CAFC4tQAFXaWR0aAAAAABAifM6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DAqLsqQAACQ29sdW1uU3VtUG9zaXRpb24ADAAAAERlZmF1bHREb2NrAAhEZWxldGVkAAEDTnVtYmVyRm9ybWF0AB8AAAAFX2lkABAAAAAEinO8Kz50a0CNdX1jXKMG3gADVGV4dEZvcm1hdA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Jc05ldwABAUZvbnRTaXplAAAAAAAAAChAAAMxAN4JAAAFX2lkABAAAAAE9JsyaJok+UiE0NXRk2Y7fwJfdHlwZQBXAAAAZW1wb3dlci5DaGFydHMuRGF0YS5EYXRhQ2hhcnRzLk92ZXJsYXlzLkRhdGEuQ29sdW1uU3VtT3ZlcmxheURhdGEsIGVtcG93ZXIuQ2hhcnRzLkRhdGEAEENvbHVtbgACAAAAEFNlcmllcwD/////A1RleHRFbGVtZW50AOsGAAACQXV0b1NoYXBlVHlwZQAKAAAAUmVjdGFuZ2xlAARBZGp1c3RtZW50cwAFAAAAAAVNYW5hZ2VkSWQAEAAAAAT1Rtb2gTU6S4I4YE+BRBjb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CAFC4tQAFXaWR0aAAAAABAifM6QAFUb3AAAAAA4HHkdkABTGVmdAAAAABgDiaCQAhGbGlwSG9yaXpvbnRhbGx5AAAIRmxpcEhvcml6b250YWxseUFwcGxpZWQAAAhGbGlwVmVydGljYWxseQAACEZsaXBWZXJ0aWNhbGx5QXBwbGllZAAAAVJvdGF0aW9uAAAAAAAAAAAAAVpPcmRlcgAAAAAAAAAAAANCb3JkZXJDb2xvcgBVAAAAEEEAAAAAABBSAP8AAAAQNgAAAAU1AAAA/////xkOzgEAAAAAAAAAA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wKi7KkAAAkNvbHVtblN1bVBvc2l0aW9uAAwAAABEZWZhdWx0RG9jawAIRGVsZXRlZAABA051bWJlckZvcm1hdAAfAAAABV9pZAAQAAAABIpzvCs+dGtAjXV9Y1yjBt4AA1RleHRGb3JtYXQ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SXNOZXcAAQFGb250U2l6ZQAAAAAAAAAoQAADMgDeCQAABV9pZAAQAAAABIMt0NYwN4VOrXT8LELlpC8CX3R5cGUAVwAAAGVtcG93ZXIuQ2hhcnRzLkRhdGEuRGF0YUNoYXJ0cy5PdmVybGF5cy5EYXRhLkNvbHVtblN1bU92ZXJsYXlEYXRhLCBlbXBvd2VyLkNoYXJ0cy5EYXRhABBDb2x1bW4AAwAAABBTZXJpZXMA/////wNUZXh0RWxlbWVudADrBgAAAkF1dG9TaGFwZVR5cGUACgAAAFJlY3RhbmdsZQAEQWRqdXN0bWVudHMABQAAAAAFTWFuYWdlZElkABAAAAAEiG6syCSsNUGY/xWD6EEEbg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gBQuLUABV2lkdGgAAAAAQInzOk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wKi7KkAAAkNvbHVtblN1bVBvc2l0aW9uAAwAAABEZWZhdWx0RG9jawAIRGVsZXRlZAABA051bWJlckZvcm1hdAAfAAAABV9pZAAQAAAABIpzvCs+dGtAjXV9Y1yjBt4AA1RleHRGb3JtYXQ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SXNOZXcAAQFGb250U2l6ZQAAAAAAAAAoQAAAAk5hbWUACQAAAE92ZXJsYXlzABBWZXJzaW9uAAgAAAAJTGFzdFdyaXRlAKsaTj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cAAAAF/////zgAAADnDwAAAAAAAAAAAAAlFgAABV9pZAAQAAAABGqDqupeCEFLgg9J3/5wdIIDRGF0YQC9FQAABENhdGVnb3J5QXhpc0xhYmVsRGF0YQBwFQAAAzAAJgcAAANUZXh0Qm94RGF0YQDXBgAABU1hbmFnZWRJZAAQAAAABLRh10EzpU5NtCR9iwrljB0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TAAAAR2VzY2jDpGZ0c2bDvGhydW5nAAJUZXh0SG9yaXpvbnRhbEFsaWdubWVudAAOAAAAbXNvQW5jaG9yTm9uZQACUGFyYWdyYXBoQWxpZ25tZW50AA4AAABtc29BbGlnblJpZ2h0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JEAIRm9udFN0cmlrZXRocm91Z2gAAAhGb250U3Vic2NyaXB0AAAIRm9udFN1cGVyc2NyaXB0AAAIRm9udFVuZGVybGluZQAAAAhTaXplVG9UZXh0V2lkdGgAAQhTaXplVG9UZXh0SGVpZ2h0AAEDVGV4dE1hcmdpbgA/AAAAAUxlZnQAAAAAAAAAAAABVG9wAAAAAAAAAAAAAVJpZ2h0AAAAAAAAAAAAAUJvdHRvbQAAAAAAAAAAAAACRGlzcGxheVRleHQAEwAAAEdlc2Now6RmdHNmw7xocnVuZwABSGVpZ2h0AAAAAKCZWShAAVdpZHRoAAAAAAARwVNAAVRvcAAAAACAYKwgQAFMZWZ0AAAAAAC2Rx5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JPcmllbnRhdGlvbgAFAAAATm9uZQAITGFiZWxWaXNpYmxlAAECVGV4dEFsaWdubWVudAAFAAAATGVmdAAAAzEAKAcAAANUZXh0Qm94RGF0YQDZBgAABU1hbmFnZWRJZAAQAAAABLo+63pVTn9Ls8gSt/AwnNo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UAAAARWlucmljaHR1bmdzbGVpdHVuZwACVGV4dEhvcml6b250YWxBbGlnbm1lbnQADgAAAG1zb0FuY2hvck5vbmUAAlBhcmFncmFwaEFsaWdubWVudAAOAAAAbXNvQWxpZ25SaWdodA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RACEZvbnRTdHJpa2V0aHJvdWdoAAAIRm9udFN1YnNjcmlwdAAACEZvbnRTdXBlcnNjcmlwdAAACEZvbnRVbmRlcmxpbmUAAAAIU2l6ZVRvVGV4dFdpZHRoAAEIU2l6ZVRvVGV4dEhlaWdodAABA1RleHRNYXJnaW4APwAAAAFMZWZ0AAAAAAAAAAAAAVRvcAAAAAAAAAAAAAFSaWdodAAAAAAAAAAAAAFCb3R0b20AAAAAAAAAAAAAAkRpc3BsYXlUZXh0ABQAAABFaW5yaWNodHVuZ3NsZWl0dW5nAAFIZWlnaHQAAAAAoJlZKEABV2lkdGgAAAAA4IslVUABVG9wAAAAAGCtl0JAAUxlZnQAAAAAABAAA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k9yaWVudGF0aW9uAAUAAABOb25lAAhMYWJlbFZpc2libGUAAQJUZXh0QWxpZ25tZW50AAUAAABMZWZ0AAADMgAUBwAAA1RleHRCb3hEYXRhAMUGAAAFTWFuYWdlZElkABAAAAAE7ynDOgeBoE2O46LcHhYShw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4AAAABTcAAAD/////PgapCQAAAAAAAAAAAAAAAAAAAVNjUgAAAAAAAAAAAAFTY0cAAAAAAAAAAAABU2NCAAAAAAAAAAAAABBQYXR0ZXJuVGhlbWVDb2xvcgAAAAAAAVBhdHRlcm5UaW50QW5kU2hhZGUAAAAAAAAAAAAIRmlsbFZpc2libGUAAAhWaXNpYmxlAAECRmlsbFBhdHRlcm4AEAAAAG1zb1BhdHRlcm5NaXhlZAACVGV4dAAKAAAAU29uc3RpZ2VzAAJUZXh0SG9yaXpvbnRhbEFsaWdubWVudAAOAAAAbXNvQW5jaG9yTm9uZQACUGFyYWdyYXBoQWxpZ25tZW50AA4AAABtc29BbGlnblJpZ2h0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JEAIRm9udFN0cmlrZXRocm91Z2gAAAhGb250U3Vic2NyaXB0AAAIRm9udFN1cGVyc2NyaXB0AAAIRm9udFVuZGVybGluZQAAAAhTaXplVG9UZXh0V2lkdGgAAQhTaXplVG9UZXh0SGVpZ2h0AAEDVGV4dE1hcmdpbgA/AAAAAUxlZnQAAAAAAAAAAAABVG9wAAAAAAAAAAAAAVJpZ2h0AAAAAAAAAAAAAUJvdHRvbQAAAAAAAAAAAAACRGlzcGxheVRleHQACgAAAFNvbnN0aWdlcwABSGVpZ2h0AAAAAKCZWShAAVdpZHRoAAAAAKBHAUZAAVRvcAAAAABgIYJQQAFMZWZ0AAAAACDRSUV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JPcmllbnRhdGlvbgAFAAAATm9uZQAITGFiZWxWaXNpYmxlAAECVGV4dEFsaWdubWVudAAFAAAATGVmdAAAAAhXYW50c1RvQmVWaXNpYmxlAAECTGFiZWxUZXh0QWxpZ25tZW50AAYAAABSaWdodAAAAk5hbWUAGQAAAENhdGVnb3J5QXhpc0RhdGFQcm9wZXJ0eQAQVmVyc2lvbgABAAAACUxhc3RXcml0ZQBVHE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OQAAAAMAAAAA/////wQA4w4AAAAAAAAAAAAAAgD///////8/AAAABgAQAAtqg6rqXghBS4IPSd/+cHSCNAAAAAEAAwAAADUAOQAAAAEAAwAAADMAOQAAAAIAAQABAP///////z8AAAAHABAAC+Gyt+349QZLu2ahK4vi1M40AAAAAgA5AAAAAAA5AAAAAgACAAIA////////PwAAAAgAEAALAUlx8CY2rk233Iwy1tMclTQAAAADADkAAAABADkAAAADADkAAAAAADkAAAADAAMAAwD///////8/AAAACQAQAAttOEz3FH6TTaOZybePmBqLNAAAAAQAOQAAAAIAAwAAAAEAOQAAAAIA////////AwAAAD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oAAAAF/////zsAAADnDwAAAAAAAAAAAAAXKAAABV9pZAAQAAAABAFJcfAmNq5Nt9yMMtbTHJUDRGF0YQC/JwAABFNhdmVkQXhpc0xhYmVsRGF0YQCmJwAAAzAAtw0AAAJBeGlzVHlwZQAIAAAAeGxWYWx1ZQACQXhpc0dyb3VwAAoAAAB4bFByaW1hcnkACFNjaGVtZUNvbG9yQXBwbGllZAAACEZvbnRTdHlsZVVuZGVybGluZWQAAAhBcHBseU92ZXJhbGxGb250c2l6ZQABCElzVmlzaWJsZQAACFhsQXV0b21hdGljQ29sb3JJbmRleEFwcGxpZWQAAAhVc2VFeGNlbEZvcm1hdHNXaGVuRGF0ZUF4aXMAAANBeGlzVGl0bGVEYXRhAJQIAAADUG9zaXRpb24AOgAAAAJBbmNob3IACwAAAEF4aXNDZW50ZXIAAVJlbGF0aXZlQW5jaG9yT2Zmc2V0AAAAAAAAAAAAAAhXYW50VG9CZVZpc2libGUAAANUZXh0Qm94RGF0YQCvBgAABU1hbmFnZWRJZAAQAAAABNxO3GikDCBKnE23xk40D7Q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0AAABtc29BbGlnbkxlZnQAAlRleHRWZXJ0aWNhbEFsaWdubWVudAANAAAAbXNvQW5jaG9yVG9w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AAAAAAABQm90dG9tAAAAAAAAAAAAAAJEaXNwbGF5VGV4dAABAAAAAAFIZWlnaHQAAAAAwI5AA0ABV2lkdGgAAAAAoJmZuT8BVG9wAAAAAAAAABBAAUxlZnQAAAAAAAAAE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AMJzAkAAA1Bvc3NpYmxlQXJlYQ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AAhVc2VBdXRvbWF0aWNNYWpvclVuaXQAAQhVc2VBdXRvbWF0aWNNaW5pbXVtU2NhbGUAAQhVc2VBdXRvbWF0aWNNYXhpbXVtU2NhbGUAAQNGb250Q29sb3IAVQAAABBBAP8AAAAQUgBAAAAAEEcAQAAAABBCAEAAAAABU2NBAAAAAAAAAPA/AVNjUgAAAADA/T+qPwFTY0cAAAAAwP0/qj8BU2NCAAAAAMD9P6o/ABBGb250U2NoZW1lQ29sb3IAAgAAABBGb250VGhlbWVDb2xvcgAAAAAAAUZvbnRUaW50QW5kU2hhZGUAAAAAAAAAAAACTGFiZWxQb3NpdGlvbgAFAAAATm9uZQADQXhpc0xpbmVTdHlsZQAzAQAAAl90eXBlAHIAAABtaW8uQ29tbW9uLlBvd2VyUG9pbnQuTWFuYWdlZC5Db250cmFjdHMuQ3VzdG9taXppbmcuU3R5bGVzLkF4aXNMaW5lU3R5bGUsIG1pby5Db21tb24uUG93ZXJQb2ludC5NYW5hZ2VkLkNvbnRyYWN0cwABTGluZVdlaWdodAAAAAAAAADgPwJEYXNoU3R5bGUACgAAAExpbmVTb2xpZAAIVmlzaWJsZQABA0NvbG9yAHMAAAAQVGhlbWVDb2xvcgANAAAAAVRpbnRBbmRTaGFkZQAAAAAAAAAAABBUaW50SW5kZXgA/////xBTY2hlbWVDb2xvcgAAAAAAA0NvbG9yACEAAAAQQQAAAAAAEFIA/wAAABBHAP8AAAAQQgD/AAAAAAAAA051bWJlckZvcm1hdAAfAAAABV9pZAAQAAAABAAAAAAAAAAAAAAAAAA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AAMxACcMAAACQXhpc1R5cGUACAAAAHhsVmFsdWUAAkF4aXNHcm91cAAMAAAAeGxTZWNvbmRhcnkACFNjaGVtZUNvbG9yQXBwbGllZAAACEZvbnRTdHlsZVVuZGVybGluZWQAAAhBcHBseU92ZXJhbGxGb250c2l6ZQAACElzVmlzaWJsZQAACFhsQXV0b21hdGljQ29sb3JJbmRleEFwcGxpZWQAAAhVc2VFeGNlbEZvcm1hdHNXaGVuRGF0ZUF4aXMAAANBeGlzVGl0bGVEYXRhAEcIAAADUG9zaXRpb24AOgAAAAJBbmNob3IACwAAAEF4aXNDZW50ZXIAAVJlbGF0aXZlQW5jaG9yT2Zmc2V0AAAAAAAAAAAAAAhXYW50VG9CZVZpc2libGUAAANUZXh0Qm94RGF0YQBiBgAABU1hbmFnZWRJZAAQAAAABINjYrLYmERIhaGUpkBK23AISGFzQ2hhbmdlcwABCFVzZU5hbWVJbnN0ZWFkT2ZUYWdBc0lkAAEIU2hhcGVQcmV2aW91c2x5Q3JlYXRlZAAAA0ZpbGxDb2xvcgBVAAAAEEEAAAAAABBSAAAAAAAQRwAAAAAAEEIAAAAAAAFTY0EAAAAAAAAA8L8BU2NSAAAAAAAAAPC/AVNjRwAAAAAAAAA7AAAABToAAABAAAAA5w8AAAA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DQAAAG1zb0FsaWduTGVmdAACVGV4dFZlcnRpY2FsQWxpZ25tZW50AA0AAABtc29BbmNob3JUb3AAA0ZvbnRTdHlsZQAsAQAAEEZvbnRCYWNrZ3JvdW5kAAAAAAAIRm9udEJvbGQAAANGb250Q29sb3IAVQAAABBBAP8AAAAQUgAAAAAAEEcAAAAAABBCAAAAAAABU2NBAAAAAAAAAPA/AVNjUgAAAAAAAAAAAAFTY0cAAAAAAAAAAAABU2NCAAAAAAAAAAAAABBGb250VGhlbWVDb2xvcgAAAAAAAUZvbnRUaW50QW5kU2hhZGUAAAAAAAAAAAAQRm9udFNjaGVtZUNvbG9yAAAAAAAIRm9udEl0YWxpYwAAAUZvbnRTaXplAAAAAAAAAChACEZvbnRTdHJpa2V0aHJvdWdoAAAIRm9udFN1YnNjcmlwdAAACEZvbnRTdXBlcnNjcmlwdAAACEZvbnRVbmRlcmxpbmUAAAAIU2l6ZVRvVGV4dFdpZHRoAAEIU2l6ZVRvVGV4dEhlaWdodAABA1RleHRNYXJnaW4APwAAAAFMZWZ0AAAAAAAAAAAAAVRvcAAAAAAAAAAAAAFSaWdodAAAAAAAAAAAAAFCb3R0b20AAAAAAAAAAAAAAUhlaWdodAAAAAAAAAAAAAFXaWR0aAAAAAAAAAAAAAFUb3AAAAAAAAAAEEABTGVmdAAAAAAAAAAQ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G9zc2libGVBcmVhAG8BAAABWAAAAAAAAAAAAAFZAAAAAAAAAAAAAVdpZHRoAAAAAAAAAAAAAUhlaWdodAAAAAAAAAAAAAFMZWZ0AAAAAAAAAAAAAVRvcAAAAAAAAAAAAAFSaWdodAAAAAAAAAAAAAFCb3R0b20AAAAAAAAAAAADVG9wTGVmdAAbAAAAAVgAAAAAAAAAAAABWQAAAAAAAAAAAAADVG9wUmlnaHQAGwAAAAFYAAAAAAAAAAAAAVkAAAAAAAAAAAAAA0JvdHRvbUxlZnQAGwAAAAFYAAAAAAAAAAAAAVkAAAAAAAAAAAAAA0JvdHRvbVJpZ2h0ABsAAAABWAAAAAAAAAAAAAFZAAAAAAAAAAAAAANTaXplAC4AAAAISXNFbXB0eQAAAVdpZHRoAAAAAAAAAAAAAUhlaWdodAAAAAAAAAAAAAADTG9jYXRpb24AGwAAAAFYAAAAAAAAAAAAAVkAAAAAAAAAAAAACElzRW1wdHkAAAAACFVzZUF1dG9tYXRpY01ham9yVW5pdAABCFVzZUF1dG9tYXRpY01pbmltdW1TY2FsZQABCFVzZUF1dG9tYXRpY01heGltdW1TY2FsZQABA0ZvbnRDb2xvcgBVAAAAEEEAAAAAABBSAAAAAAAQRwAAAAAAEEIAAAAAAAFTY0EAAAAAAAAAAAABU2NSAAAAAAAAAAAAAVNjRwAAAAAAAAAAAAFTY0IAAAAAAAAAAAAAEEZvbnRTY2hlbWVDb2xvcgAAAAAAEEZvbnRUaGVtZUNvbG9yAAAAAAABRm9udFRpbnRBbmRTaGFkZQAAAAAAAAAAAAJMYWJlbFBvc2l0aW9uAAIAAAAw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DMgC6DQAAAkF4aXNUeXBlAAsAAAB4bENhdGVnb3J5AAJBeGlzR3JvdXAACgAAAHhsUHJpbWFyeQAIU2NoZW1lQ29sb3JBcHBsaWVkAAEIRm9udFN0eWxlVW5kZXJsaW5lZAAACEFwcGx5T3ZlcmFsbEZvbnRzaXplAAEISXNWaXNpYmxlAAEIWGxBdXRvbWF0aWNDb2xvckluZGV4QXBwbGllZAAACFVzZUV4Y2VsRm9ybWF0c1doZW5EYXRlQXhpcwABA0F4aXNUaXRsZURhdGEAlAgAAANQb3NpdGlvbgA6AAAAAkFuY2hvcgALAAAAQXhpc0NlbnRlcgABUmVsYXRpdmVBbmNob3JPZmZzZXQAAAAAAAAAAAAACFdhbnRUb0JlVmlzaWJsZQAAA1RleHRCb3hEYXRhAK8GAAAFTWFuYWdlZElkABAAAAAEGBwJczXWZ0qidLmRn9OEq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DQAAAG1zb0FsaWduTGVmdAACVGV4dFZlcnRpY2FsQWxpZ25tZW50AA0AAABtc29BbmNob3JUb3A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AAAAAAAAFCb3R0b20AAAAAAAAAAAAAAkRpc3BsYXlUZXh0AAEAAAAAAUhlaWdodAAAAADAjkADQAFXaWR0aAAAAACgmZm5PwFUb3AAAAAAAAAAEEABTGVmdAAAAAAAAAAQQAhGbGlwSG9yaXpvbnRhPAAAAAX/////PQAAAOcPAAAAAAAAAAAAAC4VAAAFX2lkABAAAAAEbThM9xR+k02jmcm3j5gaiwNEYXRhANQUAAAESXRlbURhdGEAExQAAAMwAAsUAAAQSW5kZXgAAQAAAAhJc0RlbGV0ZWQAAANUZXh0U2hhcGVEYXRhAGsGAAAFTWFuYWdlZElkABAAAAAEhMK5Gmtc7kqmsZj7IJClGw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EA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gAAAEFyaWFsAAFGb250U2l6ZQAAAAAAAAAAAAhGb250U3RyaWtldGhyb3VnaAAACEZvbnRTdWJzY3JpcHQAAAhGb250U3VwZXJzY3JpcHQAAAhGb250VW5kZXJsaW5lAAAACFNpemVUb1RleHRXaWR0aAABCFNpemVUb1RleHRIZWlnaHQAAQ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1hcmtlclNoYXBlRGF0YQB0BgAAAkF1dG9TaGFwZVR5cGUACgAAAFJlY3RhbmdsZQAFTWFuYWdlZElkABAAAAAEIFonE1Wq1EO2QWs/lYZkrw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CR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aW5lU2hhcGVEYXRhAOEGAAADU3RhcnQAGwAAAAFYAAAAAAAAAAAAAVkAAAAAAAAAAAAAA0VuZAAbAAAAAVgAAAAAAAAAAAABWQAAAAAAAAAAAAACU3RhcnRBcnJvd0hlYWQAEQAAAG1zb0Fycm93aGVhZE5vbmUAAkVuZEFycm93SGVhZAARAAAAbXNvQXJyb3doZWFkTm9uZQAFTWFuYWdlZElkABAAAAAEvEk5XcPOaUOo6VawKBjZWA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D0AAAAFPAAAAP////9HBaAKAAAAAAAAAAB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JBbGlnbm1lbnQABwAAAEhpZGRlbgAISXNVc2VyUG9zaXRpb24AAANDdXN0b21DZW50ZXJQb3NpdGlvbgAbAAAAAVgAAAAAAAAAAAABWQAAAAAAAAAAAAACSXRlbU9yZGVyAAoAAABBc2NlbmRpbmcAEFJvd0NvdW50AAAAAAAQQ29sdW1uQ291bnQAAAAAAAJJdGVtRmxvd0RpcmVjdGlvbgALAAAASG9yaXpvbnRhbAAAAk5hbWUACwAAAExlZ2VuZERhdGEAEFZlcnNpb24AAQAAAAlMYXN0V3JpdGUAdBpO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ABbAAAAAAAAAAAAAAAgA////////////////wAAAP///////////////z8AAAADAP///////z4AAAAhAP///////z4AAAAGAP///////z4AAAAOAP///////z4AAAAOAP///////z4AAAAmAP///////////////////////////////////////////////////////////////////////////////////////////////////////////////////////////////////////////////////////////////////////////////////////////////////////////////////////////////////////////////////////////////////////////////////////////////////////////////////////////////////////////////////////////////////////////////////////////////////////////////////////////////wEAIAP///////////////8AAA7///////8+AAAAIgD///////////////////////////////////////////////////////////////////////////////////////////////////////////////////////////////////////////////////////////////////////////////////////////////////////////////////////////////////////////////////////////////////////////////////////////////////////////////////////////////////////////////////////////////////////////////////////////////////////////////////////////////////////////////////////////////////////////////////////////////////////////////////////8CAAEDAwAAAAIABQAAAAIAHAAGRXhjZWxDb2xvck1vZGVEYXRhUHJvcGVydHlfMgYAAAAAAD4AAAATAD4AAAAcAAMAAQMDAAAAAwAFAAAAAwAMAAZEYXRhTGFiZWxzXzcHAAAAAAA+AAAACAA+AAAABQAEAAEDAwAAAAQABQAAAAQAEgAGR3JpZGxpbmVTZXR0aW5nc18wBwAAAAEAPgAAABoAPgAAABYABQABAwMAAAAFAAUAAAAFAAwABkRhdGFMYWJlbHNfOAcAAAACAD4AAAADAD4AAAAVAAYAAwMDAAAABgAFAAAABgAcAAZBdXRvbWF0aWNCcmVha1NldHRpbmdzRGF0YV8wBwAAAAMAPgAAACEAPwAAAAgAPgAAACEAPwAAAAgAPgAAAAAAPwAAAAgABwACAwMAAAAHAAUAAAAHAA0ABk1hcmtlcnNEYXRhXzESAAAAAAA+AAAAHwA+AAAACQA+AAAAHwA+AAAACQAIAAIDAwAAAAgABQAAAAgADAAGRGF0YUxhYmVsc182BwAAAAQAPgAAABcAPgAAAAMAPgAAABcAPgAAABwACQACAwMAAAAJAAUAAAAJAA8ABk51bWJlckZvcm1hdHNfMQcAAAAFAD4AAAAHAD4AAAAKAD4AAAAHAD4AAAAKAAoAAgMDAAAACgAFAAAACgAPAAZOdW1iZXJGb3JtYXRzXzIYAAAAAAA+AAAACQA+AAAAFAA+AAAACQA+AAAAFAALAAEDAwAAAAsABQAAAAsAIAAGUG9pbnRBbmRTZXJpZXNTdHlsZURlZmluaXRpb25zXzEYAAAAAQA+AAAADAA/AAAAAQAMAAEDAwAAAAwABQAAAAwAIAAGUG9pbnRBbmRTZXJpZXNTdHlsZURlZmluaXRpb25zXzAYAAAAAgA+AAAAGwA+AAAACwANAAEDAwAAAA0ABQAAAA0AEAAGQ29tbW9uU2V0dGluZ3NfMBgAAAADAD4AAAAOAD4AAAAXAA4ABQMDAAAADgAFAAAADgAUAAZDb2x1bW5TdW1zU2V0dGluZ3NfMBgAAAAEAD4AAAAeAD4AAAANAD4AAAAeAD4AAAAXAD4AAAAeAD4AAAAcAD4AAAAAAD4AAAAWAD4AAAAAAD4AAAAmAA8AAQMDAAAADwAFAAAADwAMAAZTZXJpZXNEYXRhXzAYAAAABQA/AAAAAQA+AAAAKgAQAAIDAwAAABAABQAAABAADAAGUGVyc29uYWxJZF8wGAAAAAYAPwAAAAUAPwAAAAAAPgAAABQAPgAAABsAEQABAwMAAAARAAUAAAARABYABkdlbmVyYWxFeGNlbFNldHRpbmdzXzAZAAAAAAA+AAAAHAA/AAAABAASAAEDAwAAABIABQAAABIAIAAGQXp1cmVJbmZvcm1hdGlvblByb3RlY3Rpb25EYXRhXzAZAAAAAQA+AAAAJQA/AAAABwATAAEDAwAAABMABQAAABMAHAAGRXhjZWxDb2xvck1vZGVEYXRhUHJvcGVydHlfMRkAAAACAD4AAAArAD4AAAACABQAAgMDAAAAFAAFAAAAFAAKAAZPdmVybGF5c181GgAAAAAAPgAAAAoAPgAAAC0APgAAAAoAPgAAABAAFQABAwMAAAAVAAUAAAAVAAwABkRhdGFMYWJlbHNfORoAAAABAD4AAAAFAD4AAAArABYABAMDAAAAFgAFAAAAFgASAAZHcmlkbGluZVNldHRpbmdzXzEaAAAAAgA+AAAABAA+AAAAJgA+AAAAGgA+AAAAJgA+AAAAGgA+AAAAJgA+AAAADgA+AAAAJgAXAAIDAwAAABcABQAAABcAFgAGRGF0YUNoYXJ0Q29BdXRob3JpbmdfMBoAAAADAD4AAAANAD4AAAAIAD4AAAAOAD4AAAAIABgAAQMDAAAAGAAFAAAAGAAKAAZPdmVybGF5c183IgAAAAAAPgAAAC0APwAAAAUAGQACAwMAAAAZAAUAAAAZAAsABldhdGVyZmFsbF8wIgAAAAEAPgAAACcAPgAAACIAPgAAACcAPgAAACIAGgADAwMAAAAaAAUAAAAaABUABkdsb2JhbENoYXJ0U2V0dGluZ3NfNSIAAAACAD8AAAAEAD4AAAAEAD8AAAAEAD4AAAAWAD8AAAAEAD4AAAAWABsABAMDAAAAGwAFAAAAGwAmAAZQb2ludEFuZFNlcmllc01hcmtlclN0eWxlRGVmaW5pdGlvbnNfMCUAAAAAAD4AAAAkAD4AAAAMAD4AAAAQAD4AAAAqAD4AAAAfAD4AAAAqAD4AAAAfAD4AAAAqABwAAwMDAAAAHAAFAAAAHAANAAZFeGNlbE1pcnJvcl8xJQAAAAEAPgAAAAIAPgAAABEAPgAAAAgAPwAAAAQAPgAAAA4APwAAAAQAHQADAwMAAAAdAAUAAAAdAB4ABkNoYXJ0U3R5bGVTdGF0dXNJbmZvcm1hdGlvbnNfMCUAAAACAD8AAAACAD4AAAAgAD8AAAAHAD4AAAAgAD8AAAAHAD4AAAAeAB4AAwMDAAAAHgAFAAAAHgAOAAZDb2xvckluZGljZXNfMiUAAAADAD4AAAAvAD4AAAAOAD4AAAAvAD4AAAAOAD4AAAAdAD4AAAAOAB8ABgMDAAAAHwAFAAAAHwAOAAZMaW5rRGF0YUxpc3RfMSkAAAAAAD4AAAAuAD4AAAAHAD4AAAAmAD4AAAAHAD4AAAAmAD4AAAAbAD4AAAAmAD4AAAAbAD4AAAAmAP///////z4AAAAmAP///////yAAAgMDAAAAIAAFAAAAIAAeAAZDaGFydFN0eWxlU3RhdHVzSW5mb3JtYXRpb25zXzEpAAAAAQA+AAAAHQA+AAAALwA+AAAAHQA+AAAALwAhAAIDAwAAACEABQAAACEAFAAGQWRkaXRpb25hbEF4aXNEYXRhXzEpAAAAAgA/AAAAAwA+AAAABgA+AAAAAAA+AAAABgAiAAMDAwAAACIABQAAACIACwAGV2F0ZXJmYWxsXzEpAAAAAwA+AAAAGQA+AAAAAQA+AAAAGQD///////8+AAAAKAD///////8jAAEDAwAAACMABQAAACMADgAGU2VyaWVzTGFiZWxzXzUpAAAABAA+AAAAKAA+AAAAJwAkAAEDAwAAACQABQAAACQAKQAGUG9pbnRBbmRTZXJpZXNBZGRpdGlvblN0eWxlc0RlZmluaXRpb25zXzEpAAAABQA+AAAAKQA+AAAAGwAlAAEDAwAAACUABQAAACUACgAGQXhlc0RhdGFfNSoAAAAAAD8AAAAIAD4AAAASACYABgMDAAAAJgAFAAAAJgANAAZMZWFkZXJMaW5lc18wKgAAAAEAPgAAABYAPwAAAAkAPgAAABYAPgAAAB8APgAAABYAPgAAAB8APgAAABYAPgAAAB8APgAAAA4APgAAAB8APgAAAAAAPgAAAB8AJwACAwMAAAAnAAUAAAAnABsABlNoYXBlQ29uc3RydWN0ZWRDaGFydERhdGFfMCoAAAACAD4AAAAjAD4AAAAZAD4AAAAoAD4AAAAZACgAAwMDAAAAKAAFAAAAKAAOAAZTZXJpZXNMYWJlbHNfNCoAAAADAD4AAAAqAD4AAAAjAD4AAAAqAD4AAAAnAD4AAAAqAD4AAAAiACkAAQMDAAAAKQAFAAAAKQApAAZQb2ludEFuZFNlcmllc0FkZGl0aW9uU3R5bGVzRGVmaW5pdGlvbnNfMCoAAAAEAD8AAAAAAD4AAAAkACoABAMDAAAAKgAFAAAAKgAOAAZTZXJpZXNMYWJlbHNfMyoAAAAFAD4AAAAPAD4AAAAoAD4AAAAbAD4AAAAoAD4AAAAbAD4AAAAoAD4AAAAbAP///////ysAAQMDAAAAKwAFAAAAKwAKAAZEYXRhTGlua18xKgAAAAYAPgAAABUAPgAAABMALAABAwMAAAAsAAUAAAAsAAwABkxlZ2VuZERhdGFfMioAAAAHAD8AAAAJAD4AAAAuAC0AAQMDAAAALQAFAAAALQAKAAZPdmVybGF5c182KgAAAAgAPgAAABQAPgAAABgALgABAwMAAAAuAAUAAAAuAA4ABkxpbmtEYXRhTGlzdF8wKgAAAAkAPgAAACwAPgAAAB8ALwACAwMAAAAvAAUAAAAvABMABkNvbG9yRGF0YVByb3BlcnR5XzAqAAAACgA+AAAAIAA+AAAAHgA+AAAAIAA+AAAAHgAAAAAAAAAAAAAAAAAAAAAAAAAAAAAAAAAAAAAAAAAAAAAAAAAAAAAAAAAAAAAAAAAAAAAAAAAAAAAAAAAAAAAAAAAAAAAAAAAAAAAAAAAAAAAAAAAAAAAAAAAAPwAAAAMAAAAA/////woAYg0AAAAAAAAAAAAAAQMDAAAAMAAFAAAAMAAQAAZQbG90QXJlYUJvcmRlcl8wKgAAAAsAPgAAABAAPgAAACkAAQABAwMAAAAxAAUAAAAxACAABlBvaW50QW5kU2VyaWVzU3R5bGVEZWZpbml0aW9uc18yKgAAAAwAPgAAAAsAPgAAAA8AAgABAwMAAAAyAAUAAAAyACMABkNhdGVnb3J5TGFiZWxTZXR0aW5nc0RhdGFQcm9wZXJ0eV8wMwAAAAAAPwAAAAYAPgAAAB0AAwABAwMAAAAzAAUAAAAzABQABkFkZGl0aW9uYWxBeGlzRGF0YV8wMwAAAAEAPgAAAAAAPgAAACEABAADAwMAAAA0AAUAAAA0ABUABkdsb2JhbENoYXJ0U2V0dGluZ3NfNDMAAAACAD4AAAARAD4AAAAaAD4AAAAcAD4AAAAaAD4AAAAcAD4AAAAaAAUAAQMDAAAANQAFAAAANQAKAAZPdmVybGF5c184NAAAAAAAPgAAABgAPgAAABAABgABAzkAAAAAAAUAAAA2ABoABkNhdGVnb3J5QXhpc0RhdGFQcm9wZXJ0eV8xNAAAAAEAPwAAAAcAPwAAAAIABwADAzkAAAABAAUAAAA3ABUABkJyZWFrTWFuYWdlbWVudERhdGFfMDQAAAACAD4AAAASAD8AAAAGAD8AAAAIAD4AAAAdAD8AAAAIAD4AAAAdAAgAAwM5AAAAAgAFAAAAOAAKAAZBeGVzRGF0YV80NAAAAAMAPgAAAAYAPgAAACUAPgAAAAYAPwAAAAcAPgAAAAYAPwAAAAcACQABAzkAAAADAAUAAAA5AAwABkxlZ2VuZERhdGFfMTQAAAAEAD4AAAAmAD4AAAAs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AAAAAFOwAAAP////9JCJ4HAAAAAAAAAABsbHkAAAhGbGlwSG9yaXpvbnRhbGx5QXBwbGllZAAACEZsaXBWZXJ0aWNhbGx5AAAIRmxpcFZlcnRpY2FsbHlBcHBsaWVkAAABUm90YXRpb24AAAAAAADgcE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ADCcwJAAANQb3NzaWJsZUFyZWE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AIVXNlQXV0b21hdGljTWFqb3JVbml0AAEIVXNlQXV0b21hdGljTWluaW11bVNjYWxlAAEIVXNlQXV0b21hdGljTWF4aW11bVNjYWxlAAEDRm9udENvbG9yAFUAAAAQQQD/AAAAEFIAQAAAABBHAEAAAAAQQgBAAAAAAVNjQQAAAAAAAADwPwFTY1IAAAAAwP0/qj8BU2NHAAAAAMD9P6o/AVNjQgAAAADA/T+qPwAQRm9udFNjaGVtZUNvbG9yAAIAAAAQRm9udFRoZW1lQ29sb3IAAAAAAAFGb250VGludEFuZFNoYWRlAAAAAAAAAAAAAkxhYmVsUG9zaXRpb24ABQAAAE5vbmUAA0F4aXNMaW5lU3R5bGUAMwEAAAJfdHlwZQByAAAAbWlvLkNvbW1vbi5Qb3dlclBvaW50Lk1hbmFnZWQuQ29udHJhY3RzLkN1c3RvbWl6aW5nLlN0eWxlcy5BeGlzTGluZVN0eWxlLCBtaW8uQ29tbW9uLlBvd2VyUG9pbnQuTWFuYWdlZC5Db250cmFjdHMAAUxpbmVXZWlnaHQAAAAAAAAA4D8CRGFzaFN0eWxlAAoAAABMaW5lU29saWQACFZpc2libGUAAQNDb2xvcgBzAAAAEFRoZW1lQ29sb3IADQAAAAFUaW50QW5kU2hhZGUAAAAAAAAAAAAQVGludEluZGV4AP////8QU2NoZW1lQ29sb3IAAAAAAANDb2xvcgAhAAAAEEEAAAAAABBSAP8AAAAQRwD/AAAAEEIA/wAAAAAA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AAAJOYW1lAAkAAABBeGVzRGF0YQAQVmVyc2lvbgAEAAAACUxhc3RXcml0ZQA/t0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28406738761"/>
  <p:tag name="EMPOWERCHARTSPROPERTIES_B_LENGTH" val="266240"/>
</p:tagLst>
</file>

<file path=ppt/tags/tag4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xV6qGSeuBNFu+RtzbFlBX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BV6qGSeuBNFu+RtzbFlBXsDRGF0YQAWAAAAAlBlcnNvbmFsSWQAAQAAAAAAAk5hbWUACwAAAFBlcnNvbmFsSWQAEFZlcnNpb24AAAAAAAlMYXN0V3JpdGUA/jtAY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4287370378876"/>
  <p:tag name="EMPOWERCHARTSPROPERTIES_A_LENGTH" val="24576"/>
  <p:tag name="RUNTIME_ID" val="2712639a-134c-48f0-b0ec-a43438f8bb5f"/>
</p:tagLst>
</file>

<file path=ppt/tags/tag44.xml><?xml version="1.0" encoding="utf-8"?>
<p:tagLst xmlns:a="http://schemas.openxmlformats.org/drawingml/2006/main" xmlns:r="http://schemas.openxmlformats.org/officeDocument/2006/relationships" xmlns:p="http://schemas.openxmlformats.org/presentationml/2006/main">
  <p:tag name="UNIQUEID" val="e58f45ad-a14b-4ce4-86e0-de4e2ce78589"/>
  <p:tag name="COLUMNSUMS - VISIBLE" val="False"/>
  <p:tag name="DATALABELS - BACKGROUND" val="True"/>
  <p:tag name="DATALABELS - VALUE" val="True"/>
  <p:tag name="METADATA - EXACTFONTSIZE" val="12"/>
  <p:tag name="METADATA - EXCELNUMBERFORMAT" val="General"/>
  <p:tag name="MIO_CHART_TEMPLATE_TYPE" val="BCF9DEBA-2C0F-40E3-8BE4-6647FACBE9D3"/>
  <p:tag name="MIO_SKIP_CDCHECK" val="true"/>
  <p:tag name="NA_EXTENSION_LIST_ADDED" val="yes."/>
  <p:tag name="EMPOWER DO NOT TRANSLATE" val="true"/>
  <p:tag name=" - MIN_VERSION_NEEDED" val="8.10.200.0"/>
  <p:tag name="RUNTIME_ID" val="ba05f5ba-8a11-4858-b446-28063af95695"/>
  <p:tag name="DOWN_MIGRATION_INITIAL_LAYOUT_REQUIRED" val="9.2.99"/>
  <p:tag name="LAST_TOUCHED_CHARTS_VERSION" val="9.5"/>
  <p:tag name="EMPOWERCHARTSPROPERTIES_A_0" val="AAAAAAH//////////wEAAAAAAAAAAAAAACoqIFRoaXMgaXMgYSBMaXRlREIgZmlsZSAqKgeBAP////9M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OAAAAAAAAABDAAAACQAAAF9pZD0kLl9pZAEDAAAAAAADAAAAAQBAAAAACwAAAE5hbWU9JC5OYW1lAAQAAAAAAAQAAAABAEEAAAARAAAAVmVyc2lvbj0kLlZlcnNpb24ABQAAAAAABQAAAAEABQAAACMAAABDb21iaUluZGV4PSQuTmFtZSArICdfJyArICQuVmVyc2lvbgFKAAAAAABKAAAAAQBLAAAAAAAAAAD///////8AAAAAAAD/////AAAAAAD///////8AAAAAAAD/////AAAAAAD///////8AAAAAAAD/////AAAAAAD///////8AAAAAAAD/////AAAAAAD///////8AAAAAAAD/////AAAAAAD///////8AAAAAAAD/////AAAAAAD///////8AAAAAAAD/////AAAAAAD///////8AAAAAAAD/////AAAAAAD///////8AAAAAAAD/////AAAAAAD///////8AAAAAAAD/////AAAAAAD///////8AAAAAAAD/////AAAAAAD///////8AAA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gHCQEBAQEBAQEBAQEBAVcAAAAAAAAAAwAAAAP//////////zIAVQAAAAAAAAAAAAAAIAD///////////////8AAAD///////////////8DAAAAAgD///////8DAAAAAgD///////8DAAAAAgD///////8DAAAAAgD///////8DAAAAAgD///////8DAAAAJAD///////8DAAAALwD///////////////////////////////////////////////////////////////////////////////////////////////////////////////////////////////////////////////////////////////////////////////////////////////////////////////////////////////////////////////////////////////////////////////////////////////////////////////////////////////////////////////////////////////////////////////////////////////////////////////8BACAA////////////////AAAO////////QAAAAAcA////////////////////////////////////////////////////////////////////////////////////////////////////////////////////////////////////////////////////////////////////////////////////////////////////////////////////////////////////////////////////////////////////////////////////////////////////////////////////////////////////////////////////////////////////////////////////////////////////////////////////////////////////////////////////////////////////////////////////////////////////////////////////////AgAFAP///////0oAAAACABAAC/wo2QCA4CZJqYWO9bQHnDYGAAAAAAADAAAAAAADAAAAAwADAAAAAAADAAAAAwADAAAAAAADAAAACgADAAAAAAADAAAADwADAAAAAAADAAAAJAADAAIA////////SgAAAAMAEAALU6NNAmOPcEmoXBUK85qZggYAAAABAAMAAAACAAMAAAAEAAMAAAACAAMAAAAGAAQAAQD///////9KAAAABAAQAAtqZLQF7y87RppbnytmbLv3BgAAAAIAAwAAAAMAAwAAAAUABQABAP///////0oAAAAFABAAC/eAEgYmk2tHjVXpMY17HtUGAAAAAwADAAAABAADAAAABgAGAAIA////////SgAAAAYAEAALxJ6QDbhwuUGftw9nng6ukwYAAAAEAAMAAAAFAAMAAAAHAAMAAAADAAMAAAAHAAcAAgD///////9KAAAABwAQAAvn9wAUjRbzRpsp7W31E1sgDgAAAAAAAwAAAAYAAwAAAAgAAwAAAAYAAwAAAAoACAABAP///////0oAAAAIABAAC+RO5BVVH2pGrncZnzBmCO4GAAAABQADAAAABwADAAAACQAJAAEA////////SgAAAAkAEAALEeAbFz9CHE6JEUPeD7gGUAYAAAAGAAMAAAAIAAMAAAAKAAoAAwD///////9KAAAACgAQAAufN+0eXJv1RYvkIyxtu4qoFgAAAAAAAwAAAAkAAwAAAAsAAwAAAAcAAwAAAAsAAwAAAAIAAwAAAA0ACwACAP///////0oAAAALABAACyrzFyP0dutMs8T+zha06YMWAAAAAQADAAAACgADAAAADAADAAAACgADAAAADAAMAAIA////////SgAAAAwAEAALXJ2WJLJSPkykKBJA4UC8shYAAAACAAMAAAALAAMAAAANAAMAAAALAAMAAAANAA0AAwD///////9KAAAADQAQAAsc+Lol90XLQLviAViSQaVjFwAAAAAAAwAAAAwAAwAAAA4AAwAAAAwAAwAAAA8AAwAAAAoAAwAAAA8ADgABAP///////0oAAAAOABAACxvh7ibn54pBrZobc6r3gAwXAAAAAQADAAAADQADAAAADwAPAAQA////////SgAAAA8AEAALaHX1KdU4eka4KOhdwYmNLhcAAAACAAMAAAAOAAMAAAAQAAMAAAANAAMAAAAQAAMAAAANAAMAAAAQAAMAAAACAAMAAAAkABAAAwD///////9KAAAAEAAQAAtKyR8vngHjRrfD803tMTXJFwAAAAMAAwAAAA8AAwAAABEAAwAAAA8AAwAAABIAAwAAAA8AAwAAACQAEQABAP///////0oAAAARABAAC+XP2TUizJFHsH6h0Z9bu0wXAAAABAADAAAAEAADAAAAEgASAAIA////////SgAAABIAEAALidt8Op2oXEm1snZSAvbCrRcAAAAFAAMAAAARAAMAAAATAAMAAAAQAAMAAAAXABMAAQD///////9KAAAAEwAQAAt52Yo7ZZe1SJl4IVR4+p+YFwAAAAYAAwAAABIAAwAAABQAFAABAP///////0oAAAAUABAAC6OBIj3XcI1Fms+Ga0ye4j4XAAAABwADAAAAEwADAAAAFQAVAAEA////////SgAAABUAEAALAKZ2P1dhf064TDH1FLD/whcAAAAIAAMAAAAUAAMAAAAWABYAAQD///////9KAAAAFgAQAAt3HWlCat3rTZWlm9iWrt9uIgAAAAAAAwAAABUAAwAAABcAFwACAP///////0oAAAAXABAAC/Cx10KBdL5DtAoHfmq6Lf4XAAAACQADAAAAFgADAAAAGAADAAAAEgADAAAAGQAYAAEA////////SgAAABgAEAALZ76YRDG4A0CXRquoou/m0xcAAAAKAAMAAAAXAAMAAAAZABkAAgD///////9KAAAAGQAQAAv6RKZPs+hFSLR9wHXtSVASJgAAAAAAAwAAABgAAwAAABoAAwAAABcAAwAAABoAGgACAP///////0oAAAAaABAAC/SUBFa/EPJEgsRpI3739/cmAAAAAQADAAAAGQADAAAAGwADAAAAGQADAAAAHAAbAAEA////////SgAAABsAEAAL5OBxXF3D8kWEJNj6zKLveCYAAAACAAMAAAAaAAMAAAAcABwAAgD///////9KAAAAHAAQAAv76wlrzh/kTLOlu1FNccnTJgAAAAMAAwAAABsAAwAAAB0AAwAAABoAAwAAAB8AHQABAP///////0oAAAAdABAAC6IgdXCcz3pDo3HLNDawTOgmAAAABAADAAAAHAADAAAAHgAeAAEA////////SgAAAB4AEAALHRpcc62+MUa/mvdjXBSr4CYAAAAFAAMAAAAdAAMAAAAfAB8AAgD///////9KAAAAHwAQAAtGkSN3jwhcRYGPj7V1NkGxMQAAAAAAAwAAAB4AAwAAACAAAwAAABwAAwAAACQAIAABAP///////0oAAAAgABAAC1A7MHspiutAo6xkTDq9dqwxAAAAAQADAAAAHwADAAAAIQAhAAEA////////SgAAACEAEAALwRykfusjWE+mqJ1a1GjFvDEAAAACAAMAAAAgAAMAAAAiACIAAQD///////9KAAAAIgAQAAvUFet/f4OcSrMQNbEyYnTONQAAAAAAAwAAACEAAwAAACMAIwABAP///////0oAAAAjABAAC1RiP47N/ulKkQkOymIpLdk1AAAAAQADAAAAIgADAAAAJAAkAAYA////////SgAAACQAEAAL/pZ9jlWWcEGuLnTv6Wk24jUAAAACAAMAAAAjAAMAAAAlAAMAAAAfAAMAAAAlAAMAAAAQAAMAAAAlAAMAAAAPAAMAAAAlAAMAAAACAAMAAAAlAAMAAAAAAAMAAAAnACUABQD///////9KAAAAJQAQAAuGQNCVwgLQSo2RPff6yGmKNQAAAAMAAwAAACQAAwAAACYAAwAAACQAAwAAACcAAwAAACQAAwAAACcAAwAAACQAAwAAACcAAwAAACQAAwAAACcAJgABAP///////0oAAAAmABAACwFDfJecFR1HpITUmT5tdc41AAAABAADAAAAJQADAAAAJwAnAAYA////////SgAAACcAEAALjGmdoHnTI0qc22uXHwMYkjYAAAAAAAMAAAAmAAMAAAAoAAMAAAAlAAMAAAAoAAMAAAAlAAMAAAAtAAMAAAAlAAMAAAAtAAMAAAAlAAMAAAAtAAMAAAAkAAMAAAAvACgAAgD///////9KAAAAKAAQAAum7mWhG62FQZ1aTr/B4F46NwAAAAAAAwAAACcAAwAAACkAAwAAACcAAwAAAC0AKQABAP///////0oAAAApABAAC882FabM4GpJlHOwFLjAxmI3AAAAAQADAAAAKAADAAAAKgAqAAEA////////SgAAACoAEAALFfadqcz1q0yf95ZPqR193jcAAAACAAMAAAApAAMAAAArACsAAQD///////9KAAAAKwAQAAuABd6pVhXFTpJeupStdsjKNwAAAAMAAwAAACoAAwAAACwALAABAP///////0oAAAAsABAAC5K1/Li4i0lAkEX8ZS3DvE83AAAABAADAAAAKwADAAAALQAtAAUA////////SgAAAC0AEAALpqWxxUfyc0yG0vL4z28xcDcAAAAFAAMAAAAsAAMAAAAuAAMAAAAoAAMAAAAuAAMAAAAnAAMAAAAuAAMAAAAnAAMAAAAvAAMAAAAnAAMAAAAvAC4AAwD///////9KAAAALgAQAAu6Eg7G2P9rQooch7HByIXzNwAAAAYAAwAAAC0AAwAAAC8AAwAAAC0AAwAAAC8AAwAAAC0AAwAAAC8ALwAHAP///////0oAAAAvABAAC+KgEtJFIiZNk5FOObM3ZUA3AAAABwADAAAALgADAAAAMAADAAAALgADAAAAMAADAAAALgBAAAAABgADAAAALQBAAAAABgADAAAALQBAAAAABgADAAAAJwBAAAAABwADAAAAAABAAAAABwAwAAIA////////SgAAADAAEAALtOAx2ESTV0ucuTmlOtH3kTcAAAAIAAMAAAAvAAMAAAAxAAMAAAAvAEAAAAAAADEAAQD///////9KAAAAMQAQAAsStnHfuDNXTpFIYFQgwA1MNwAAAAkAAwAAADAAQAAAAAAAAAAAAAAAAAAAAAAAAAAAAAAAAAAAAAAAAAAAAAAAAAAAAAAAAAAAAAAAAAAAAAAAAAAAAAAAAAAAAAAAAAAAAAAAAAAAAAAAAAAAAAAAAAAAAAAAAAQAAAAD//////////8yAD8AAAAAAAAAAAAAACAB////////////////AAAA////////////////QQAAAAEA////////QQAAAAEA////////QQAAAAEA////////QQAAAAEA////////BAAAABMA////////BAAAABMA////////BAAAAAcA////////BAAAAAcA////////////////////////////////////////////////////////////////////////////////////////////////////////////////////////////////////////////////////////////////////////////////////////////////////////////////////////////////////////////////////////////////////////////////////////////////////////////////////////////////////////////////////////////////////////////////////////////////AQAgAf///////////////wAADv///////wQAAAAmAP///////////////////////////////////////////////////////////////////////////////////////////////////////////////////////////////////////////////////////////////////////////////////////////////////////////////////////////////////////////////////////////////////////////////////////////////////////////////////////////////////////////////////////////////////////////////////////////////////////////////////////////////////////////////////////////////////////////////////////////////////////////////////////wIAAwEFAAAAAgD///////8KAAZEYXRhTGFiZWxzBgAAAAAABAAAABsABAAAAAgABAAAABsABAAAAAgABAAAABsABAAAAAgAAwABAQUAAAADAP///////xkABlNoYXBlQ29uc3RydWN0ZWRDaGFydERhdGEGAAAAAQAEAAAAKwAEAAAAHQAEAAMBBQAAAAQA////////HgAGUG9pbnRBbmRTZXJpZXNTdHlsZURlZmluaXRpb25zBgAAAAIABAAAAB4ABAAAAAoABAAAAB4ABAAAABAABAAAAB4ABAAAABAABQABAQUAAAAFAP///////xAABkdyaWRsaW5lU2V0dGluZ3MGAAAAAwBBAAAAAgAEAAAADAAGAAIBBQAAAAYA////////GgAGQXV0b21hdGljQnJlYWtTZXR0aW5nc0RhdGEGAAAABABBAAAABwAEAAAAHABBAAAAAQBBAAAABQAHAAgBBQAAAAcA////////CwAGTWFya2Vyc0RhdGEOAAAAAAAEAAAALwAEAAAACQAEAAAAGAAEAAAACQAEAAAAHwAEAAAAKgAEAAAADgAEAAAAKgAEAAAADgAEAAAAHgAEAAAAEwD///////8EAAAAAAD///////8EAAAAAAD///////8IAAMBBQAAAAgA////////CgAGRGF0YUxhYmVscwYAAAAFAAQAAAACAAQAAAAVAAQAAAACAAQAAAAWAAQAAAACAAQAAAAfAAkAAgEFAAAACQD///////8NAAZOdW1iZXJGb3JtYXRzBgAAAAYABAAAAAcABAAAACUABAAAAAcABAAAABcACgABAQUAAAAKAP///////x4ABlBvaW50QW5kU2VyaWVzU3R5bGVEZWZpbml0aW9ucxYAAAAAAAQAAAAEAAQAAAALAAsAAQEFAAAACwD///////8eAAZQb2ludEFuZFNlcmllc1N0eWxlRGVmaW5pdGlvbnMWAAAAAQAEAAAACgAEAAAAEAAMAAEBBQAAAAwA////////EAAGR3JpZGxpbmVTZXR0aW5ncxYAAAACAAQAAAAFAAQAAAAkAA0AAwEFAAAADQD///////8MAAZTZXJpZXNMYWJlbHMXAAAAAAAEAAAAEAAEAAAAKAAEAAAAEAAEAAAAHQAEAAAAEAAEAAAAHQAOAAUBBQAAAA4A////////DgAGQ29tbW9uU2V0dGluZ3MXAAAAAQAEAAAADwAEAAAAGwAEAAAAIgAEAAAAGwAEAAAAEwAEAAAAGwAEAAAAEwAEAAAABwAEAAAAEwAEAAAABwAPAAEBBQAAAA8A////////EgAGQ29sdW1uU3Vtc1NldHRpbmdzFwAAAAIABAAAACEABAAAAA4AEAAEAQUAAAAQAP///////woABlNlcmllc0RhdGEXAAAAAwAEAAAACwAEAAAADQAEAAAABAAEAAAADQAEAAAABAAEAAAADQAEAAAAHgD///////8RAAIBBQAAABEA////////CgAGUGVyc29uYWxJZBcAAAAEAAQAAAAuAAQAAAAxAAQAAAApAAQAAAAqABIAAgEFAAAAEgD///////8UAAZHZW5lcmFsRXhjZWxTZXR0aW5ncxcAAAAFAAQAAAAfAAQAAAAYAAQAAAAfAAQAAAAYABMABgEFAAAAEwD///////8eAAZBenVyZUluZm9ybWF0aW9uUHJvdGVjdGlvbkRhdGEXAAAABgBBAAAABQBBAAAABABBAAAABQAEAAAAIgBBAAAABQAEAAAADgBBAAAAAQAEAAAADgAEAAAAAAAEAAAADgAEAAAAAAAEAAAABwAUAAEBBQAAABQA////////CAAGT3ZlcmxheXMXAAAABwAEAAAAJQAEAAAAFwAVAAEBBQAAABUA////////CgAGRGF0YUxhYmVscxcAAAAIAAQAAAAIAAQAAAAaABYAAgEFAAAAFgD///////8aAAZFeGNlbENvbG9yTW9kZURhdGFQcm9wZXJ0eSIAAAAAAAQAAAAsAAQAAAAnAAQAAAAIAAQAAAAnABcAAgEFAAAAFwD///////8IAAZPdmVybGF5cxcAAAAJAAQAAAAUAAQAAAApAAQAAAAJAAQAAAApABgAAgEFAAAAGAD///////8TAAZHbG9iYWxDaGFydFNldHRpbmdzFwAAAAoABAAAABIAQQAAAAIABAAAABIABAAAAAcAGQABAQUAAAAZAP///////wwABkxpbmtEYXRhTGlzdCYAAAAAAEEAAAAGAAQAAAAvABoAAQEFAAAAGgD///////8KAAZEYXRhTGFiZWxzJgAAAAEABAAAABUABAAAACwAGwADAQUAAAAbAP///////xQABkRhdGFDaGFydENvQXV0aG9yaW5nJgAAAAIABAAAAA4ABAAAAAIABAAAAA4ABAAAAAIABAAAAA4ABAAAAAIAHAABAQUAAAAcAP///////wgABkF4ZXNEYXRhJgAAAAMABAAAAAYAQQAAAAUAHQADAQUAAAAdAP///////wkABldhdGVyZmFsbCYAAAAEAAQAAAADAAQAAAAmAAQAAAANAP///////wQAAAANAP///////x4ABQEFAAAAHgD///////8kAAZQb2ludEFuZFNlcmllc01hcmtlclN0eWxlRGVmaW5pdGlvbnMmAAAABQAEAAAAKgAEAAAABAAEAAAAKgAEAAAABAAEAAAAKgAEAAAABAAEAAAAKgAEAAAAEAAEAAAABwD///////8fAAMBBQAAAB8A////////CwAGRXhjZWxNaXJyb3IxAAAAAAAEAAAAJwAEAAAAEgAEAAAAJwAEAAAAEgAEAAAACAAEAAAABwAgAAEBBQAAACAA////////HAAGQ2hhcnRTdHlsZVN0YXR1c0luZm9ybWF0aW9uczEAAAABAEEAAAAAAAQAAAAiACEAAQEFAAAAIQD///////8MAAZDb2xvckluZGljZXMxAAAAAgAEAAAAMAAEAAAADwAiAAIBBQAAACIA////////HAAGQ2hhcnRTdHlsZVN0YXR1c0luZm9ybWF0aW9uczUAAAAAAAQAAAAgAAQAAAAwAAQAAAATAAQAAAAOACMAAQEFAAAAIwD///////8nAAZQb2ludEFuZFNlcmllc0FkZGl0aW9uU3R5bGVzRGVmaW5pdGlvbnM1AAAAAQAEAAAAMQAEAAAAKgAkAAEBBQAAACQA////////CwAGTGVhZGVyTGluZXM1AAAAAgAEAAAADAAEAAAALQAlAAEBBQAAACUA////////DQAGTnVtYmVyRm9ybWF0czUAAAADAAQAAAAJAAQAAAAUACYAAQEFAAAAJgD///////8JAAZXYXRlcmZhbGw1AAAABAAEAAAAHQAEAAAAAQAnAAIBBQAAACcA////////GgAGRXhjZWxDb2xvck1vZGVEYXRhUHJvcGVydHk2AAAAAAAEAAAAFgAEAAAAHwAEAAAAFgAEAAAAHwAoAAEBBQAAACgA////////DAAGU2VyaWVzTGFiZWxzNwAAAAAABAAAAA0ABAAAACsAKQACAQUAAAApAP///////wgABk92ZXJsYXlzNwAAAAEABAAAABcABAAAAC4ABAAAABcABAAAABEAKgAEAQUAAAAqAP///////ycABlBvaW50QW5kU2VyaWVzQWRkaXRpb25TdHlsZXNEZWZpbml0aW9uczcAAAACAAQAAAAjAAQAAAAeAAQAAAARAAQAAAAeAAQAAAAHAAQAAAAeAAQAAAAHAAQAAAAeACsAAQEFAAAAKwD///////8MAAZTZXJpZXNMYWJlbHM3AAAAAwAEAAAAKAAEAAAAAwAsAAEBBQAAACwA////////CAAGRGF0YUxpbms3AAAABAAEAAAAGgAEAAAAFgAtAAEBBQAAAC0A////////CgAGTGVnZW5kRGF0YTcAAAAFAAQAAAAkAEEAAAAGAC4AAQEFAAAALgD///////8IAAZPdmVybGF5czcAAAAGAAQAAAApAAQAAAARAC8AAQEFAAAALwD///////8MAAZMaW5rRGF0YUxpc3Q3AAAABwAEAAAAGQAEAAAABwAwAAEBBQAAADAA////////EQAGQ29sb3JEYXRhUHJvcGVydHk3AAAACAAEAAAAIgAEAAAAIQAxAAEBBQAAADEA////////DgAGUGxvdEFyZWFCb3JkZXI3AAAACQAEAAAAEQAEAAAAIwAAAAAAAAAAAAAAAAAAAAAAAAAAAAAAAAAAAAAAAAAAAAAAAAAAAAAAAAAAAAAAAAAAAAAAAAAAAAAAAAAAAAAFAAAAAwAAAAD/////OgApAQAAAAAAAAAAAAAgAv///////////////wAAAP///////////////wUAAAADAP///////wUAAAADAP///////wUAAAAGAP///////wUAAAAQAP///////wUAAAAyAP///////wUAAAAyAP///////wUAAAAyAP///////////////////////////////////////////////////////////////////////////////////////////////////////////////////////////////////////////////////////////////////////////////////////////////////////////////////////////////////////////////////////////////////////////////////////////////////////////////////////////////////////////////////////////////////////////////////////////////////////////////wEAIAL///////////////8AAA7///////8FAAAAGgD///////////////////////////////////////////////////////////////////////////////////////////////////////////////////////////////////////////////////////////////////////////////////////////////////////////////////////////////////////////////////////////////////////////////////////////////////////////////////////////////////////////////////////////////////////////////////////////////////////////////////////////////////////////////////////////////////////////////////////////////////////////////////////8CAAQCSgAAAAIABAAAAAIABAACBwAAAAYAAAAAAAUAAAAuAAUAAAAUAAUAAAAcAAUAAAAUAAUAAAAcAP///////wUAAAAcAP///////wMAAgJKAAAAAwAEAAAAAwAEAAIAAAAABgAAAAEABQAAAAAABQAAAAUABQAAAAAABQAAAAYABAABAkoAAAAEAAQAAAAEAAQAAgIAAAAGAAAAAgAFAAAAOQAFAAAAIQAFAAECSgAAAAUABAAAAAUABAACAAAAAAYAAAADAAUAAAADAAUAAAAGAAYAAwJKAAAABgAEAAAABgAEAAIAAAAABgAAAAQABQAAAAUABQAAAAsABQAAAAMABQAAAA4ABQAAAAAABQAAABAABwABAkoAAAAHAAQAAAAHAAQAAgEAAAAOAAAAAAAFAAAANgAFAAAACQAIAAECSgAAAAgABAAAAAgABAACBgAAAAYAAAAFAAUAAAAcAAUAAAAuAAkAAgJKAAAACQAEAAAACQAEAAIBAAAABgAAAAYABQAAAAcABQAAAAoABQAAADIABQAAAAoACgADAkoAAAAKAAQAAAAKAAQAAgEAAAAWAAAAAAAFAAAACQAFAAAADAAFAAAACQAFAAAAFgAFAAAAMgAFAAAAIwALAAECSgAAAAsABAAAAAsABAACAAAAABYAAAABAAUAAAAGAAUAAAAOAAwAAQJKAAAADAAEAAAADAAEAAIBAAAAFgAAAAIABQAAAAoABQAAABYADQABAkoAAAANAAQAAAANAAQAAgUAAAAXAAAAAAAFAAAANwAFAAAAFwAOAAICSgAAAA4ABAAAAA4ABAACAAAAABcAAAABAAUAAAALAAUAAAAPAAUAAAAGAAUAAAAPAA8AAgJKAAAADwAEAAAADwAEAAIAAAAAFwAAAAIABQAAAA4ABQAAABAABQAAAA4ABQAAABAAEAAEAkoAAAAQAAQAAAAQAAQAAgAAAAAXAAAAAwAFAAAADwAFAAAAEQAFAAAADwAFAAAAEQAFAAAABgAFAAAAEwAFAAAAAAAFAAAAMgARAAICSgAAABEABAAAABEABAACAAAAABcAAAAEAAUAAAAQAAUAAAASAAUAAAAQAAUAAAATABIAAQJKAAAAEgAEAAAAEgAEAAIAAAAAFwAAAAUABQAAABEABQAAABMAEwADAkoAAAATAAQAAAATAAQAAgAAAAAXAAAABgAFAAAAEgAFAAAAGwAFAAAAEQAFAAAAGwAFAAAAEAAFAAAAHgAUAAICSgAAABQABAAAABQABAACBwAAABcAAAAHAAUAAAACAAUAAAAVAAUAAAACAP///////xUAAQJKAAAAFQAEAAAAFQAEAAIIAAAAFwAAAAgABQAAABQABQAAACkAFgACAkoAAAAWAAQAAAAWAAQAAgEAAAAiAAAAAAAFAAAADAAFAAAAGQAFAAAACgAFAAAAIwAXAAMCSgAAABcABAAAABcABAACBQAAABcAAAAJAAUAAAANAAUAAAAYAAUAAAAoAAUAAAAYAAUAAAAhAAUAAAAcABgAAgJKAAAAGAAEAAAAGAAEAAIFAAAAFwAAAAoABQAAABcABQAAABwABQAAABcABQAAABwAGQABAkoAAAAZAAQAAAAZAAQAAgEAAAAmAAAAAAAFAAAAFgAFAAAAHwAaAAECSgAAABoABAAAABoABAACCQAAACYAAAABAAUAAAApAAUAAAABABsAAgJKAAAAGwAEAAAAGwAEAAIAAAAAJgAAAAIABQAAABMABQAAAB0ABQAAABMABQAAAB4AHAAGAkoAAAAcAAQAAAAcAAQAAgUAAAAmAAAAAwAFAAAAGAAFAAAACAAFAAAAGAAFAAAAAgAFAAAAFwAFAAAAAgAFAAAAIwAFAAAAAgAFAAAAIwD///////8FAAAAIwD///////8dAAECSgAAAB0ABAAAAB0ABAACAAAAACYAAAAEAAUAAAAbAAUAAAAeAB4AAwJKAAAAHgAEAAAAHgAEAAIAAAAAJgAAAAUABQAAAB0ABQAAACAABQAAABsABQAAACQABQAAABMABQAAACQAHwABAkoAAAAfAAQAAAAfAAQAAgEAAAAxAAAAAAAFAAAAGQAFAAAAIgAgAAECSgAAACAABAAAACAABAACAAAAADEAAAABAAUAAAAeAAUAAAAkACEAAwJKAAAAIQAEAAAAIQAEAAICAAAAMQAAAAIABQAAAAQABQAAACUABQAAADgABQAAACUABQAAADgABQAAABcAIgABAkoAAAAiAAQAAAAiAAQAAgEAAAA1AAAAAAAFAAAAHwAFAAAAIwAjAAYCSgAAACMABAAAACMABAACAQAAADUAAAABAAUAAAAiAAUAAAAmAAUAAAAWAAUAAAAmAAUAAAAKAAUAAAA1AAUAAAAyAAUAAAAcAAUAAAAyAAUAAAAcAAUAAAAyAAUAAAAcACQAAwJKAAAAJAAEAAAAJAAEAAIAAAAANQAAAAIABQAAACAABQAAACoABQAAAB4ABQAAADEABQAAAB4ABQAAADIAJQACAkoAAAAlAAQAAAAlAAQAAgIAAAA1AAAAAwAFAAAAIQAFAAAAJwAFAAAAIQAFAAAAJwAmAAICSgAAACYABAAAACYABAACAQAAADUAAAAEAAUAAAAjAAUAAAAsAAUAAAAjAAUAAAAsACcAAgJKAAAAJwAEAAAAJwAEAAICAAAANgAAAAAABQAAACUABQAAAC0ABQAAACUABQAAACgAKAACAkoAAAAoAAQAAAAoAAQAAgQAAAA3AAAAAAAFAAAAKwAFAAAANAAFAAAAJwAFAAAAFwApAAECSgAAACkABAAAACkABAACCAAAADcAAAABAAUAAAAVAAUAAAAaACoAAQJKAAAAKgAEAAAAKgAEAAIAAAAANwAAAAIABQAAACQABQAAAC8AKwABAkoAAAArAAQAAAArAAQAAgMAAAA3AAAAAwAFAAAALQAFAAAAKAAsAAICSgAAACwABAAAACwABAACAQAAADcAAAAEAAUAAAAmAAUAAAA1AAUAAAAmAAUAAAA1AC0AAQJKAAAALQAEAAAALQAEAAICAAAANwAAAAUABQAAACcABQAAACsALgABAkoAAAAuAAQAAAAuAAQAAgYAAAA3AAAABgAFAAAACAAFAAAAAgAvAAECSgAAAC8ABAAAAC8ABAACAAAAADcAAAAHAAUAAAAqAAUAAAAwADAAAQJKAAAAMAAEAAAAMAAEAAIAAAAANwAAAAgABQAAAC8ABQAAADEAMQACAkoAAAAxAAQAAAAxAAQAAgAAAAA3AAAACQAFAAAAMAAFAAAAMgAFAAAAJAAFAAAAMgAyAAcCSwAAAAAAQQAAAAAABAACAAAAADcAAAAKAAUAAAAxAAUAAAAzAAUAAAAxAAUAAAAJAAUAAAAkAAUAAAAKAAUAAAAQAAUAAAAjAAUAAAAAAAUAAAAjAAUAAAAAAAUAAAAjAAUAAAAAAP///////zMAAQJLAAAAAQBBAAAAAQAEAAIAAAAANwAAAAsABQAAADIABQAAADYANAABAksAAAACAEEAAAACAAQAAgQAAABCAAAAAAAFAAAAKAAFAAAANwA1AAMCSwAAAAMAQQAAAAMABAACAQAAAEMAAAAAAAUAAAAsAAUAAAA4AAUAAAAsAAUAAAA4AAUAAAAjAAUAAAA4ADYAAQJLAAAABABBAAAABAAEAAIAAAAAQwAAAAEABQAAADMABQAAAAcANwABAksAAAAFAEEAAAAFAAQAAgQAAABDAAAAAgAFAAAANAAFAAAADQA4AAMCSwAAAAYAQQAAAAYABAACAQAAAEMAAAADAAUAAAA1AAUAAAA5AAUAAAA1AAUAAAAhAAUAAAA1AAUAAAAhADkAAQJLAAAABwBBAAAABwAEAAIBAAAAQwAAAAQABQAAADgABQ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AAAAT//////////wcAagYAAAAAAAAAAAAABwAAAAAAAQD/////ewB7AAAABV9pZAAQAAAABFOjTQJjj3BJqFwVCvOamYIDRGF0YQASAAAABFNlcmllcwAFAAAAAAACTmFtZQAaAAAAU2hhcGVDb25zdHJ1Y3RlZENoYXJ0RGF0YQAQVmVyc2lvbgAAAAAACUxhc3RXcml0ZQD4x041lwEAAAACAP////96AXoBAAAFX2lkABAAAAAEamS0Be8vO0aaW58rZmy79wNEYXRhAAwBAAAEUG9pbnRDb2xvcnNTdHlsZQAFAAAAAANTZXJpZXNDb2xvcnNTdHlsZQDdAAAAAzEA1QAAABBTZXJpZXNJbmRleAABAAAAA1ByaW1hcnlDb2xvclN0eWxlAKwAAAACQ29sb3JQcm9wZXJ0eVRhcmdldAAIAAAAUHJpbWFyeQADQ29sb3JPclRoZW1lQ29sb3IAcwAAABBUaGVtZUNvbG9yAAUAAAABVGludEFuZFNoYWRlAAAAAAAAAAAAEFRpbnRJbmRleAD/////EFNjaGVtZUNvbG9yAAAAAAADQ29sb3IAIQAAABBBAP8AAAAQUgDHAAAAEEcAKgAAABBCADQAAAAAAAAAAAACTmFtZQAfAAAAUG9pbnRBbmRTZXJpZXNTdHlsZURlZmluaXRpb25zABBWZXJzaW9uAAIAAAAJTGFzdFdyaXRlAGXXTjWXAQAAAAMA/////xAFEAUAAAVfaWQAEAAAAAT3gBIGJpNrR41V6TGNex7VA0RhdGEAsAQAAANHcmlkTGluZVN0eWxlc0RhdGEAlwQAAANQcmltYXJ5VmFsdWVBeGlzR3JpZExpbmVTdHlsZQAdAgAAA01ham9yVW5pdExpbmVTdHlsZQD4AAAAA0NvbG9yAFUAAAAQQQD/AAAAEFIAiQAAABBHAIkAAAAQQgCJAAAAAVNjQQAAAAAAAADwPwFTY1IAAAAAAJgC0D8BU2NHAAAAAACYAtA/AVNjQgAAAAAAmALQPwACU2NoZW1lQ29sb3JJbmRleAARAAAAcHBOb3RTY2hlbWVDb2xvcgAQVGhlbWVDb2xvckluZGV4AAAAAAABVGludEFuZFNoYWRlAAAAAAAAANA/AUxpbmVXZWlnaHQAAAAAAAAA4D8CRGFzaFN0eWxlAAoAAABMaW5lU29saWQACFZpc2libGUAAQhJc0F1dG9tYXRpYwABAANNaW5vclVuaXRMaW5lU3R5bGUA+AAAAANDb2xvcgBVAAAAEEEA/wAAABBSALwAAAAQRwC8AAAAEEIAvAAAAAFTY0EAAAAAAAAA8D8BU2NSAAAAAGClF+A/AVNjRwAAAABgpRfgPwFTY0IAAAAAYKUX4D8AAlNjaGVtZUNvbG9ySW5kZXgAEQAAAHBwTm90U2NoZW1lQ29sb3IAEFRoZW1lQ29sb3JJbmRleAAKAAAAAVRpbnRBbmRTaGFkZQAAAACgmZnZPwFMaW5lV2VpZ2h0AAAAAAAAAOA/AkRhc2hTdHlsZQAKAAAATGluZVNvbGlkAAhWaXNpYmxlAAAISXNBdXRvbWF0aWMAAAAAA1ByaW1hcnlDYXRlZ29yeUF4aXNHcmlkTGluZVN0eWxlAB0CAAADTWFqb3JVbml0TGluZVN0eWxlAPgAAAADQ29sb3IAVQAAABBBAP8AAAAQUgCJAAAAEEcAiQAAABBCAIkAAAABU2NBAAAAAAAAAPA/AVNjUgAAAAAAmALQPwFTY0cAAAAAAJgC0D8BU2NCAAAAAACYAtA/AAJTY2hlbWVDb2xvckluZGV4ABEAAABwcE5vdFNjaGVtZUNvbG9yABBUaGVtZUNvbG9ySW5kZXgAAAAAAAFUaW50QW5kU2hhZGUAAAAAAAAA0D8BTGluZVdlaWdodAAAAAAAAADgPwJEYXNoU3R5bGUACgAAAExpbmVTb2xpZAAIVmlzaWJsZQABCElzQXV0b21hdGljAAAAA01pbm9yVW5pdExpbmVTdHlsZQD4AAAAA0NvbG9yAFUAAAAQQQD/AAAAEFIAvAAAABBHALwAAAAQQgC8AAAAAVNjQQAAAAAAAADwPwFTY1IAAAAAYKUX4D8BU2NHAAAAAGClF+A/AVNjQgAAAABgpRfgPwACU2NoZW1lQ29sb3JJbmRleAARAAAAcHBOb3RTY2hlbWVDb2xvcgAQVGhlbWVDb2xvckluZGV4AAoAAAABVGludEFuZFNoYWRlAAAAAKCZmdk/AUxpbmVXZWlnaHQAAAAAAAAA4D8CRGFzaFN0eWxlAAoAAABMaW5lU29saWQACFZpc2libGUAAAhJc0F1dG9tYXRpYwAAAAAIU2hvd0dyaWRsaW5lc0RlZmF1bHQAAAAAAk5hbWUAEQAAAEdyaWRsaW5lU2V0dGluZ3MAEFZlcnNpb24AAAAAAAlMYXN0V3JpdGUAT9dONZcBAAAABAD/////mQCZAAAABV9pZAAQAAAABMSekA24cLlBn7cPZ54OrpMDRGF0YQAvAAAACElzQWN0aXZlAAAEVW5icmVha2FibGVTZXJpZXNJbmRpY2VzAAUAAAAAAAJOYW1lABsAAABBdXRvbWF0aWNCcmVha1NldHRpbmdzRGF0YQAQVmVyc2lvbgAAAAAACUxhc3RXcml0ZQCh29nScAEAAAAFAA8AAAAAAAYA/////6cBpwEAAAVfaWQAEAAAAAQR4BsXP0IcTokRQ94PuAZQA0RhdGEASgEAAANOdW1iZXJGb3JtYXRWYWx1ZVN0cmluZ3MAKwEAAAJOdW1iZXJGb3JtYXRJZFByaW1hcnkAJQAAADAwMDAwMDAwLTAwMDAtMDAwMC0wMDAwLTAwMDAwMDAwMDAwMAACUGVyY2VudEZvcm1hdElkUHJpbWFyeQAOAAAAWyQtNDA3XSMsIyMwJQACTnVtYmVyRm9ybWF0SWRTZWNvbmRhcnkAJQAAADAwMDAwMDAwLTAwMDAtMDAwMC0wMDAwLTAwMDAwMDAwMDAwMAACTnVtYmVyRm9ybWF0SWRQcmltYXJ5Q2F0ZWdvcnkAJQAAADAwMDAwMDAwLTAwMDAtMDAwMC0wMDAwLTAwMDAwMDAwMDAwMAACUGVyY2VudEZvcm1hdElkUHJpbWFyeUNhdGVnb3J5AA4AAABbJC00MDddIywjIzAlAAAAAk5hbWUADgAAAE51bWJlckZvcm1hdHMAEFZlcnNpb24AAQAAAAlMYXN0V3JpdGUAly5Q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F/////wgAAADnDwAAAAAAAAAAAADoXwAABV9pZAAQAAAABPwo2QCA4CZJqYWO9bQHnDYDRGF0YQCOXwAAA0RhdGFMYWJlbHNQZXJBeGlzAFdfAAADUHJpbWFyeQAYXQAABERhdGFMYWJlbHMA91oAAAMwAD4WAAAQUG9pbnRJbmRleAABAAAAAkFsaWdubWVudAAHAAAAQ2VudGVyABBTZXJpZXNJbmRleAABAAAACFJlcXVpcmVGb250Q29sb3JNaWdyYXRpb24AAAhNYW51YWxEYXRhTGFiZWxCYWNrZ3JvdW5kVmlzaWJsZQAACEhhc1dpc2hDb2xvcgAAA1RleHRCb3gAvgYAAAVNYW5hZ2VkSWQAEAAAAARIf1pojEw6Qazf0GzmMqeo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QAAADcxICUAAlRleHRIb3Jpem9udGFsQWxpZ25tZW50ABAAAABtc29BbmNob3JDZW50ZXI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lQAhGb250U3RyaWtldGhyb3VnaAAACEZvbnRTdWJzY3JpcHQAAAhGb250U3VwZXJzY3JpcHQAAAhGb250VW5kZXJsaW5lAAAACFNpemVUb1RleHRXaWR0aAABCFNpemVUb1RleHRIZWlnaHQAAQNUZXh0TWFyZ2luAD8AAAABTGVmdAAAAADAWq32PwFUb3AAAAAAoEgk4j8BUmlnaHQAAAAAwFqt9j8BQm90dG9tAAAAAKBIJOI/AAJEaXNwbGF5VGV4dAAFAAAANzEgJQABSGVpZ2h0AAAAAABc0itAAVdpZHRoAAAAAMAz3jpAAVRvcAAAAABgrtYaQAFMZWZ0AAAAAIBwWGR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IBk9ydAAANMZWFkZXJMaW5lAOEGAAADU3RhcnQAGwAAAAFYAAAAAAAAAAAAAVkAAAAAAAAAAAAAA0VuZAAbAAAAAVgAAAAAAAAAAAABWQAAAAAAAAAAAAACU3RhcnRBcnJvd0hlYWQAEQAAAG1zb0Fycm93aGVhZE5vbmUAAkVuZEFycm93SGVhZAARAAAAbXNvQXJyb3doZWFkTm9uZQAFTWFuYWdlZElkABAAAAAEVKaDLtZ5FU2qDAA3E/eJy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BSPCvIRgyRFh6ph5P9MYa8ISGFzQ2hhbmdlcwABCFVzZU5hbWVJbnN0ZWFkT2ZUYWdBc0lkAAEIU2hhcGVQcmV2aW91c2x5Q3JlYXRlZAAAA0ZpbGxDb2xvcgBVAAAAEEEAAAAAABBSAAAAAAAQRwAAAAAAEEIAAAAAAAFTY0EAAAAAAAAA8L8BU2NSAAAAAAAAAPC/AVNjRwAIAAAABQcAAAAJAAAA5w8AAAAAAAAAAAA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BAAAAAEEcAQAAAABBCAEAAAAABU2NBAAAAAAAAAPA/AVNjUgAAAACA/T+qPwFTY0cAAAAAgP0/qj8BU2NCAAAAAID9P6o/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vFMGZkABWQAAAABwCWcpQAAISGFzTGVhZGVyTGluZQAACElzQ2VudGVyQXV0b21hdGljQWRqdXN0ZWQAAAhJc1VzZXJQb3NpdGlvbgAACEFkZFByZWZpeFNwYWNlAAAIQWRkUG9zdGZpeFNwYWNlAAECUG9zdGZpeAACAAAAJQACU2VwYXJhdG9yAAIAAAAKAAJUZXh0AAMAAAA3MQAIUmVxdWlyZVJlbGF0aXZlUG9zaXRpb25VcGdyYWRlAAEISXNHZW9tZXRyeU91dE9mQm91bmRzAAAISXNMZWFkZXJMaW5lSW5BdXRvTW9kZQABCERlbGV0ZWQAAAADMQA2FwAAEFBvaW50SW5kZXgAAgAAAAJBbGlnbm1lbnQABwAAAENlbnRlcgAQU2VyaWVzSW5kZXgAAQAAAAhSZXF1aXJlRm9udENvbG9yTWlncmF0aW9uAAAITWFudWFsRGF0YUxhYmVsQmFja2dyb3VuZFZpc2libGUAAAhIYXNXaXNoQ29sb3IAAANUZXh0Qm94ALwGAAAFTWFuYWdlZElkABAAAAAEQEZ0/d9AOkiGTQac/LrwjwhIYXNDaGFuZ2VzAAAIVXNlTmFtZUluc3RlYWRPZlRhZ0FzSWQAAQhTaGFwZVByZXZpb3VzbHlDcmVhdGVkAAEDRmlsbENvbG9yAFUAAAAQQQD/AAAAEFIA+wAAABBHALoAAAAQQgC5AAAAAVNjQQAAAAAAAADwPwFTY1IAAAAAwLXe7j8BU2NHAAAAAODibN8/AVNjQgAAAABgsgzf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QAAAA2ICUAAlRleHRIb3Jpem9udGFsQWxpZ25tZW50ABAAAABtc29BbmNob3JDZW50ZXI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lQAhGb250U3RyaWtldGhyb3VnaAAACEZvbnRTdWJzY3JpcHQAAAhGb250U3VwZXJzY3JpcHQAAAhGb250VW5kZXJsaW5lAAAACFNpemVUb1RleHRXaWR0aAABCFNpemVUb1RleHRIZWlnaHQAAQNUZXh0TWFyZ2luAD8AAAABTGVmdAAAAADAWq32PwFUb3AAAAAAoEgk4j8BUmlnaHQAAAAAwFqt9j8BQm90dG9tAAAAAKBIJOI/AAJEaXNwbGF5VGV4dAAEAAAANiAlAAFIZWlnaHQAAAAAAFzSK0ABV2lkdGgAAAAAoCkHNUABVG9wAAAAAKCfK0FAAUxlZnQAAAAAAEOOX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gGT3J0AAA0xlYWRlckxpbmUA4QYAAANTdGFydAAbAAAAAVgAAAAAAPmwWkABWQAAAAAg66VEQAADRW5kABsAAAABWAAAAAAAQ85cQAFZAAAAACDrpURAAAJTdGFydEFycm93SGVhZAARAAAAbXNvQXJyb3doZWFkTm9uZQACRW5kQXJyb3dIZWFkABEAAABtc29BcnJvd2hlYWROb25lAAVNYW5hZ2VkSWQAEAAAAASZNggbEBbaQb7vB34gXhdp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CQAAAAUIAAAACgAAAOcPAAAAAAAA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BQ6iBAAVRvcAAAAAAg66VEQAFMZWZ0AAAAAAD5sFp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Q45dQAFZAAAAACDrpURAAANFbmQAGwAAAAFYAAAAAABDzlxAAVkAAAAAIOulREAAAlN0YXJ0QXJyb3dIZWFkABEAAABtc29BcnJvd2hlYWROb25lAAJFbmRBcnJvd0hlYWQAEQAAAG1zb0Fycm93aGVhZE5vbmUABU1hbmFnZWRJZAAQAAAABHMoiVIOHepFmGHWyQ+zal4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IQAFUb3AAAAAAIOulREABTGVmdAAAAAAAQ85cQAhGbGlwSG9yaXpvbnRhbGx5AAE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AalBdgQAFZAAAAADCMKkRAAAhIYXNMZWFkZXJMaW5lAAAISXNDZW50ZXJBdXRvbWF0aWNBZGp1c3RlZAAACElzVXNlclBvc2l0aW9uAAEDQ3VzdG9tTGFiZWxQb3NpdGlvbgDmAAAAAU9mZnNldDEAKHRtl1DqJkABT2Zmc2V0MgAwdwKZeryTPwNMYWJlbE9mZnNldFR5cGVzAEkAAAACT2Zmc2V0VHlwZTEAEQAAAEFic29sdXRlRGlzdGFuY2UAAk9mZnNldFR5cGUyABEAAABSZWxhdGl2ZURpc3RhbmNlAAADQW5jaG9yUG9zaXRpb25zAFMAAAACTGFiZWxBbmNob3JQb3NpdGlvbgALAAAATGVmdENlbnRlcgACQ2hhcnRQb2ludEFuY2hvclBvc2l0aW9uAAwAAABSaWdodENlbnRlcgAAAAhBZGRQcmVmaXhTcGFjZQAACEFkZFBvc3RmaXhTcGFjZQABAlBvc3RmaXgAAgAAACUAAlNlcGFyYXRvcgACAAAACgACVGV4dAACAAAANgAIUmVxdWlyZVJlbGF0aXZlUG9zaXRpb25VcGdyYWRlAAEISXNHZW9tZXRyeU91dE9mQm91bmRzAAAISXNMZWFkZXJMaW5lSW5BdXRvTW9kZQABCERlbGV0ZWQAAAADMgA+FgAAEFBvaW50SW5kZXgAAwAAAAJBbGlnbm1lbnQABwAAAENlbnRlcgAQU2VyaWVzSW5kZXgAAQAAAAhSZXF1aXJlRm9udENvbG9yTWlncmF0aW9uAAAITWFudWFsRGF0YUxhYmVsQmFja2dyb3VuZFZpc2libGUAAAhIYXNXaXNoQ29sb3IAAANUZXh0Qm94AL4GAAAFTWFuYWdlZElkABAAAAAEO7iBx2vYn0CTQHxwN1c06w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oAAAAFCQAAAAsAAADnDwAAAAAAAAAAAAAAAAAAAAFTY0cAAAAAAAAAAAABU2NCAAAAAAAAAAAAABBQYXR0ZXJuVGhlbWVDb2xvcgAAAAAAAVBhdHRlcm5UaW50QW5kU2hhZGUAAAAAAAAAAAAIRmlsbFZpc2libGUAAQhWaXNpYmxlAAECRmlsbFBhdHRlcm4AEAAAAG1zb1BhdHRlcm5NaXhlZAACVGV4dAAFAAAAMTkg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VACEZvbnRTdHJpa2V0aHJvdWdoAAAIRm9udFN1YnNjcmlwdAAACEZvbnRTdXBlcnNjcmlwdAAACEZvbnRVbmRlcmxpbmUAAAAIU2l6ZVRvVGV4dFdpZHRoAAEIU2l6ZVRvVGV4dEhlaWdodAABA1RleHRNYXJnaW4APwAAAAFMZWZ0AAAAAMBarfY/AVRvcAAAAACgSCTiPwFSaWdodAAAAADAWq32PwFCb3R0b20AAAAAoEgk4j8AAkRpc3BsYXlUZXh0AAUAAAAxOSAlAAFIZWlnaHQAAAAAAFzSK0ABV2lkdGgAAAAAwDPeOkABVG9wAAAAAKBdr05AAUxlZnQAAAAA4GlkW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gGT3J0AAA0xlYWRlckxpbmUA4QYAAANTdGFydAAbAAAAAVgAAAAAYMH+Y0ABWQAAAAAYcMZWQAADRW5kABsAAAABWAAAAAAgKv1lQAFZAAAAABhwxlZAAAJTdGFydEFycm93SGVhZAARAAAAbXNvQXJyb3doZWFkTm9uZQACRW5kQXJyb3dIZWFkABEAAABtc29BcnJvd2hlYWROb25lAAVNYW5hZ2VkSWQAEAAAAAQ1qiRXlkZKRKmGwuI4Yw2u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IzmL0ABVG9wAAAAACBwxlZAAUxlZnQAAAAAYMH+Y0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CAqXWZAAVkAAAAAGHDGVkAAA0VuZAAbAAAAAVgAAAAAICr9ZUABWQAAAAAYcMZWQAACU3RhcnRBcnJvd0hlYWQAEQAAAG1zb0Fycm93aGVhZE5vbmUAAkVuZEFycm93SGVhZAARAAAAbXNvQXJyb3doZWFkTm9uZQAFTWFuYWdlZElkABAAAAAEnMmyBQJA2E2Mz3TNRptv8Q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8LAAAABQoAAAAMAAAA5w8AAAAAAAAAAAAA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IQAFUb3AAAAAAIHDGVkABTGVmdAAAAAAgKv1lQAhGbGlwSG9yaXpvbnRhbGx5AAEIRmxpcEhvcml6b250YWxseUFwcGxpZWQAAAhGbGlwVmVydGljYWxseQAACEZsaXBWZXJ0aWNhbGx5QXBwbGllZAAAAVJvdGF0aW9uAAAAAAAAAAAAAVpPcmRlcgAAAAAAAAAAAANCb3JkZXJDb2xvcgBVAAAAEEEA/wAAABBSAEAAAAAQRwBAAAAAEEIAQAAAAAFTY0EAAAAAAAAA8D8BU2NSAAAAAMD9P6o/AVNjRwAAAADA/T+qPwFTY0IAAAAAwP0/qj8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BYMMBcQAFZAAAAABgl11BAAAhIYXNMZWFkZXJMaW5lAAAISXNDZW50ZXJBdXRvbWF0aWNBZGp1c3RlZAAACElzVXNlclBvc2l0aW9uAAAIQWRkUHJlZml4U3BhY2UAAAhBZGRQb3N0Zml4U3BhY2UAAQJQb3N0Zml4AAIAAAAlAAJTZXBhcmF0b3IAAgAAAAoAAlRleHQAAwAAADE5AAhSZXF1aXJlUmVsYXRpdmVQb3NpdGlvblVwZ3JhZGUAAQhJc0dlb21ldHJ5T3V0T2ZCb3VuZHMAAAhJc0xlYWRlckxpbmVJbkF1dG9Nb2RlAAEIRGVsZXRlZAAAAAMzADQXAAAQUG9pbnRJbmRleAAEAAAAAkFsaWdubWVudAAHAAAAQ2VudGVyABBTZXJpZXNJbmRleAABAAAACFJlcXVpcmVGb250Q29sb3JNaWdyYXRpb24AAAhNYW51YWxEYXRhTGFiZWxCYWNrZ3JvdW5kVmlzaWJsZQAACEhhc1dpc2hDb2xvcgAAA1RleHRCb3gAugYAAAVNYW5hZ2VkSWQAEAAAAATWc8e5IvWhQKu/Z67hcqC7CEhhc0NoYW5nZXMAAAhVc2VOYW1lSW5zdGVhZE9mVGFnQXNJZAABCFNoYXBlUHJldmlvdXNseUNyZWF0ZWQAAQNGaWxsQ29sb3IAVQAAABBBAP8AAAAQUgD7AAAAEEcAugAAABBCALkAAAABU2NBAAAAAAAAAPA/AVNjUgAAAADAtd7uPwFTY0cAAAAA4OJs3z8BU2NCAAAAAGCyDN8/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AAAADQgJQ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lQAhGb250U3RyaWtldGhyb3VnaAAACEZvbnRTdWJzY3JpcHQAAAhGb250U3VwZXJzY3JpcHQAAAhGb250VW5kZXJsaW5lAAAACFNpemVUb1RleHRXaWR0aAABCFNpemVUb1RleHRIZWlnaHQAAQNUZXh0TWFyZ2luAD8AAAABTGVmdAAAAADAWq32PwFUb3AAAAAAoEgk4j8BUmlnaHQAAAAAwFqt9j8BQm90dG9tAAAAAKBIJOI/AAJEaXNwbGF5VGV4dAAEAAAANCAlAAFIZWlnaHQAAAAAAFzSK0ABV2lkdGgAAAAAoCkHNUABVG9wAAAAACDQLFZAAUxlZnQAAAAAQKJ5W0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gGT3J0AAA0xlYWRlckxpbmUA4QYAAANTdGFydAAbAAAAAVgAAAAAQLSDWUABWQAAAADg9elXQAADRW5kABsAAAABWAAAAABAorlaQAFZAAAAAOD16VdAAAJTdGFydEFycm93SGVhZAARAAAAbXNvQXJyb3doZWFkTm9uZQACRW5kQXJyb3dIZWFkABEAAABtc29BcnJvd2hlYWROb25lAAVNYW5hZ2VkSWQAEAAAAARGXiZev9fbRr1VI/ZSBtkW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DAAAAAULAAAADQAAAOcPAAAAAAAAAAAAAGlkdGgAAAhTaXplVG9UZXh0SGVpZ2h0AAADVGV4dE1hcmdpbgA/AAAAAUxlZnQAAAAAAAAAAAABVG9wAAAAAAAAAAAAAVJpZ2h0AAAAAAAAAAAAAUJvdHRvbQAAAAAAAAAAAAABSGVpZ2h0AAAAAAAAAAAAAVdpZHRoAAAAAADgXhNAAVRvcAAAAADg9elXQAFMZWZ0AAAAAEC0g1l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BAonlbQAFZAAAAAOD16VdAAANFbmQAGwAAAAFYAAAAAECiuVpAAVkAAAAA4PXpV0AAAlN0YXJ0QXJyb3dIZWFkABEAAABtc29BcnJvd2hlYWROb25lAAJFbmRBcnJvd0hlYWQAEQAAAG1zb0Fycm93aGVhZE5vbmUABU1hbmFnZWRJZAAQAAAABH2lWNLSOSdBgsojMvbNRts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IQAFUb3AAAAAA4PXpV0ABTGVmdAAAAABAorlaQAhGbGlwSG9yaXpvbnRhbGx5AAE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B0hxpeQAFZAAAAAGhGrFdAAAhIYXNMZWFkZXJMaW5lAAAISXNDZW50ZXJBdXRvbWF0aWNBZGp1c3RlZAAACElzVXNlclBvc2l0aW9uAAEDQ3VzdG9tTGFiZWxQb3NpdGlvbgDmAAAAAU9mZnNldDEA4BwqE99eH0ABT2Zmc2V0MgBvXi1mXQeCPgNMYWJlbE9mZnNldFR5cGVzAEkAAAACT2Zmc2V0VHlwZTEAEQAAAEFic29sdXRlRGlzdGFuY2UAAk9mZnNldFR5cGUyABEAAABSZWxhdGl2ZURpc3RhbmNlAAADQW5jaG9yUG9zaXRpb25zAFMAAAACTGFiZWxBbmNob3JQb3NpdGlvbgALAAAATGVmdENlbnRlcgACQ2hhcnRQb2ludEFuY2hvclBvc2l0aW9uAAwAAABSaWdodENlbnRlcgAAAAhBZGRQcmVmaXhTcGFjZQAACEFkZFBvc3RmaXhTcGFjZQABAlBvc3RmaXgAAgAAACUAAlNlcGFyYXRvcgACAAAACgACVGV4dAACAAAANAAIUmVxdWlyZVJlbGF0aXZlUG9zaXRpb25VcGdyYWRlAAAISXNHZW9tZXRyeU91dE9mQm91bmRzAAAISXNMZWFkZXJMaW5lSW5BdXRvTW9kZQABCERlbGV0ZWQ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xhYmVsc1Zpc2libGUAAQhBdXRvbWF0aWNMYWJlbEJhY2tncm91bmRzRW5hYmxlZAABAANTZWNvbmRhcnkAJgIAAAREYXRhTGFiZWxzAAU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xhYmVsc1Zpc2libA0AAAAFDAAAAP////9+AGkPAAAAAAAAAABlAAAIQXV0b21hdGljTGFiZWxCYWNrZ3JvdW5kc0VuYWJsZWQAAQAACERpc2FibGVBdXRvbWF0aWNEZWFjdGl2YXRpb24AAAACTmFtZQALAAAARGF0YUxhYmVscwAQVmVyc2lvbgAHAAAACUxhc3RXcml0ZQC0LlA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OAAAABP//////////AQAdBQAAAAAAAAAAAAD/////wgrCCgAABV9pZAAQAAAABOf3ABSNFvNGmyntbfUTWyADRGF0YQBnCgAAA1Nlcmllc1N0eWxlcwBoAQAAAzEAYAEAAAJTdHlsZQASAAAAeGxNYXJrZXJTdHlsZU5vbmUAEFNpemUACAAAAANDb2xvcgBVAAAAEEEA/wAAABBSAPsAAAAQRwC6AAAAEEIAuQAAAAFTY0EAAAAAAAAA8D8BU2NSAAAAAMC13u4/AVNjRwAAAADg4mzfPwFTY0IAAAAAYLIM3z8AAVRpbnQAAAAAAAAAAAADVGhlbWVDb2xvclBvc2l0aW9uALYAAAACX3R5cGUAUQAAAGVtcG93ZXIuQ2hhcnRzLkNvbW1vbi5Db2xvclRyYW5zbGF0aW9uLlRoZW1lQ29sb3JQb3NpdGlvbiwgZW1wb3dlci5DaGFydHMuQ29tbW9uABBUaGVtZUNvbG9yU2NoZW1lSW5kZXgA/////wJJbmRleAAHAAAATm9UaW50AAhJc0RlZmF1bHRDb2xvcgAAEERlZmF1bHRDb2xvckluZGV4AP////8AAAAEUG9pbnRTdHlsZXMApwgAAAMwALcBAAADUG9pbnRBZGRyZXNzADMAAAAQU2VyaWVzSW5kZXgAAQAAABBQb2ludEluZGV4AAEAAAAISXNQb2ludFN1bQAAAANNYXJrZXJTdHlsZURhdGEAYAEAAAJTdHlsZQASAAAAeGxNYXJrZXJTdHlsZU5vbmUAEFNpemUACAAAAANDb2xvcgBVAAAAEEEA/wAAABBSAPsAAAAQRwC6AAAAEEIAuQAAAAFTY0EAAAAAAAAA8D8BU2NSAAAAAMC13u4/AVNjRwAAAADg4mzfPwFTY0IAAAAAYLIM3z8AAVRpbnQAAAAAAAAAAAADVGhlbWVDb2xvclBvc2l0aW9uALYAAAACX3R5cGUAUQAAAGVtcG93ZXIuQ2hhcnRzLkNvbW1vbi5Db2xvclRyYW5zbGF0aW9uLlRoZW1lQ29sb3JQb3NpdGlvbiwgZW1wb3dlci5DaGFydHMuQ29tbW9uABBUaGVtZUNvbG9yU2NoZW1lSW5kZXgA/////wJJbmRleAAHAAAATm9UaW50AAhJc0RlZmF1bHRDb2xvcgAAEERlZmF1bHRDb2xvckluZGV4AP////8AAAADMQC3AQAAA1BvaW50QWRkcmVzcwAzAAAAEFNlcmllc0luZGV4AAEAAAAQUG9pbnRJbmRleAACAAAACElzUG9pbnRTdW0AAAADTWFya2VyU3R5bGVEYXRhAGABAAACU3R5bGUAEgAAAHhsTWFya2VyU3R5bGVOb25lABBTaXplAAgAAAADQ29sb3IAVQAAABBBAP8AAAAQUgD7AAAAEEcAugAAABBCALkAAAABU2NBAAAAAAAAAPA/AVNjUgAAAADAtd7uPwFTY0cAAAAA4OJs3z8BU2NCAAAAAGCyDN8/AAFUaW50AAAAAAAAAAAAA1RoZW1lQ29sb3JQb3NpdGlvbgC2AAAAAl90eXBlAFEAAABlbXBvd2VyLkNoYXJ0cy5Db21tb24uQ29sb3JUcmFuc2xhdGlvbi5UaGVtZUNvbG9yUG9zaXRpb24sIGVtcG93ZXIuQ2hhcnRzLkNvbW1vbgAQVGhlbWVDb2xvclNjaGVtZUluZGV4AP////8CSW5kZXgABwAAAE5vVGludAAISXNEZWZhdWx0Q29sb3IAABBEZWZhdWx0Q29sb3JJbmRleAD/////AAAAAzIAtwEAAANQb2ludEFkZHJlc3MAMwAAABBTZXJpZXNJbmRleAABAAAAEFBvaW50SW5kZXgAAwAAAAhJc1BvaW50U3VtAAAAA01hcmtlclN0eWxlRGF0YQBgAQAAAlN0eWxlABIAAAB4bE1hcmtlclN0eWxlTm9uZQAQU2l6ZQAIAAAAA0NvbG9yAFUAAAAQQQD/AAAAEFIA+wAAABBHALoAAAAQQgC5AAAAAVNjQQAAAAAAAADwPwFTY1IAAAAAwLXe7j8BU2NHAAAAAODibN8/AVNjQgAAAABgsgzfPwABVGludAAAAAAAAAAAAANUaGVtZUNvbG9yUG9zaXRpb24AtgAAAAJfdHlwZQBRAAAAZW1wb3dlci5DaGFydHMuQ29tbW9uLkNvbG9yVHJhbnNsYXRpb24uVGhlbWVDb2xvclBvc2l0aW9uLCBlbXBvd2VyLkNoYXJ0cy5Db21tb24AEFRoZW1lQ29sb3JTY2hlbWVJbmRleAD/////AkluZGV4AAcAAABOb1RpbnQACElzRGVmYXVsdENvbG9yAAAQRGVmYXVsdENvbG9ySW5kZXgA/////wAAAAMzALcBAAADUG9pbnRBZGRyZXNzADMAAAAQU2VyaWVzSW5kZXgAAQAAABBQb2ludEluZGV4AAQAAAAISXNQb2ludFN1bQAAAANNYXJrZXJTdHlsZURhdGEAYAEAAAJTdHlsZQASAAAAeGxNYXJrZXJTdHlsZU5vbmUAEFNpemUACAAAAANDb2xvcgBVAAAAEEEA/wAAABBSAPsAAAAQRwC6AAAAEEIAuQAAAAFTY0EAAAAAAAAA8D8BU2NSAAAAAMC13u4/AVNjRwAAAADg4mzfPwFTY0IAAAAAYLIM3z8AAVRpbnQAAAAAAAAAAAADVGhlbWVDb2xvclBvc2l0aW9uALYAAAACX3R5cGUAUQAAAGVtcG93ZXIuQ2hhcnRzLkNvbW1vbi5Db2xvclRyYW5zbGF0aW9uLlRoZW1lQ29sb3JQb3NpdGlvbiwgZW1wb3dlci5DaGFydHMuQ29tbW9uABBUaGVtZUNvbG9yU2NoZW1lSW5kZXgA/////wJJbmRleAAHAAAATm9UaW50AAhJc0RlZmF1bHRDb2xvcgAAEERlZmF1bHRDb2xvckluZGV4AP////8AAAADNAC3AQAAA1BvaW50QWRkcmVzcwAzAAAAEFNlcmllc0luZGV4AAEAAAAQUG9pbnRJbmRleAAFAAAACElzUG9pbnRTdW0AAAADTWFya2VyU3R5bGVEYXRhAGABAAACU3R5bGUAEgAAAHhsTWFya2VyU3R5bGVOb25lABBTaXplAAgAAAADQ29sb3IAVQAAABBBAP8AAAAQUgD7AAAAEEcAugAAABBCALkAAAABU2NBAAAAAAAAAPA/AVNjUgAAAADAtd7uPwFTY0cAAAAA4OJs3z8BU2NCAAAAAGCyDN8/AAFUaW50AAAAAAAAAAAAA1RoZW1lQ29sb3JQb3NpdGlvbgC2AAAAAl90eXBlAFEAAABlbXBvd2VyLkNoYXJ0cy5Db21tb24uQ29sb3JUcmFuc2xhdGlvbi5UaGVtZUNvbG9yUG9zaXRpb24sIGVtcG93ZXIuQ2hhcnRzLkNvbW1vbgAQVGhlbWVDb2xvclNjaGVtZUluZGV4AP////8CSW5kZXgABwAAAE5vVGludAAISXNEZWZhdWx0Q29sb3IAABBEZWZhdWx0Q29sb3JJbmRleAD/////AAAAAAhTdXBwcmVzc01hcmtlcnMAAAhSZXF1aXJlTWFudWFsVXBncmFkZU9uRmlyc3RUaW1lUmVhZAAAAAJOYW1lAAwAAABNYXJrZXJzRGF0YQAQVmVyc2lvbgABAAAACUxhc3RXcml0ZQDKAGngh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wAAAAX/////EAAAAOcPAAAAAAAAAAAAAOhfAAAFX2lkABAAAAAE5E7kFVUfakaudxmfMGYI7gNEYXRhAI5fAAADRGF0YUxhYmVsc1BlckF4aXMAV18AAANQcmltYXJ5ABhdAAAERGF0YUxhYmVscwD3WgAAAzAAPhYAABBQb2ludEluZGV4AAEAAAACQWxpZ25tZW50AAcAAABDZW50ZXIAEFNlcmllc0luZGV4AAEAAAAIUmVxdWlyZUZvbnRDb2xvck1pZ3JhdGlvbgAACE1hbnVhbERhdGFMYWJlbEJhY2tncm91bmRWaXNpYmxlAAAISGFzV2lzaENvbG9yAAADVGV4dEJveAC+BgAABU1hbmFnZWRJZAAQAAAABEh/WmiMTDpBrN/QbOYyp6g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FAAAANzEg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VACEZvbnRTdHJpa2V0aHJvdWdoAAAIRm9udFN1YnNjcmlwdAAACEZvbnRTdXBlcnNjcmlwdAAACEZvbnRVbmRlcmxpbmUAAAAIU2l6ZVRvVGV4dFdpZHRoAAEIU2l6ZVRvVGV4dEhlaWdodAABA1RleHRNYXJnaW4APwAAAAFMZWZ0AAAAAMBarfY/AVRvcAAAAACgSCTiPwFSaWdodAAAAADAWq32PwFCb3R0b20AAAAAoEgk4j8AAkRpc3BsYXlUZXh0AAUAAAA3MSAlAAFIZWlnaHQAAAAAAFzSK0ABV2lkdGgAAAAAwDPeOkABVG9wAAAAAGCu1hpAAUxlZnQAAAAAgHBYZ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gGT3J0AAA0xlYWRlckxpbmUA4QYAAANTdGFydAAbAAAAAVgAAAAAAAAAAAABWQAAAAAAAAAAAAADRW5kABsAAAABWAAAAAAAAAAAAAFZAAAAAAAAAAAAAAJTdGFydEFycm93SGVhZAARAAAAbXNvQXJyb3doZWFkTm9uZQACRW5kQXJyb3dIZWFkABEAAABtc29BcnJvd2hlYWROb25lAAVNYW5hZ2VkSWQAEAAAAARUpoMu1nkVTaoMADcT94nJ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AAAAAAAVkAAAAAAAAAAAAAA0VuZAAbAAAAAVgAAAAAAAAAAAABWQAAAAAAAAAAAAACU3RhcnRBcnJvd0hlYWQAEQAAAG1zb0Fycm93aGVhZE5vbmUAAkVuZEFycm93SGVhZAARAAAAbXNvQXJyb3doZWFkTm9uZQAFTWFuYWdlZElkABAAAAAEFI8K8hGDJEWHqmHk/0xhrwhIYXNDaGFuZ2VzAAEIVXNlTmFtZUluc3RlYWRPZlRhZ0FzSWQAAQhTaGFwZVByZXZpb3VzbHlDcmVhdGVkAAADRmlsbENvbG9yAFUAAAAQQQAAAAAAEFIAAAAAABBHAAAAAAAQQgAAAAAAAVNjQQAAAAAAAADwvwFTY1IAAAAAAAAA8L8BU2NHABAAAAAFDwAAABEAAADnDwAAAAAAAAAAAA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EAAAAAQRwBAAAAAEEIAQAAAAAFTY0EAAAAAAAAA8D8BU2NSAAAAAID9P6o/AVNjRwAAAACA/T+qPwFTY0IAAAAAgP0/qj8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C8UwZmQAFZAAAAAHAJZylAAAhIYXNMZWFkZXJMaW5lAAAISXNDZW50ZXJBdXRvbWF0aWNBZGp1c3RlZAAACElzVXNlclBvc2l0aW9uAAAIQWRkUHJlZml4U3BhY2UAAAhBZGRQb3N0Zml4U3BhY2UAAQJQb3N0Zml4AAIAAAAlAAJTZXBhcmF0b3IAAgAAAAoAAlRleHQAAwAAADcxAAhSZXF1aXJlUmVsYXRpdmVQb3NpdGlvblVwZ3JhZGUAAQhJc0dlb21ldHJ5T3V0T2ZCb3VuZHMAAAhJc0xlYWRlckxpbmVJbkF1dG9Nb2RlAAEIRGVsZXRlZAAAAAMxADYXAAAQUG9pbnRJbmRleAACAAAAAkFsaWdubWVudAAHAAAAQ2VudGVyABBTZXJpZXNJbmRleAABAAAACFJlcXVpcmVGb250Q29sb3JNaWdyYXRpb24AAAhNYW51YWxEYXRhTGFiZWxCYWNrZ3JvdW5kVmlzaWJsZQAACEhhc1dpc2hDb2xvcgAAA1RleHRCb3gAvAYAAAVNYW5hZ2VkSWQAEAAAAARARnT930A6SIZNBpz8uvCPCEhhc0NoYW5nZXMAAAhVc2VOYW1lSW5zdGVhZE9mVGFnQXNJZAABCFNoYXBlUHJldmlvdXNseUNyZWF0ZWQAAQNGaWxsQ29sb3IAVQAAABBBAP8AAAAQUgD7AAAAEEcAugAAABBCALkAAAABU2NBAAAAAAAAAPA/AVNjUgAAAADAtd7uPwFTY0cAAAAA4OJs3z8BU2NCAAAAAGCyDN8/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AAAADYgJQACVGV4dEhvcml6b250YWxBbGlnbm1lbnQAEAAAAG1zb0FuY2hvckNlbnRlcg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VACEZvbnRTdHJpa2V0aHJvdWdoAAAIRm9udFN1YnNjcmlwdAAACEZvbnRTdXBlcnNjcmlwdAAACEZvbnRVbmRlcmxpbmUAAAAIU2l6ZVRvVGV4dFdpZHRoAAEIU2l6ZVRvVGV4dEhlaWdodAABA1RleHRNYXJnaW4APwAAAAFMZWZ0AAAAAMBarfY/AVRvcAAAAACgSCTiPwFSaWdodAAAAADAWq32PwFCb3R0b20AAAAAoEgk4j8AAkRpc3BsYXlUZXh0AAQAAAA2ICUAAUhlaWdodAAAAAAAXNIrQAFXaWR0aAAAAACgKQc1QAFUb3AAAAAAoJ8rQUABTGVmdAAAAAAAQ45d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AZPcnQAADTGVhZGVyTGluZQDhBgAAA1N0YXJ0ABsAAAABWAAAAAAA+bBaQAFZAAAAACDrpURAAANFbmQAGwAAAAFYAAAAAABDzlxAAVkAAAAAIOulREAAAlN0YXJ0QXJyb3dIZWFkABEAAABtc29BcnJvd2hlYWROb25lAAJFbmRBcnJvd0hlYWQAEQAAAG1zb0Fycm93aGVhZE5vbmUABU1hbmFnZWRJZAAQAAAABJk2CBsQFtpBvu8HfiBeF2k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RAAAABRAAAAASAAAA5w8AAAAAAAA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FDqIEABVG9wAAAAACDrpURAAUxlZnQAAAAAAPmwWk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BDjl1AAVkAAAAAIOulREAAA0VuZAAbAAAAAVgAAAAAAEPOXEABWQAAAAAg66VEQAACU3RhcnRBcnJvd0hlYWQAEQAAAG1zb0Fycm93aGVhZE5vbmUAAkVuZEFycm93SGVhZAARAAAAbXNvQXJyb3doZWFkTm9uZQAFTWFuYWdlZElkABAAAAAEcyiJUg4d6kWYYdbJD7NqXg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hAAVRvcAAAAAAg66VEQAFMZWZ0AAAAAABDzlxACEZsaXBIb3Jpem9udGFsbHkAAQ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BqUF2BAAVkAAAAAMIwqREAACEhhc0xlYWRlckxpbmUAAAhJc0NlbnRlckF1dG9tYXRpY0FkanVzdGVkAAAISXNVc2VyUG9zaXRpb24AAQNDdXN0b21MYWJlbFBvc2l0aW9uAOYAAAABT2Zmc2V0MQAodG2XUOomQAFPZmZzZXQyADB3Apl6vJM/A0xhYmVsT2Zmc2V0VHlwZXMASQAAAAJPZmZzZXRUeXBlMQARAAAAQWJzb2x1dGVEaXN0YW5jZQACT2Zmc2V0VHlwZTIAEQAAAFJlbGF0aXZlRGlzdGFuY2UAAANBbmNob3JQb3NpdGlvbnMAUwAAAAJMYWJlbEFuY2hvclBvc2l0aW9uAAsAAABMZWZ0Q2VudGVyAAJDaGFydFBvaW50QW5jaG9yUG9zaXRpb24ADAAAAFJpZ2h0Q2VudGVyAAAACEFkZFByZWZpeFNwYWNlAAAIQWRkUG9zdGZpeFNwYWNlAAECUG9zdGZpeAACAAAAJQACU2VwYXJhdG9yAAIAAAAKAAJUZXh0AAIAAAA2AAhSZXF1aXJlUmVsYXRpdmVQb3NpdGlvblVwZ3JhZGUAAQhJc0dlb21ldHJ5T3V0T2ZCb3VuZHMAAAhJc0xlYWRlckxpbmVJbkF1dG9Nb2RlAAEIRGVsZXRlZAAAAAMyAD4WAAAQUG9pbnRJbmRleAADAAAAAkFsaWdubWVudAAHAAAAQ2VudGVyABBTZXJpZXNJbmRleAABAAAACFJlcXVpcmVGb250Q29sb3JNaWdyYXRpb24AAAhNYW51YWxEYXRhTGFiZWxCYWNrZ3JvdW5kVmlzaWJsZQAACEhhc1dpc2hDb2xvcgAAA1RleHRCb3gAvgYAAAVNYW5hZ2VkSWQAEAAAAAQ7uIHHa9ifQJNAfHA3VzTr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EgAAAAURAAAAEwAAAOcPAAAAAAAAAAAAAAAAAAAAAVNjRwAAAAAAAAAAAAFTY0IAAAAAAAAAAAAAEFBhdHRlcm5UaGVtZUNvbG9yAAAAAAABUGF0dGVyblRpbnRBbmRTaGFkZQAAAAAAAAAAAAhGaWxsVmlzaWJsZQABCFZpc2libGUAAQJGaWxsUGF0dGVybgAQAAAAbXNvUGF0dGVybk1peGVkAAJUZXh0AAUAAAAxOSA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UAIRm9udFN0cmlrZXRocm91Z2gAAAhGb250U3Vic2NyaXB0AAAIRm9udFN1cGVyc2NyaXB0AAAIRm9udFVuZGVybGluZQAAAAhTaXplVG9UZXh0V2lkdGgAAQhTaXplVG9UZXh0SGVpZ2h0AAEDVGV4dE1hcmdpbgA/AAAAAUxlZnQAAAAAwFqt9j8BVG9wAAAAAKBIJOI/AVJpZ2h0AAAAAMBarfY/AUJvdHRvbQAAAACgSCTiPwACRGlzcGxheVRleHQABQAAADE5ICUAAUhlaWdodAAAAAAAXNIrQAFXaWR0aAAAAADAM946QAFUb3AAAAAAoF2vTkABTGVmdAAAAADgaWRZ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AZPcnQAADTGVhZGVyTGluZQDhBgAAA1N0YXJ0ABsAAAABWAAAAABgwf5jQAFZAAAAABhwxlZAAANFbmQAGwAAAAFYAAAAACAq/WVAAVkAAAAAGHDGVkAAAlN0YXJ0QXJyb3dIZWFkABEAAABtc29BcnJvd2hlYWROb25lAAJFbmRBcnJvd0hlYWQAEQAAAG1zb0Fycm93aGVhZE5vbmUABU1hbmFnZWRJZAAQAAAABDWqJFeWRkpEqYbC4jhjDa4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jOYvQAFUb3AAAAAAIHDGVkABTGVmdAAAAABgwf5j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ICpdZkABWQAAAAAYcMZWQAADRW5kABsAAAABWAAAAAAgKv1lQAFZAAAAABhwxlZAAAJTdGFydEFycm93SGVhZAARAAAAbXNvQXJyb3doZWFkTm9uZQACRW5kQXJyb3dIZWFkABEAAABtc29BcnJvd2hlYWROb25lAAVNYW5hZ2VkSWQAEAAAAAScybIFAkDYTYzPdM1Gm2/x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xMAAAAFEgAAABQAAADnDwAAAAAAAAAAAAB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hAAVRvcAAAAAAgcMZWQAFMZWZ0AAAAACAq/WVACEZsaXBIb3Jpem9udGFsbHkAAQhGbGlwSG9yaXpvbnRhbGx5QXBwbGllZAAACEZsaXBWZXJ0aWNhbGx5AAAIRmxpcFZlcnRpY2FsbHlBcHBsaWVkAAABUm90YXRpb24AAAAAAAAAAAABWk9yZGVyAAAAAAAAAAAAA0JvcmRlckNvbG9yAFUAAAAQQQD/AAAAEFIAQAAAABBHAEAAAAAQQgBAAAAAAVNjQQAAAAAAAADwPwFTY1IAAAAAwP0/qj8BU2NHAAAAAMD9P6o/AVNjQgAAAADA/T+q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FgwwFxAAVkAAAAAGCXXUEAACEhhc0xlYWRlckxpbmUAAAhJc0NlbnRlckF1dG9tYXRpY0FkanVzdGVkAAAISXNVc2VyUG9zaXRpb24AAAhBZGRQcmVmaXhTcGFjZQAACEFkZFBvc3RmaXhTcGFjZQABAlBvc3RmaXgAAgAAACUAAlNlcGFyYXRvcgACAAAACgACVGV4dAADAAAAMTkACFJlcXVpcmVSZWxhdGl2ZVBvc2l0aW9uVXBncmFkZQABCElzR2VvbWV0cnlPdXRPZkJvdW5kcwAACElzTGVhZGVyTGluZUluQXV0b01vZGUAAQhEZWxldGVkAAAAAzMANBcAABBQb2ludEluZGV4AAQAAAACQWxpZ25tZW50AAcAAABDZW50ZXIAEFNlcmllc0luZGV4AAEAAAAIUmVxdWlyZUZvbnRDb2xvck1pZ3JhdGlvbgAACE1hbnVhbERhdGFMYWJlbEJhY2tncm91bmRWaXNpYmxlAAAISGFzV2lzaENvbG9yAAADVGV4dEJveAC6BgAABU1hbmFnZWRJZAAQAAAABNZzx7ki9aFAq79nruFyoLsISGFzQ2hhbmdlcwAACFVzZU5hbWVJbnN0ZWFkT2ZUYWdBc0lkAAEIU2hhcGVQcmV2aW91c2x5Q3JlYXRlZAABA0ZpbGxDb2xvcgBVAAAAEEEA/wAAABBSAPsAAAAQRwC6AAAAEEIAuQAAAAFTY0EAAAAAAAAA8D8BU2NSAAAAAMC13u4/AVNjRwAAAADg4mzfPwFTY0IAAAAAYLIM3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EAAAANCAl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VACEZvbnRTdHJpa2V0aHJvdWdoAAAIRm9udFN1YnNjcmlwdAAACEZvbnRTdXBlcnNjcmlwdAAACEZvbnRVbmRlcmxpbmUAAAAIU2l6ZVRvVGV4dFdpZHRoAAEIU2l6ZVRvVGV4dEhlaWdodAABA1RleHRNYXJnaW4APwAAAAFMZWZ0AAAAAMBarfY/AVRvcAAAAACgSCTiPwFSaWdodAAAAADAWq32PwFCb3R0b20AAAAAoEgk4j8AAkRpc3BsYXlUZXh0AAQAAAA0ICUAAUhlaWdodAAAAAAAXNIrQAFXaWR0aAAAAACgKQc1QAFUb3AAAAAAINAsVkABTGVmdAAAAABAonlb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AZPcnQAADTGVhZGVyTGluZQDhBgAAA1N0YXJ0ABsAAAABWAAAAABAtINZQAFZAAAAAOD16VdAAANFbmQAGwAAAAFYAAAAAECiuVpAAVkAAAAA4PXpV0AAAlN0YXJ0QXJyb3dIZWFkABEAAABtc29BcnJvd2hlYWROb25lAAJFbmRBcnJvd0hlYWQAEQAAAG1zb0Fycm93aGVhZE5vbmUABU1hbmFnZWRJZAAQAAAABEZeJl6/19tGvVUj9lIG2RY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cUAAAABRMAAAAVAAAA5w8AAAAAAAAAAAAAaWR0aAAACFNpemVUb1RleHRIZWlnaHQAAANUZXh0TWFyZ2luAD8AAAABTGVmdAAAAAAAAAAAAAFUb3AAAAAAAAAAAAABUmlnaHQAAAAAAAAAAAABQm90dG9tAAAAAAAAAAAAAAFIZWlnaHQAAAAAAAAAAAABV2lkdGgAAAAAAOBeE0ABVG9wAAAAAOD16VdAAUxlZnQAAAAAQLSDWU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ECieVtAAVkAAAAA4PXpV0AAA0VuZAAbAAAAAVgAAAAAQKK5WkABWQAAAADg9elXQAACU3RhcnRBcnJvd0hlYWQAEQAAAG1zb0Fycm93aGVhZE5vbmUAAkVuZEFycm93SGVhZAARAAAAbXNvQXJyb3doZWFkTm9uZQAFTWFuYWdlZElkABAAAAAEfaVY0tI5J0GCyiMy9s1G2w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hAAVRvcAAAAADg9elXQAFMZWZ0AAAAAECiuVpACEZsaXBIb3Jpem9udGFsbHkAAQ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HSHGl5AAVkAAAAAaEasV0AACEhhc0xlYWRlckxpbmUAAAhJc0NlbnRlckF1dG9tYXRpY0FkanVzdGVkAAAISXNVc2VyUG9zaXRpb24AAQNDdXN0b21MYWJlbFBvc2l0aW9uAOYAAAABT2Zmc2V0MQDgHCoT314fQAFPZmZzZXQyAG9eLWZdB4I+A0xhYmVsT2Zmc2V0VHlwZXMASQAAAAJPZmZzZXRUeXBlMQARAAAAQWJzb2x1dGVEaXN0YW5jZQACT2Zmc2V0VHlwZTIAEQAAAFJlbGF0aXZlRGlzdGFuY2UAAANBbmNob3JQb3NpdGlvbnMAUwAAAAJMYWJlbEFuY2hvclBvc2l0aW9uAAsAAABMZWZ0Q2VudGVyAAJDaGFydFBvaW50QW5jaG9yUG9zaXRpb24ADAAAAFJpZ2h0Q2VudGVyAAAACEFkZFByZWZpeFNwYWNlAAAIQWRkUG9zdGZpeFNwYWNlAAECUG9zdGZpeAACAAAAJQACU2VwYXJhdG9yAAIAAAAKAAJUZXh0AAIAAAA0AAhSZXF1aXJlUmVsYXRpdmVQb3NpdGlvblVwZ3JhZGUAAAhJc0dlb21ldHJ5T3V0T2ZCb3VuZHMAAAhJc0xlYWRlckxpbmVJbkF1dG9Nb2RlAAEIRGVsZXRlZAAA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TGFiZWxzVmlzaWJsZQABCEF1dG9tYXRpY0xhYmVsQmFja2dyb3VuZHNFbmFibGVkAAEAA1NlY29uZGFyeQAmAgAABERhdGFMYWJlbHMABQAA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TGFiZWxzVmlzaWJsFQAAAAUUAAAA/////34AaQ8AAAAAAAAAAGUAAAhBdXRvbWF0aWNMYWJlbEJhY2tncm91bmRzRW5hYmxlZAABAAAIRGlzYWJsZUF1dG9tYXRpY0RlYWN0aXZhdGlvbgAAAAJOYW1lAAsAAABEYXRhTGFiZWxzABBWZXJzaW9uAAYAAAAJTGFzdFdyaXRlAKcuU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YAAAAE//////////8DAMsHAAAAAAAAAAAAAP////96AXoBAAAFX2lkABAAAAAEnzftHlyb9UWL5CMsbbuKqANEYXRhAAwBAAAEUG9pbnRDb2xvcnNTdHlsZQAFAAAAAANTZXJpZXNDb2xvcnNTdHlsZQDdAAAAAzEA1QAAABBTZXJpZXNJbmRleAABAAAAA1ByaW1hcnlDb2xvclN0eWxlAKwAAAACQ29sb3JQcm9wZXJ0eVRhcmdldAAIAAAAUHJpbWFyeQADQ29sb3JPclRoZW1lQ29sb3IAcwAAABBUaGVtZUNvbG9yAAUAAAABVGludEFuZFNoYWRlAAAAAAAAAAAAEFRpbnRJbmRleAD/////EFNjaGVtZUNvbG9yAAAAAAADQ29sb3IAIQAAABBBAP8AAAAQUgDHAAAAEEcAKgAAABBCADQAAAAAAAAAAAACTmFtZQAfAAAAUG9pbnRBbmRTZXJpZXNTdHlsZURlZmluaXRpb25zABBWZXJzaW9uAAEAAAAJTGFzdFdyaXRlAGXXTjWXAQAAAAEA/////3oBegEAAAVfaWQAEAAAAAQq8xcj9HbrTLPE/s4WtOmDA0RhdGEADAEAAARQb2ludENvbG9yc1N0eWxlAAUAAAAAA1Nlcmllc0NvbG9yc1N0eWxlAN0AAAADMQDVAAAAEFNlcmllc0luZGV4AAEAAAADUHJpbWFyeUNvbG9yU3R5bGUArAAAAAJDb2xvclByb3BlcnR5VGFyZ2V0AAgAAABQcmltYXJ5AANDb2xvck9yVGhlbWVDb2xvcgBzAAAAEFRoZW1lQ29sb3IABQAAAAFUaW50QW5kU2hhZGUAAAAAAAAAAAAQVGludEluZGV4AP////8QU2NoZW1lQ29sb3IAAAAAAANDb2xvcgAhAAAAEEEA/wAAABBSAMcAAAAQRwAqAAAAEEIANAAAAAAAAAAAAAJOYW1lAB8AAABQb2ludEFuZFNlcmllc1N0eWxlRGVmaW5pdGlvbnMAEFZlcnNpb24AAAAAAAlMYXN0V3JpdGUAXNdONZcBAAAAAgD/////EAUQBQAABV9pZAAQAAAABFydliSyUj5MpCgSQOFAvLIDRGF0YQCwBAAAA0dyaWRMaW5lU3R5bGVzRGF0YQCXBAAAA1ByaW1hcnlWYWx1ZUF4aXNHcmlkTGluZVN0eWxlAB0CAAADTWFqb3JVbml0TGluZVN0eWxlAPgAAAADQ29sb3IAVQAAABBBAP8AAAAQUgCJAAAAEEcAiQAAABBCAIkAAAABU2NBAAAAAAAAAPA/AVNjUgAAAAAAmALQPwFTY0cAAAAAAJgC0D8BU2NCAAAAAACYAtA/AAJTY2hlbWVDb2xvckluZGV4ABEAAABwcE5vdFNjaGVtZUNvbG9yABBUaGVtZUNvbG9ySW5kZXgAAAAAAAFUaW50QW5kU2hhZGUAAAAAAAAA0D8BTGluZVdlaWdodAAAAAAAAADgPwJEYXNoU3R5bGUACgAAAExpbmVTb2xpZAAIVmlzaWJsZQABCElzQXV0b21hdGljAAEAA01pbm9yVW5pdExpbmVTdHlsZQD4AAAAA0NvbG9yAFUAAAAQQQD/AAAAEFIAvAAAABBHALwAAAAQQgC8AAAAAVNjQQAAAAAAAADwPwFTY1IAAAAAYKUX4D8BU2NHAAAAAGClF+A/AVNjQgAAAABgpRfgPwACU2NoZW1lQ29sb3JJbmRleAARAAAAcHBOb3RTY2hlbWVDb2xvcgAQVGhlbWVDb2xvckluZGV4AAoAAAABVGludEFuZFNoYWRlAAAAAKCZmdk/AUxpbmVXZWlnaHQAAAAAAAAA4D8CRGFzaFN0eWxlAAoAAABMaW5lU29saWQACFZpc2libGUAAAhJc0F1dG9tYXRpYwAAAAADUHJpbWFyeUNhdGVnb3J5QXhpc0dyaWRMaW5lU3R5bGUAHQIAAANNYWpvclVuaXRMaW5lU3R5bGUA+AAAAANDb2xvcgBVAAAAEEEA/wAAABBSAIkAAAAQRwCJAAAAEEIAiQAAAAFTY0EAAAAAAAAA8D8BU2NSAAAAAACYAtA/AVNjRwAAAAAAmALQPwFTY0IAAAAAAJgC0D8AAlNjaGVtZUNvbG9ySW5kZXgAEQAAAHBwTm90U2NoZW1lQ29sb3IAEFRoZW1lQ29sb3JJbmRleAAAAAAAAVRpbnRBbmRTaGFkZQAAAAAAAADQPwFMaW5lV2VpZ2h0AAAAAAAAAOA/AkRhc2hTdHlsZQAKAAAATGluZVNvbGlkAAhWaXNpYmxlAAEISXNBdXRvbWF0aWMAAAADTWlub3JVbml0TGluZVN0eWxlAPgAAAADQ29sb3IAVQAAABBBAP8AAAAQUgC8AAAAEEcAvAAAABBCALwAAAABU2NBAAAAAAAAAPA/AVNjUgAAAABgpRfgPwFTY0cAAAAAYKUX4D8BU2NCAAAAAGClF+A/AAJTY2hlbWVDb2xvckluZGV4ABEAAABwcE5vdFNjaGVtZUNvbG9yABBUaGVtZUNvbG9ySW5kZXgACgAAAAFUaW50QW5kU2hhZGUAAAAAoJmZ2T8BTGluZVdlaWdodAAAAAAAAADgPwJEYXNoU3R5bGUACgAAAExpbmVTb2xpZAAIVmlzaWJsZQAACElzQXV0b21hdGljAAAAAAhTaG93R3JpZGxpbmVzRGVmYXVsdAAAAAACTmFtZQARAAAAR3JpZGxpbmVTZXR0aW5ncwAQVmVyc2lvbgABAAAACUxhc3RXcml0ZQBj10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XAAAABP//////////CwAHAgAAAAAAAAAAAAD/////cwBzAAAABV9pZAAQAAAABBz4uiX3RctAu+IBWJJBpWMDRGF0YQAXAAAABFNlcmllTGFiZWxzAAUAAAAAAAJOYW1lAA0AAABTZXJpZXNMYWJlbHMAEFZlcnNpb24ABQAAAAlMYXN0V3JpdGUA3MdONZcBAAAAAQD/////ewB7AAAABV9pZAAQAAAABBvh7ibn54pBrZobc6r3gAwDRGF0YQAdAAAACERvTm90U2hvd0Z1bGxFbWZBZ2FpbgAAAAJOYW1lAA8AAABDb21tb25TZXR0aW5ncwAQVmVyc2lvbgAAAAAACUxhc3RXcml0ZQDW2DpgigEAAAACAP////+aAJoAAAAFX2lkABAAAAAEaHX1KdU4eka4KOhdwYmNLgNEYXRhADgAAAAIQXJlTmVnYXRpdmVTdW1zQXRPdGhlckVuZAAACEFyZUNvbHVtblN1bXNWaXNpYmxlAAAAAk5hbWUAEwAAAENvbHVtblN1bXNTZXR0aW5ncwAQVmVyc2lvbgAAAAAACUxhc3RXcml0ZQAOlcJ+bgEAAAADAP/////bANsAAAAFX2lkABAAAAAESskfL54B40a3w/NN7TE1yQREYXRhAIEAAAADMAB5AAAAEFNlcmllc0luZGV4AAEAAAAEWFZhbHVlcwBaAAAAAjAACQAAAFNvbnN0aWdlAAIxABIAAABQcml2YXQtZ2V3ZXJibGljaAACMgAMAAAAw5ZmZmVudGxpY2gAAjMAEgAAAEZyZWlnZW1laW5uw7x0emlnAAAAAAJOYW1lAAsAAABTZXJpZXNEYXRhABBWZXJzaW9uAAAAAAAJTGFzdFdyaXRlAGTMPGCKAQAAAAQA/////3AAcAAAAAVfaWQAEAAAAATlz9k1IsyRR7B+odGfW7tMA0RhdGEAFgAAAAJQZXJzb25hbElkAAEAAAAAAAJOYW1lAAsAAABQZXJzb25hbElkABBWZXJzaW9uAAAAAAAJTGFzdFdyaXRlAEjYFHl8AQAAAAUA/////3kAeQAAAAVfaWQAEAAAAASJ23w6nahcSbWydlIC9sKtA0RhdGEAFQAAAAhTaGFwZXNSZW1vdmVkAAAAAk5hbWUAFQAAAEdlbmVyYWxFeGNlbFNldHRpbmdzABBWZXJzaW9uAAAAAAAJTGFzdFdyaXRlAMPYOmCKAQAAAAYA/////3MAcwAAAAVfaWQAEAAAAAR52Yo7ZZe1SJl4IVR4+p+YA0RhdGEABQAAAAACTmFtZQAfAAAAQXp1cmVJbmZvcm1hdGlvblByb3RlY3Rpb25EYXRhABBWZXJzaW9uAAAAAAAJTGFzdFdyaXRlAL7YOmCKAQAAAAcAGAAAAAAACAAbAAAAAAAJACMAAAAAAAoA/////8kJyQkAAAVfaWQAEAAAAARnvphEMbgDQJdGq6ii7+bTA0RhdGEAZgkAAAhBdXRvbWF0aWNMYXlvdXRBY3RpdmUAAQRBZGRpdGlvbmFsQ2hhcnRNYXJnaW5EYXRhcwAFAAAAAAJEYXRhUmVmZXJlbmNlRGlyZWN0aW9uAA0AAABTZXJpZXNCeVJvd3MAAlNlcmllc09yZGVyAAoAAABBc0luRXhjZWwAAlBvaW50T3JkZXIACgAAAEFzSW5FeGNlbAACUHJpbWFyeUF4aXNDcm9zc1R5cGUAGQAAAENyb3NzZXNCZXR3ZWVuQ2F0ZWdvcmllcwACU2Vjb25kYXJ5QXhpc0Nyb3NzVHlwZQAIAAAASW52YWxpZAAISXNDaGFydFRpdGxlVmlzaWJsZQAAA0NoYXJ0VGl0bGVEYXRhAOIGAAAIV2FudFRvQmVWaXNpYmxlAAADVGV4dEJveERhdGEAbAYAAAVNYW5hZ2VkSWQAEAAAAASH360RRHysQq8DzY/S8P8d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AAAhGb250U3RyaWtldGhyb3VnaAAACEZvbnRTdWJzY3JpcHQAAAhGb250U3VwZXJzY3JpcHQAAAhGb250VW5kZXJsaW5lAAAACFNpemVUb1RleHRXaWR0aAABCFNpemVUb1RleHRIZWlnaHQAAQ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9mZnNldEZyb21Ib21lAEIAAAABWAAAAAAAAAAAAAFZAAAAAAAAAAAAAUxlbmd0aAAAAAAAAAAAAAFMZW5ndGhTcXVhcmVkAAAAAAAAAAAAAAABUGxvdFRvQ2hhcnRBcmVhUmF0aW8AAAAAAAAAAAACUmVuZGVyTW9kZQALAAAASHlicmlkVGV4dAADQ3VzdG9taXppbmdEZXNjcmlwdGlvbkRhdGEAkQAAAAJOYW1lABcAAABEZWZhdWx0RmxleEN1c3RvbWl6aW5nABBWZXJzaW9uAAEAAAAQTWlub3JWZXJzaW9uAAAAAAACQ3VzdG9taXppbmdUeXBlAAgAAABEZWZhdWx0AAJNaW9DZElkAAEAAAAAAkZsZXhDdXN0b21pemluZ1R5cGUACAAAAERlZmF1bHQAAAFMYXN0U2VlbldpZHRoAAAAAMD1jnFAAUxhc3RTZWVuSGVpZ2h0AAAAAGCGVFtACE1pZ3JhdGlvblRvUGVyZm9ybWFuY2VNb2RlRG9uZQABBUxhc3RTZWVuU2xpZGVDb2xvclRoZW1lTWQ1SGFzaAAQAAAAAMJkCTUk6e3PfTR944bn0R4AAk5hbWUAFAAAAEdsb2JhbENoYXJ0U2V0dGluZ3MAEFZlcnNpb24ABQAAAAlMYXN0V3JpdGUAPNhO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AAAAAX/////GQAAAOcPAAAAAAAAAAAAAFUgAAAFX2lkABAAAAAEo4EiPddwjUWaz4ZrTJ7iPgREYXRhAP0fAAADMAD7BwAABV9pZAAQAAAABFcyFOa9aPFMpZF8PZr1QpQCX3R5cGUAVwAAAGVtcG93ZXIuQ2hhcnRzLkRhdGEuRGF0YUNoYXJ0cy5PdmVybGF5cy5EYXRhLkNvbHVtblN1bU92ZXJsYXlEYXRhLCBlbXBvd2VyLkNoYXJ0cy5EYXRhABBDb2x1bW4AAQAAABBTZXJpZXMA/////wNUZXh0RWxlbWVudADrBgAAAkF1dG9TaGFwZVR5cGUACgAAAFJlY3RhbmdsZQAEQWRqdXN0bWVudHMABQAAAAAFTWFuYWdlZElkABAAAAAEqc9rZQMmFEeMcFAPe3y3sQ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gBQuLUABV2lkdGgAAAAAQInzOk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wKi7KkAAAkNvbHVtblN1bVBvc2l0aW9uAAwAAABEZWZhdWx0RG9jawAIQWRkUHJlZml4U3BhY2UAAAhBZGRQb3N0Zml4U3BhY2UAAAhEZWxldGVkAAEISXNOZXcAAQFGb250U2l6ZQAAAAAAAAAoQAADMQD7BwAABV9pZAAQAAAABIMt0NYwN4VOrXT8LELlpC8CX3R5cGUAVwAAAGVtcG93ZXIuQ2hhcnRzLkRhdGEuRGF0YUNoYXJ0cy5PdmVybGF5cy5EYXRhLkNvbHVtblN1bU92ZXJsYXlEYXRhLCBlbXBvd2VyLkNoYXJ0cy5EYXRhABBDb2x1bW4AAwAAABBTZXJpZXMA/////wNUZXh0RWxlbWVudADrBgAAAkF1dG9TaGFwZVR5cGUACgAAAFJlY3RhbmdsZQAEQWRqdXN0bWVudHMABQAAAAAFTWFuYWdlZElkABAAAAAE7K5BU6tqvkSoGnQBl7Zdqw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gBQuLUABV2lkdGgAAAAAQInzOk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wKi7KkAAAkNvbHVtblN1bVBvc2l0aW9uAAwAAABEZWZhdWx0RG9jawAIQWRkUHJlZml4UxkAAAAFGAAAABoAAADnDwAAAAAAAAAAAABwYWNlAAAIQWRkUG9zdGZpeFNwYWNlAAAIRGVsZXRlZAABCElzTmV3AAEBRm9udFNpemUAAAAAAAAAKEAAAzIA+wcAAAVfaWQAEAAAAARrGWthLJoeS5YVduprZpb9Al90eXBlAFcAAABlbXBvd2VyLkNoYXJ0cy5EYXRhLkRhdGFDaGFydHMuT3ZlcmxheXMuRGF0YS5Db2x1bW5TdW1PdmVybGF5RGF0YSwgZW1wb3dlci5DaGFydHMuRGF0YQAQQ29sdW1uAAIAAAAQU2VyaWVzAP////8DVGV4dEVsZW1lbnQA6wYAAAJBdXRvU2hhcGVUeXBlAAoAAABSZWN0YW5nbGUABEFkanVzdG1lbnRzAAUAAAAABU1hbmFnZWRJZAAQAAAABLImiOZKjV5DnzZh6XQ9+s0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IAULi1AAVdpZHRoAAAAAECJ8zp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MCouypAAAJDb2x1bW5TdW1Qb3NpdGlvbgAMAAAARGVmYXVsdERvY2sACEFkZFByZWZpeFNwYWNlAAAIQWRkUG9zdGZpeFNwYWNlAAAIRGVsZXRlZAABCElzTmV3AAEBRm9udFNpemUAAAAAAAAAKEAAAzMA+wcAAAVfaWQAEAAAAAQJ6DJ5XLOVTL6G0ZTtPN/RAl90eXBlAFcAAABlbXBvd2VyLkNoYXJ0cy5EYXRhLkRhdGFDaGFydHMuT3ZlcmxheXMuRGF0YS5Db2x1bW5TdW1PdmVybGF5RGF0YSwgZW1wb3dlci5DaGFydHMuRGF0YQAQQ29sdW1uAAQAAAAQU2VyaWVzAP////8DVGV4dEVsZW1lbnQA6wYAAAJBdXRvU2hhcGVUeXBlAAoAAABSZWN0YW5nbGUABEFkanVzdG1lbnRzAAUAAAAABU1hbmFnZWRJZAAQAAAABHSQcdumP9FHvw/pzWCxPbE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IAULi1AAVdpZHRoAAAAAECJ8zp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MCouypAAAJDb2x1bW5TdW1Qb3NpdGlvbgAMAAAARGUaAAAABRkAAAD/////hwBgDwAAAAAAAAAAZmF1bHREb2NrAAhBZGRQcmVmaXhTcGFjZQAACEFkZFBvc3RmaXhTcGFjZQAACERlbGV0ZWQAAQhJc05ldwABAUZvbnRTaXplAAAAAAAAAChAAAACTmFtZQAJAAAAT3ZlcmxheXMAEFZlcnNpb24ABwAAAAlMYXN0V3JpdGUAYtdO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wAAAAX/////HAAAAOcPAAAAAAAAAAAAAOhfAAAFX2lkABAAAAAEAKZ2P1dhf064TDH1FLD/wgNEYXRhAI5fAAADRGF0YUxhYmVsc1BlckF4aXMAV18AAANQcmltYXJ5ABhdAAAERGF0YUxhYmVscwD3WgAAAzAAPhYAABBQb2ludEluZGV4AAEAAAACQWxpZ25tZW50AAcAAABDZW50ZXIAEFNlcmllc0luZGV4AAEAAAAIUmVxdWlyZUZvbnRDb2xvck1pZ3JhdGlvbgAACE1hbnVhbERhdGFMYWJlbEJhY2tncm91bmRWaXNpYmxlAAAISGFzV2lzaENvbG9yAAADVGV4dEJveAC+BgAABU1hbmFnZWRJZAAQAAAABEh/WmiMTDpBrN/QbOYyp6g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FAAAANzEg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VACEZvbnRTdHJpa2V0aHJvdWdoAAAIRm9udFN1YnNjcmlwdAAACEZvbnRTdXBlcnNjcmlwdAAACEZvbnRVbmRlcmxpbmUAAAAIU2l6ZVRvVGV4dFdpZHRoAAEIU2l6ZVRvVGV4dEhlaWdodAABA1RleHRNYXJnaW4APwAAAAFMZWZ0AAAAAMBarfY/AVRvcAAAAACgSCTiPwFSaWdodAAAAADAWq32PwFCb3R0b20AAAAAoEgk4j8AAkRpc3BsYXlUZXh0AAUAAAA3MSAlAAFIZWlnaHQAAAAAAFzSK0ABV2lkdGgAAAAAwDPeOkABVG9wAAAAAGCu1hpAAUxlZnQAAAAAgHBYZ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gGT3J0AAA0xlYWRlckxpbmUA4QYAAANTdGFydAAbAAAAAVgAAAAAAAAAAAABWQAAAAAAAAAAAAADRW5kABsAAAABWAAAAAAAAAAAAAFZAAAAAAAAAAAAAAJTdGFydEFycm93SGVhZAARAAAAbXNvQXJyb3doZWFkTm9uZQACRW5kQXJyb3dIZWFkABEAAABtc29BcnJvd2hlYWROb25lAAVNYW5hZ2VkSWQAEAAAAARUpoMu1nkVTaoMADcT94nJ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AAAAAAAVkAAAAAAAAAAAAAA0VuZAAbAAAAAVgAAAAAAAAAAAABWQAAAAAAAAAAAAACU3RhcnRBcnJvd0hlYWQAEQAAAG1zb0Fycm93aGVhZE5vbmUAAkVuZEFycm93SGVhZAARAAAAbXNvQXJyb3doZWFkTm9uZQAFTWFuYWdlZElkABAAAAAEFI8K8hGDJEWHqmHk/0xhrwhIYXNDaGFuZ2VzAAEIVXNlTmFtZUluc3RlYWRPZlRhZ0FzSWQAAQhTaGFwZVByZXZpb3VzbHlDcmVhdGVkAAADRmlsbENvbG9yAFUAAAAQQQAAAAAAEFIAAAAAABBHAAAAAAAQQgAAAAAAAVNjQQAAAAAAAADwvwFTY1IAAAAAAAAA8L8BU2NHABwAAAAFGwAAAB0AAADnDwAAAAAAAAAAAA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EAAAAAQRwBAAAAAEEIAQAAAAAFTY0EAAAAAAAAA8D8BU2NSAAAAAID9P6o/AVNjRwAAAACA/T+qPwFTY0IAAAAAgP0/qj8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C8UwZmQAFZAAAAAHAJZylAAAhIYXNMZWFkZXJMaW5lAAAISXNDZW50ZXJBdXRvbWF0aWNBZGp1c3RlZAAACElzVXNlclBvc2l0aW9uAAAIQWRkUHJlZml4U3BhY2UAAAhBZGRQb3N0Zml4U3BhY2UAAQJQb3N0Zml4AAIAAAAlAAJTZXBhcmF0b3IAAgAAAAoAAlRleHQAAwAAADcxAAhSZXF1aXJlUmVsYXRpdmVQb3NpdGlvblVwZ3JhZGUAAQhJc0dlb21ldHJ5T3V0T2ZCb3VuZHMAAAhJc0xlYWRlckxpbmVJbkF1dG9Nb2RlAAEIRGVsZXRlZAAAAAMxADYXAAAQUG9pbnRJbmRleAACAAAAAkFsaWdubWVudAAHAAAAQ2VudGVyABBTZXJpZXNJbmRleAABAAAACFJlcXVpcmVGb250Q29sb3JNaWdyYXRpb24AAAhNYW51YWxEYXRhTGFiZWxCYWNrZ3JvdW5kVmlzaWJsZQAACEhhc1dpc2hDb2xvcgAAA1RleHRCb3gAvAYAAAVNYW5hZ2VkSWQAEAAAAARARnT930A6SIZNBpz8uvCPCEhhc0NoYW5nZXMAAAhVc2VOYW1lSW5zdGVhZE9mVGFnQXNJZAABCFNoYXBlUHJldmlvdXNseUNyZWF0ZWQAAQNGaWxsQ29sb3IAVQAAABBBAP8AAAAQUgD7AAAAEEcAugAAABBCALkAAAABU2NBAAAAAAAAAPA/AVNjUgAAAADAtd7uPwFTY0cAAAAA4OJs3z8BU2NCAAAAAGCyDN8/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AAAADYgJQACVGV4dEhvcml6b250YWxBbGlnbm1lbnQAEAAAAG1zb0FuY2hvckNlbnRlcg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VACEZvbnRTdHJpa2V0aHJvdWdoAAAIRm9udFN1YnNjcmlwdAAACEZvbnRTdXBlcnNjcmlwdAAACEZvbnRVbmRlcmxpbmUAAAAIU2l6ZVRvVGV4dFdpZHRoAAEIU2l6ZVRvVGV4dEhlaWdodAABA1RleHRNYXJnaW4APwAAAAFMZWZ0AAAAAMBarfY/AVRvcAAAAACgSCTiPwFSaWdodAAAAADAWq32PwFCb3R0b20AAAAAoEgk4j8AAkRpc3BsYXlUZXh0AAQAAAA2ICUAAUhlaWdodAAAAAAAXNIrQAFXaWR0aAAAAACgKQc1QAFUb3AAAAAAoJ8rQUABTGVmdAAAAAAAQ45d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AZPcnQAADTGVhZGVyTGluZQDhBgAAA1N0YXJ0ABsAAAABWAAAAAAA+bBaQAFZAAAAACDrpURAAANFbmQAGwAAAAFYAAAAAABDzlxAAVkAAAAAIOulREAAAlN0YXJ0QXJyb3dIZWFkABEAAABtc29BcnJvd2hlYWROb25lAAJFbmRBcnJvd0hlYWQAEQAAAG1zb0Fycm93aGVhZE5vbmUABU1hbmFnZWRJZAAQAAAABJk2CBsQFtpBvu8HfiBeF2k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dAAAABRwAAAAeAAAA5w8AAAAAAAA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FDqIEABVG9wAAAAACDrpURAAUxlZnQAAAAAAPmwWk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BDjl1AAVkAAAAAIOulREAAA0VuZAAbAAAAAVgAAAAAAEPOXEABWQAAAAAg66VEQAACU3RhcnRBcnJvd0hlYWQAEQAAAG1zb0Fycm93aGVhZE5vbmUAAkVuZEFycm93SGVhZAARAAAAbXNvQXJyb3doZWFkTm9uZQAFTWFuYWdlZElkABAAAAAEcyiJUg4d6kWYYdbJD7NqXg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hAAVRvcAAAAAAg66VEQAFMZWZ0AAAAAABDzlxACEZsaXBIb3Jpem9udGFsbHkAAQ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BqUF2BAAVkAAAAAMIwqREAACEhhc0xlYWRlckxpbmUAAAhJc0NlbnRlckF1dG9tYXRpY0FkanVzdGVkAAAISXNVc2VyUG9zaXRpb24AAQNDdXN0b21MYWJlbFBvc2l0aW9uAOYAAAABT2Zmc2V0MQAodG2XUOomQAFPZmZzZXQyADB3Apl6vJM/A0xhYmVsT2Zmc2V0VHlwZXMASQAAAAJPZmZzZXRUeXBlMQARAAAAQWJzb2x1dGVEaXN0YW5jZQACT2Zmc2V0VHlwZTIAEQAAAFJlbGF0aXZlRGlzdGFuY2UAAANBbmNob3JQb3NpdGlvbnMAUwAAAAJMYWJlbEFuY2hvclBvc2l0aW9uAAsAAABMZWZ0Q2VudGVyAAJDaGFydFBvaW50QW5jaG9yUG9zaXRpb24ADAAAAFJpZ2h0Q2VudGVyAAAACEFkZFByZWZpeFNwYWNlAAAIQWRkUG9zdGZpeFNwYWNlAAECUG9zdGZpeAACAAAAJQACU2VwYXJhdG9yAAIAAAAKAAJUZXh0AAIAAAA2AAhSZXF1aXJlUmVsYXRpdmVQb3NpdGlvblVwZ3JhZGUAAQhJc0dlb21ldHJ5T3V0T2ZCb3VuZHMAAAhJc0xlYWRlckxpbmVJbkF1dG9Nb2RlAAEIRGVsZXRlZAAAAAMyAD4WAAAQUG9pbnRJbmRleAADAAAAAkFsaWdubWVudAAHAAAAQ2VudGVyABBTZXJpZXNJbmRleAABAAAACFJlcXVpcmVGb250Q29sb3JNaWdyYXRpb24AAAhNYW51YWxEYXRhTGFiZWxCYWNrZ3JvdW5kVmlzaWJsZQAACEhhc1dpc2hDb2xvcgAAA1RleHRCb3gAvgYAAAVNYW5hZ2VkSWQAEAAAAAQ7uIHHa9ifQJNAfHA3VzTr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HgAAAAUdAAAAHwAAAOcPAAAAAAAAAAAAAAAAAAAAAVNjRwAAAAAAAAAAAAFTY0IAAAAAAAAAAAAAEFBhdHRlcm5UaGVtZUNvbG9yAAAAAAABUGF0dGVyblRpbnRBbmRTaGFkZQAAAAAAAAAAAAhGaWxsVmlzaWJsZQABCFZpc2libGUAAQJGaWxsUGF0dGVybgAQAAAAbXNvUGF0dGVybk1peGVkAAJUZXh0AAUAAAAxOSA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UAIRm9udFN0cmlrZXRocm91Z2gAAAhGb250U3Vic2NyaXB0AAAIRm9udFN1cGVyc2NyaXB0AAAIRm9udFVuZGVybGluZQAAAAhTaXplVG9UZXh0V2lkdGgAAQhTaXplVG9UZXh0SGVpZ2h0AAEDVGV4dE1hcmdpbgA/AAAAAUxlZnQAAAAAwFqt9j8BVG9wAAAAAKBIJOI/AVJpZ2h0AAAAAMBarfY/AUJvdHRvbQAAAACgSCTiPwACRGlzcGxheVRleHQABQAAADE5ICUAAUhlaWdodAAAAAAAXNIrQAFXaWR0aAAAAADAM946QAFUb3AAAAAAoF2vTkABTGVmdAAAAADgaWRZ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AZPcnQAADTGVhZGVyTGluZQDhBgAAA1N0YXJ0ABsAAAABWAAAAABgwf5jQAFZAAAAABhwxlZAAANFbmQAGwAAAAFYAAAAACAq/WVAAVkAAAAAGHDGVkAAAlN0YXJ0QXJyb3dIZWFkABEAAABtc29BcnJvd2hlYWROb25lAAJFbmRBcnJvd0hlYWQAEQAAAG1zb0Fycm93aGVhZE5vbmUABU1hbmFnZWRJZAAQAAAABDWqJFeWRkpEqYbC4jhjDa4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jOYvQAFUb3AAAAAAIHDGVkABTGVmdAAAAABgwf5j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ICpdZkABWQAAAAAYcMZWQAADRW5kABsAAAABWAAAAAAgKv1lQAFZAAAAABhwxlZAAAJTdGFydEFycm93SGVhZAARAAAAbXNvQXJyb3doZWFkTm9uZQACRW5kQXJyb3dIZWFkABEAAABtc29BcnJvd2hlYWROb25lAAVNYW5hZ2VkSWQAEAAAAAScybIFAkDYTYzPdM1Gm2/x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x8AAAAFHgAAACAAAADnDwAAAAAAAAAAAAB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hAAVRvcAAAAAAgcMZWQAFMZWZ0AAAAACAq/WVACEZsaXBIb3Jpem9udGFsbHkAAQhGbGlwSG9yaXpvbnRhbGx5QXBwbGllZAAACEZsaXBWZXJ0aWNhbGx5AAAIRmxpcFZlcnRpY2FsbHlBcHBsaWVkAAABUm90YXRpb24AAAAAAAAAAAABWk9yZGVyAAAAAAAAAAAAA0JvcmRlckNvbG9yAFUAAAAQQQD/AAAAEFIAQAAAABBHAEAAAAAQQgBAAAAAAVNjQQAAAAAAAADwPwFTY1IAAAAAwP0/qj8BU2NHAAAAAMD9P6o/AVNjQgAAAADA/T+q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FgwwFxAAVkAAAAAGCXXUEAACEhhc0xlYWRlckxpbmUAAAhJc0NlbnRlckF1dG9tYXRpY0FkanVzdGVkAAAISXNVc2VyUG9zaXRpb24AAAhBZGRQcmVmaXhTcGFjZQAACEFkZFBvc3RmaXhTcGFjZQABAlBvc3RmaXgAAgAAACUAAlNlcGFyYXRvcgACAAAACgACVGV4dAADAAAAMTkACFJlcXVpcmVSZWxhdGl2ZVBvc2l0aW9uVXBncmFkZQABCElzR2VvbWV0cnlPdXRPZkJvdW5kcwAACElzTGVhZGVyTGluZUluQXV0b01vZGUAAQhEZWxldGVkAAAAAzMANBcAABBQb2ludEluZGV4AAQAAAACQWxpZ25tZW50AAcAAABDZW50ZXIAEFNlcmllc0luZGV4AAEAAAAIUmVxdWlyZUZvbnRDb2xvck1pZ3JhdGlvbgAACE1hbnVhbERhdGFMYWJlbEJhY2tncm91bmRWaXNpYmxlAAAISGFzV2lzaENvbG9yAAADVGV4dEJveAC6BgAABU1hbmFnZWRJZAAQAAAABNZzx7ki9aFAq79nruFyoLsISGFzQ2hhbmdlcwAACFVzZU5hbWVJbnN0ZWFkT2ZUYWdBc0lkAAEIU2hhcGVQcmV2aW91c2x5Q3JlYXRlZAABA0ZpbGxDb2xvcgBVAAAAEEEA/wAAABBSAPsAAAAQRwC6AAAAEEIAuQAAAAFTY0EAAAAAAAAA8D8BU2NSAAAAAMC13u4/AVNjRwAAAADg4mzfPwFTY0IAAAAAYLIM3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EAAAANCAl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VACEZvbnRTdHJpa2V0aHJvdWdoAAAIRm9udFN1YnNjcmlwdAAACEZvbnRTdXBlcnNjcmlwdAAACEZvbnRVbmRlcmxpbmUAAAAIU2l6ZVRvVGV4dFdpZHRoAAEIU2l6ZVRvVGV4dEhlaWdodAABA1RleHRNYXJnaW4APwAAAAFMZWZ0AAAAAMBarfY/AVRvcAAAAACgSCTiPwFSaWdodAAAAADAWq32PwFCb3R0b20AAAAAoEgk4j8AAkRpc3BsYXlUZXh0AAQAAAA0ICUAAUhlaWdodAAAAAAAXNIrQAFXaWR0aAAAAACgKQc1QAFUb3AAAAAAINAsVkABTGVmdAAAAABAonlb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AZPcnQAADTGVhZGVyTGluZQDhBgAAA1N0YXJ0ABsAAAABWAAAAABAtINZQAFZAAAAAOD16VdAAANFbmQAGwAAAAFYAAAAAECiuVpAAVkAAAAA4PXpV0AAAlN0YXJ0QXJyb3dIZWFkABEAAABtc29BcnJvd2hlYWROb25lAAJFbmRBcnJvd0hlYWQAEQAAAG1zb0Fycm93aGVhZE5vbmUABU1hbmFnZWRJZAAQAAAABEZeJl6/19tGvVUj9lIG2RY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cgAAAABR8AAAAhAAAA5w8AAAAAAAAAAAAAaWR0aAAACFNpemVUb1RleHRIZWlnaHQAAANUZXh0TWFyZ2luAD8AAAABTGVmdAAAAAAAAAAAAAFUb3AAAAAAAAAAAAABUmlnaHQAAAAAAAAAAAABQm90dG9tAAAAAAAAAAAAAAFIZWlnaHQAAAAAAAAAAAABV2lkdGgAAAAAAOBeE0ABVG9wAAAAAOD16VdAAUxlZnQAAAAAQLSDWU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ECieVtAAVkAAAAA4PXpV0AAA0VuZAAbAAAAAVgAAAAAQKK5WkABWQAAAADg9elXQAACU3RhcnRBcnJvd0hlYWQAEQAAAG1zb0Fycm93aGVhZE5vbmUAAkVuZEFycm93SGVhZAARAAAAbXNvQXJyb3doZWFkTm9uZQAFTWFuYWdlZElkABAAAAAEfaVY0tI5J0GCyiMy9s1G2w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hAAVRvcAAAAADg9elXQAFMZWZ0AAAAAECiuVpACEZsaXBIb3Jpem9udGFsbHkAAQ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HSHGl5AAVkAAAAAaEasV0AACEhhc0xlYWRlckxpbmUAAAhJc0NlbnRlckF1dG9tYXRpY0FkanVzdGVkAAAISXNVc2VyUG9zaXRpb24AAQNDdXN0b21MYWJlbFBvc2l0aW9uAOYAAAABT2Zmc2V0MQDgHCoT314fQAFPZmZzZXQyAG9eLWZdB4I+A0xhYmVsT2Zmc2V0VHlwZXMASQAAAAJPZmZzZXRUeXBlMQARAAAAQWJzb2x1dGVEaXN0YW5jZQACT2Zmc2V0VHlwZTIAEQAAAFJlbGF0aXZlRGlzdGFuY2UAAANBbmNob3JQb3NpdGlvbnMAUwAAAAJMYWJlbEFuY2hvclBvc2l0aW9uAAsAAABMZWZ0Q2VudGVyAAJDaGFydFBvaW50QW5jaG9yUG9zaXRpb24ADAAAAFJpZ2h0Q2VudGVyAAAACEFkZFByZWZpeFNwYWNlAAAIQWRkUG9zdGZpeFNwYWNlAAECUG9zdGZpeAACAAAAJQACU2VwYXJhdG9yAAIAAAAKAAJUZXh0AAIAAAA0AAhSZXF1aXJlUmVsYXRpdmVQb3NpdGlvblVwZ3JhZGUAAAhJc0dlb21ldHJ5T3V0T2ZCb3VuZHMAAAhJc0xlYWRlckxpbmVJbkF1dG9Nb2RlAAEIRGVsZXRlZAAA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TGFiZWxzVmlzaWJsZQABCEF1dG9tYXRpY0xhYmVsQmFja2dyb3VuZHNFbmFibGVkAAEAA1NlY29uZGFyeQAmAgAABERhdGFMYWJlbHMABQAA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TGFiZWxzVmlzaWJsIQAAAAUgAAAA/////34AaQ8AAAAAAAAAAGUAAAhBdXRvbWF0aWNMYWJlbEJhY2tncm91bmRzRW5hYmxlZAABAAAIRGlzYWJsZUF1dG9tYXRpY0RlYWN0aXZhdGlvbgAAAAJOYW1lAAsAAABEYXRhTGFiZWxzABBWZXJzaW9uAAgAAAAJTGFzdFdyaXRlALQuU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IAAAAE//////////8BAJoCAAAAAAAAAAAAAP////9FDUUNAAAFX2lkABAAAAAEdx1pQmrd602VpZvYlq7fbgNEYXRhANsMAAAIRXhjZWxDb2xvck1vZGVBY3RpdmUAAAhDb2xvckNhY2hlUmVwYWlyZWRGb3JMaW5rZWRDaGFydHMAAARDb2xvckNhY2hlAI8MAAADMACIAAAAA0NlbGxBZGRyZXNzABoAAAAQUm93AAEAAAAQQ29sdW1uAAEAAAAAA0NvbG9yAFUAAAAQQQAAAAAAEFIA/wAAABBHAP8AAAAQQgD/AAAAAVNjQQAAAAAAAAAAAAFTY1IAAAAAAAAA8D8BU2NHAAAAAAAAAPA/AVNjQgAAAAAAAADwPwAAAzEAiAAAAANDZWxsQWRkcmVzcwAaAAAAEFJvdwABAAAAEENvbHVtbgACAAAAAANDb2xvcgBVAAAAEEEAAAAAABBSAP8AAAAQRwD/AAAAEEIA/wAAAAFTY0EAAAAAAAAAAAABU2NSAAAAAAAAAPA/AVNjRwAAAAAAAADwPwFTY0IAAAAAAAAA8D8AAAMyAIgAAAADQ2VsbEFkZHJlc3MAGgAAABBSb3cAAQAAABBDb2x1bW4AAwAAAAADQ29sb3IAVQAAABBBAAAAAAAQUgD/AAAAEEcA/wAAABBCAP8AAAABU2NBAAAAAAAAAAAAAVNjUgAAAAAAAADwPwFTY0cAAAAAAAAA8D8BU2NCAAAAAAAAAPA/AAADMwCIAAAAA0NlbGxBZGRyZXNzABoAAAAQUm93AAEAAAAQQ29sdW1uAAQAAAAAA0NvbG9yAFUAAAAQQQAAAAAAEFIA/wAAABBHAP8AAAAQQgD/AAAAAVNjQQAAAAAAAAAAAAFTY1IAAAAAAAAA8D8BU2NHAAAAAAAAAPA/AVNjQgAAAAAAAADwPwAAAzQAiAAAAANDZWxsQWRkcmVzcwAaAAAAEFJvdwABAAAAEENvbHVtbgAFAAAAAANDb2xvcgBVAAAAEEEAAAAAABBSAP8AAAAQRwD/AAAAEEIA/wAAAAFTY0EAAAAAAAAAAAABU2NSAAAAAAAAAPA/AVNjRwAAAAAAAADwPwFTY0IAAAAAAAAA8D8AAAM1AIgAAAADQ2VsbEFkZHJlc3MAGgAAABBSb3cAAQAAABBDb2x1bW4ABgAAAAADQ29sb3IAVQAAABBBAP8AAAAQUgCmAAAAEEcApgAAABBCAKYAAAABU2NBAAAAAAAAAPA/AVNjUgAAAABgpWfYPwFTY0cAAAAAYKVn2D8BU2NCAAAAAGClZ9g/AAADNgCIAAAAA0NlbGxBZGRyZXNzABoAAAAQUm93AAIAAAAQQ29sdW1uAAEAAAAAA0NvbG9yAFUAAAAQQQD/AAAAEFIA3QAAABBHAN0AAAAQQgDdAAAAAVNjQQAAAAAAAADwPwFTY1IAAAAAgEQj5z8BU2NHAAAAAIBEI+c/AVNjQgAAAACARCPnPwAAAzcAiAAAAANDZWxsQWRkcmVzcwAaAAAAEFJvdwACAAAAEENvbHVtbgACAAAAAANDb2xvcgBVAAAAEEEAAAAAABBSAP8AAAAQRwD/AAAAEEIA/wAAAAFTY0EAAAAAAAAAAAABU2NSAAAAAAAAAPA/AVNjRwAAAAAAAADwPwFTY0IAAAAAAAAA8D8AAAM4AIgAAAADQ2VsbEFkZHJlc3MAGgAAABBSb3cAAgAAABBDb2x1bW4AAwAAAAADQ29sb3IAVQAAABBBAAAAAAAQUgD/AAAAEEcA/wAAABBCAP8AAAABU2NBAAAAAAAAAAAAAVNjUgAAAAAAAADwPwFTY0cAAAAAAAAA8D8BU2NCAAAAAAAAAPA/AAADOQCIAAAAA0NlbGxBZGRyZXNzABoAAAAQUm93AAIAAAAQQ29sdW1uAAQAAAAAA0NvbG9yAFUAAAAQQQAAAAAAEFIA/wAAABBHAP8AAAAQQgD/AAAAAVNjQQAAAAAAAAAAAAFTY1IAAAAAAAAA8D8BU2NHAAAAAAAAAPA/AVNjQgAAAAAAAADwPwAAAzEwAIgAAAADQ2VsbEFkZHJlc3MAGgAAABBSb3cAAgAAABBDb2x1bW4ABQAAAAADQ29sb3IAVQAAABBBAAAAAAAQUgD/AAAAEEcA/wAAABBCAP8AAAABU2NBAAAAAAAAAAAAAVNjUgAAAAAAAADwPwFTY0cAAAAAAAAA8D8BU2NCAAAAAAAAAPA/AAADMTEAiAAAAANDZWxsQWRkcmVzcwAaAAAAEFJvdwACAAAAEENvbHVtbgAGAAAAAANDb2xvcgBVAAAAEEEAAAAAABBSAP8AAAAQRwD/AAAAEEIA/wAAAAFTY0EAAAAAAAAAAAABU2NSAAAAAAAAAPA/AVNjRwAAAAAAAADwPwFTY0IAAAAAAAAA8D8AAAMxMgCIAAAAA0NlbGxBZGRyZXNzABoAAAAQUm93AAEAAAAQQ29sdW1uAAcAAAAAA0NvbG9yAFUAAAAQQQD/AAAAEFIApgAAABBHAKYAAAAQQgCmAAAAAVNjQQAAAAAAAADwPwFTY1IAAAAAYKVn2D8BU2NHAAAAAGClZ9g/AVNjQgAAAABgpWfYPwAAAzEzAIgAAAADQ2VsbEFkZHJlc3MAGgAAABBSb3cAAgAAABBDb2x1bW4ABwAAAAADQ29sb3IAVQAAABBBAAAAAAAQUgD/AAAAEEcA/wAAABBCAP8AAAABU2NBAAAAAAAAAAAAAVNjUgAAAAAAAADwPwFTY0cAAAAAAAAA8D8BU2NCAAAAAAAAAPA/AAADMTQAiAAAAANDZWxsQWRkcmVzcwAaAAAAEFJvdwABAAAAEENvbHVtbgAIAAAAAANDb2xvcgBVAAAAEEEA/wAAABBSAKYAAAAQRwCmAAAAEEIApgAAAAFTY0EAAAAAAAAA8D8BU2NSAAAAAGClZ9g/AVNjRwAAAABgpWfYPwFTY0IAAAAAYKVn2D8AAAMxNQCIAAAAA0NlbGxBZGRyZXNzABoAAAAQUm93AAIAAAAQQ29sdW1uAAgAAAAAA0NvbG9yAFUAAAAQQQAAAAAAEFIA/wAAABBHAP8AAAAQQgD/AAAAAVNjQQAAAAAAAAAAAAFTY1IAAAAAAAAA8D8BU2NHAAAAAAAAAPA/AVNjQgAAAAAAAADwPwAAAzE2AIgAAAADQ2VsbEFkZHJlc3MAGgAAABBSb3cAAAAAABBDb2x1bW4AAAAAAAADQ29sb3IAVQAAABBBAP8AAAAQUgCmAAAAEEcApgAAABBCAKYAAAABU2NBAAAAAAAAAPA/AVNjUgAAAABgpWfYPwFTY0cAAAAAYKVn2D8BU2NCAAAAAGClZ9g/AAADMTcAiAAAAANDZWxsQWRkcmVzcwAaAAAAEFJvdwAAAAAAEENvbHVtbgABAAAAAANDb2xvcgBVAAAAEEEA/wAAABBSAKYAAAAQRwCmAAAAEEIApgAAAAFTY0EAAAAAAAAA8D8BU2NSAAAAAGClZ9g/AVNjRwAAAABgpWfYPwFTY0IAAAAAYKVn2D8AAAMxOACIAAAAA0NlbGxBZGRyZXNzABoAAAAQUm93AAAAAAAQQ29sdW1uAAIAAAAAA0NvbG9yAFUAAAAQQQD/AAAAEFIApgAAABBHAKYAAAAQQgCmAAAAAVNjQQAAAAAAAADwPwFTY1IAAAAAYKVn2D8BU2NHAAAAAGClZ9g/AVNjQgAAAABgpWfYPwAAAzE5AIgAAAADQ2VsbEFkZHJlc3MAGgAAABBSb3cAAAAAABBDb2x1bW4AAwAAAAADQ29sb3IAVQAAABBBAP8AAAAQUgCmAAAAEEcApgAAABBCAKYAAAABU2NBAAAAAAAAAPA/AVNjUgAAAABgpWfYPwFTY0cAAAAAYKVn2D8BU2NCAAAAAGClZ9g/AAADMjAAiAAAAANDZWxsQWRkcmVzcwAaAAAAEFJvdwAAAAAAEENvbHVtbgAEAAAAAANDb2xvcgBVAAAAEEEA/wAAABBSAKYAAAAQRwCmAAAAEEIApgAAAAFTY0EAAAAAAAAA8D8BU2NSAAAAAGClZ9g/AVNjRwAAAABgpWfYPwFTY0IAAAAAYKVn2D8AAAMyMQCIAAAAA0NlbGxBZGRyZXNzABoAAAAQUm93AAAAAAAQQ29sdW1uAAUAAAAAA0NvbG9yAFUAAAAQQQD/AAAAEFIApgAAABBHAKYAAAAQQgCmAAAAAVNjQQAAAAAAAADwPwFTY1IAAAAAYKVn2D8BU2NHAAAAAGClZ9g/AVNjQgAAAABgpWfYPwAAAzIyAIgAAAADQ2VsbEFkZHJlc3MAGgAAABBSb3cAAQAAABBDb2x1bW4AAAAAAAADQ29sb3IAVQAAABBBAP8AAAAQUgDdAAAAEEcA3QAAABBCAN0AAAABU2NBAAAAAAAAAPA/AVNjUgAAAACARCPnPwFTY0cAAAAAgEQj5z8BU2NCAAAAAIBEI+c/AAAAAAJOYW1lABsAAABFeGNlbENvbG9yTW9kZURhdGFQcm9wZXJ0eQAQVmVyc2lvbgABAAAACUxhc3RXcml0ZQBvLDtgi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AAAABf////8kAAAA5w8AAAAAAAAAAAAAfSAAAAVfaWQAEAAAAATwsddCgXS+Q7QKB35qui3+BERhdGEAJSAAAAMwAAUIAAAFX2lkABAAAAAEVzIU5r1o8UylkXw9mvVClAJfdHlwZQBXAAAAZW1wb3dlci5DaGFydHMuRGF0YS5EYXRhQ2hhcnRzLk92ZXJsYXlzLkRhdGEuQ29sdW1uU3VtT3ZlcmxheURhdGEsIGVtcG93ZXIuQ2hhcnRzLkRhdGEAEENvbHVtbgABAAAAEFNlcmllcwD/////A1RleHRFbGVtZW50AOsGAAACQXV0b1NoYXBlVHlwZQAKAAAAUmVjdGFuZ2xlAARBZGp1c3RtZW50cwAFAAAAAAVNYW5hZ2VkSWQAEAAAAASpz2tlAyYUR4xwUA97fLex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CAFC4tQAFXaWR0aAAAAABAifM6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DAqLsqQAACQ29sdW1uU3VtUG9zaXRpb24ADAAAAERlZmF1bHREb2NrAAhEZWxldGVkAAEDTnVtYmVyRm9ybWF0AB8AAAAFX2lkABAAAAAEAAAAAAAAAAAAAAAAAAAAAAAISXNOZXcAAQFGb250U2l6ZQAAAAAAAAAoQAADMQAFCAAABV9pZAAQAAAABIMt0NYwN4VOrXT8LELlpC8CX3R5cGUAVwAAAGVtcG93ZXIuQ2hhcnRzLkRhdGEuRGF0YUNoYXJ0cy5PdmVybGF5cy5EYXRhLkNvbHVtblN1bU92ZXJsYXlEYXRhLCBlbXBvd2VyLkNoYXJ0cy5EYXRhABBDb2x1bW4AAwAAABBTZXJpZXMA/////wNUZXh0RWxlbWVudADrBgAAAkF1dG9TaGFwZVR5cGUACgAAAFJlY3RhbmdsZQAEQWRqdXN0bWVudHMABQAAAAAFTWFuYWdlZElkABAAAAAE7K5BU6tqvkSoGnQBl7Zdqw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gBQuLUABV2lkdGgAAAAAQInzOk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wKi7KkAAAkNvbHVtblN1bVBvc2l0aW9uAAwAAABEZWZhdWx0RG9jawAIJAAAAAUjAAAAJQAAAOcPAAAAAAAAAAAAAERlbGV0ZWQAAQNOdW1iZXJGb3JtYXQAHwAAAAVfaWQAEAAAAAQAAAAAAAAAAAAAAAAAAAAAAAhJc05ldwABAUZvbnRTaXplAAAAAAAAAChAAAMyAAUIAAAFX2lkABAAAAAEaxlrYSyaHkuWFXbqa2aW/QJfdHlwZQBXAAAAZW1wb3dlci5DaGFydHMuRGF0YS5EYXRhQ2hhcnRzLk92ZXJsYXlzLkRhdGEuQ29sdW1uU3VtT3ZlcmxheURhdGEsIGVtcG93ZXIuQ2hhcnRzLkRhdGEAEENvbHVtbgACAAAAEFNlcmllcwD/////A1RleHRFbGVtZW50AOsGAAACQXV0b1NoYXBlVHlwZQAKAAAAUmVjdGFuZ2xlAARBZGp1c3RtZW50cwAFAAAAAAVNYW5hZ2VkSWQAEAAAAASyJojmSo1eQ582Yel0PfrN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CAFC4tQAFXaWR0aAAAAABAifM6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DAqLsqQAACQ29sdW1uU3VtUG9zaXRpb24ADAAAAERlZmF1bHREb2NrAAhEZWxldGVkAAEDTnVtYmVyRm9ybWF0AB8AAAAFX2lkABAAAAAEAAAAAAAAAAAAAAAAAAAAAAAISXNOZXcAAQFGb250U2l6ZQAAAAAAAAAoQAADMwAFCAAABV9pZAAQAAAABAnoMnlcs5VMvobRlO0839ECX3R5cGUAVwAAAGVtcG93ZXIuQ2hhcnRzLkRhdGEuRGF0YUNoYXJ0cy5PdmVybGF5cy5EYXRhLkNvbHVtblN1bU92ZXJsYXlEYXRhLCBlbXBvd2VyLkNoYXJ0cy5EYXRhABBDb2x1bW4ABAAAABBTZXJpZXMA/////wNUZXh0RWxlbWVudADrBgAAAkF1dG9TaGFwZVR5cGUACgAAAFJlY3RhbmdsZQAEQWRqdXN0bWVudHMABQAAAAAFTWFuYWdlZElkABAAAAAEdJBx26Y/0Ue/D+nNYLE9sQ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gBQuLUABV2lkdGgAAAAAQInzOk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wCUAAAAFJAAAAP////+vADgPAAAAAAAAAACouypAAAJDb2x1bW5TdW1Qb3NpdGlvbgAMAAAARGVmYXVsdERvY2sACERlbGV0ZWQAAQNOdW1iZXJGb3JtYXQAHwAAAAVfaWQAEAAAAAQAAAAAAAAAAAAAAAAAAAAAAAhJc05ldwABAUZvbnRTaXplAAAAAAAAAChAAAACTmFtZQAJAAAAT3ZlcmxheXMAEFZlcnNpb24ABQAAAAlMYXN0V3JpdGUAXddO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AAAABP//////////BgAdBwAAAAAAAAAAAAD/////YQBhAAAABV9pZAAQAAAABPpEpk+z6EVItH3Ade1JUBIERGF0YQAFAAAAAAJOYW1lAA0AAABMaW5rRGF0YUxpc3QAEFZlcnNpb24AAQAAAAlMYXN0V3JpdGUAbLJBNZcBAAAAAQAnAAAAAAACAP/////uBu4GAAAFX2lkABAAAAAE5OBxXF3D8kWEJNj6zKLveANEYXRhAIoGAAADV2lnZ2xlU2hhcGVEYXRhAHQGAAACQXV0b1NoYXBlVHlwZQAKAAAAUmVjdGFuZ2xlAAVNYW5hZ2VkSWQAEAAAAAQOhEBffhzqSK1XAf6qT7YYCEhhc0NoYW5nZXMAAAhVc2VOYW1lSW5zdGVhZE9mVGFnQXNJZAABCFNoYXBlUHJldmlvdXNseUNyZWF0ZWQAAQNGaWxsQ29sb3IAVQAAABBBAAAAAAAQUgD/AAAAEEcA/wAAABBCAP8AAAABU2NBAAAAAAAAAAAAAVNjUgAAAAAAAADwPwFTY0cAAAAAAAAA8D8BU2NCAAAAAAAAAPA/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8D8BV2lkdGgAAAAAAAAA8D8BVG9wAAAAAEC76SRAAUxlZnQAAAAAQLvpJ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JOYW1lABUAAABEYXRhQ2hhcnRDb0F1dGhvcmluZwAQVmVyc2lvbgAAAAAACUxhc3RXcml0ZQA+2U41lwEAAAADAC4AAAAAAAQA/////2sAawAAAAVfaWQAEAAAAASiIHVwnM96Q6NxyzQ2sEzoA0RhdGEAEgAAAAhJc1JldmVyc2VkAAAAAk5hbWUACgAAAFdhdGVyZmFsbAAQVmVyc2lvbgAAAAAACUxhc3RXcml0ZQB4jTDTYgEAAAAFAP/////gAOAAAAAFX2lkABAAAAAEHRpcc62+MUa/mvdjXBSr4ANEYXRhAGwAAAAEUG9pbnRNYXJrZXJTdHlsZXMABQAAAAADU2VyaWVzTWFya2VyU3R5bGVzAAUAAAAACFN1cHByZXNzTWFya2VycwAACE1hcmtlcnNTdXBwcmVzc2VkT25QcmV2aW91c0xheW91dAAAAAJOYW1lACUAAABQb2ludEFuZFNlcmllc01hcmtlclN0eWxlRGVmaW5pdGlvbnMAEFZlcnNpb24AAAAAAAlMYXN0V3JpdGUAqNg6Y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wAAAAX/////KAAAAOcPAAAAAAAAAAAAAIJkAAAFX2lkABAAAAAE9JQEVr8Q8kSCxGkjfvf39wNEYXRhAChkAAADRGF0YUxhYmVsc1BlckF4aXMA8WMAAANQcmltYXJ5AONjAAAERGF0YUxhYmVscwCfYwAAAzAAaBgAABBQb2ludEluZGV4AAEAAAACQWxpZ25tZW50AAcAAABDZW50ZXIAEFNlcmllc0luZGV4AAEAAAAIUmVxdWlyZUZvbnRDb2xvck1pZ3JhdGlvbgAACE1hbnVhbERhdGFMYWJlbEJhY2tncm91bmRWaXNpYmxlAAAISGFzV2lzaENvbG9y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DVmFsdWVBeGlzTnVtYmVyRm9ybWF0AB8AAAAFX2lkABAAAAAEAAAAAAAAAAAAAAAAAAAAAAADQ2F0ZWdvcnlBeGlzTnVtYmVyRm9ybWF0AB8AAAAFX2lkABAAAAAEAAAAAAAAAAAAAAAAAAAAAAADVGV4dEJveAC+BgAABU1hbmFnZWRJZAAQAAAABEh/WmiMTDpBrN/QbOYyp6g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FAAAANzEg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VACEZvbnRTdHJpa2V0aHJvdWdoAAAIRm9udFN1YnNjcmlwdAAACEZvbnRTdXBlcnNjcmlwdAAACEZvbnRVbmRlcmxpbmUAAAAIU2l6ZVRvVGV4dFdpZHRoAAEIU2l6ZVRvVGV4dEhlaWdodAABA1RleHRNYXJnaW4APwAAAAFMZWZ0AAAAAMBarfY/AVRvcAAAAACgSCTiPwFSaWdodAAAAADAWq32PwFCb3R0b20AAAAAoEgk4j8AAkRpc3BsYXlUZXh0AAUAAAA3MSAlAAFIZWlnaHQAAAAAAFzSK0ABV2lkdGgAAAAAwDPeOkABVG9wAAAAAGCu1hpAAUxlZnQAAAAAgHBYZ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gGT3J0AAA0xlYWRlckxpbmUA4QYAAANTdGFydAAbAAAAAVgAAAAAAAAAAAABWQAAAAAAAAAAAAADRW5kABsAAAABWAAAAAAAAAAAAAFZAAAAAAAAAAAAAAJTdGFydEFycm93SGVhZAARAAAAbXNvQXJyb3doZWFkTm9uZQACRW5kQXJyb3dIZWFkABEAAABtc29BcnJvd2hlYWROb25lAAVNYW5hZ2VkSWQAEAAAAARUpoMu1nkVTaoMADcT94nJ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SgAAAAFJwAAACkAAADnDwAAAAAAAAAAAAB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BSPCvIRgyRFh6ph5P9MYa8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EAAAAAQRwBAAAAAEEIAQAAAAAFTY0EAAAAAAAAA8D8BU2NSAAAAAID9P6o/AVNjRwAAAACA/T+qPwFTY0IAAAAAgP0/qj8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C8UwZmQAFZAAAAAHAJZylAAAhIYXNMZWFkZXJMaW5lAAAISXNDZW50ZXJBdXRvbWF0aWNBZGp1c3RlZAAACElzVXNlclBvc2l0aW9uAAACUG9zdGZpeAADAAAAICUAAlNlcGFyYXRvcgACAAAACgACVGV4dAADAAAANzEACFJlcXVpcmVSZWxhdGl2ZVBvc2l0aW9uVXBncmFkZQABCElzR2VvbWV0cnlPdXRPZkJvdW5kcwAACElzTGVhZGVyTGluZUluQXV0b01vZGUAAQhEZWxldGVkAAAAAzEAYBkAABBQb2ludEluZGV4AAIAAAACQWxpZ25tZW50AAcAAABDZW50ZXIAEFNlcmllc0luZGV4AAEAAAAIUmVxdWlyZUZvbnRDb2xvck1pZ3JhdGlvbgAACE1hbnVhbERhdGFMYWJlbEJhY2tncm91bmRWaXNpYmxlAAAISGFzV2lzaENvbG9y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DVmFsdWVBeGlzTnVtYmVyRm9ybWF0AB8AAAAFX2lkABAAAAAEAAAAAAAAAAAAAAAAAAAAAAADQ2F0ZWdvcnlBeGlzTnVtYmVyRm9ybWF0AB8AAAAFX2lkABAAAAAEAAAAAAAAAAAAAAAAAAAAAAADVGV4dEJveAC8BgAABU1hbmFnZWRJZAAQAAAABEBGdP3fQDpIhk0GnPy68I8ISGFzQ2hhbmdlcwAACFVzZU5hbWVJbnN0ZWFkT2ZUYWdBc0lkAAEIU2hhcGVQcmV2aW91c2x5Q3JlYXRlZAABA0ZpbGxDb2xvcgBVAAAAEEEA/wAAABBSAPsAAAAQRwC6AAAAEEIAuQAAAAFTY0EAAAAAAAAA8D8BU2NSAAAAAMC13u4/AVNjRwAAAADg4mzfPwFTY0IAAAAAYLIM3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EAAAANiAlAAJUZXh0SG9yaXpvbnRhbEFsaWdubWVudAAQAAAAbXNvQW5jaG9yQ2VudGVy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JUAIRm9udFN0cmlrZXRocm91Z2gAAAhGb250U3Vic2NyaXB0AAAIRm9udFN1cGVyc2NyaXB0AAAIRm9udFVuZGVybGluZQAAAAhTaXplVG9UZXh0V2lkdGgAAQhTaXplVG9UZXh0SGVpZ2h0AAEDVGV4dE1hcmdpbgA/AAAAAUxlZnQAAAAAwFqt9j8BVG9wAAAAAKBIJOI/AVJpZ2h0AAAAAMBarfY/AUJvdHRvbQAAAACgSCTiPwACRGlzcGwpAAAABSgAAAAqAAAA5w8AAAAAAAAAAAAAYXlUZXh0AAQAAAA2ICUAAUhlaWdodAAAAAAAXNIrQAFXaWR0aAAAAACgKQc1QAFUb3AAAAAAoJ8rQUABTGVmdAAAAAAAQ45d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AZPcnQAADTGVhZGVyTGluZQDhBgAAA1N0YXJ0ABsAAAABWAAAAAAA+bBaQAFZAAAAACDrpURAAANFbmQAGwAAAAFYAAAAAABDzlxAAVkAAAAAIOulREAAAlN0YXJ0QXJyb3dIZWFkABEAAABtc29BcnJvd2hlYWROb25lAAJFbmRBcnJvd0hlYWQAEQAAAG1zb0Fycm93aGVhZE5vbmUABU1hbmFnZWRJZAAQAAAABJk2CBsQFtpBvu8HfiBeF2k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UOogQAFUb3AAAAAAIOulREABTGVmdAAAAAAA+bBa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EOOXUABWQAAAAAg66VEQAADRW5kABsAAAABWAAAAAAAQ85cQAFZAAAAACDrpURAAAJTdGFydEFycm93SGVhZAARAAAAbXNvQXJyb3doZWFkTm9uZQACRW5kQXJyb3dIZWFkABEAAABtc29BcnJvd2hlYWROb25lAAVNYW5hZ2VkSWQAEAAAAARzKIlSDh3qRZhh1skPs2pe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CEABVG9wAAAAACDrpURAAUxlZnQAAAAAAEPOXEAIRmxpcEhvcml6b250YWxseQAB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KgAAAAUpAAAAKwAAAOcPAAAAAAAAAAAAAHQAAAAAAAAAAAAITGluZVJ1bGVBZnRlcgAACExpbmVSdWxlQmVmb3JlAAAITGluZVJ1bGVXaXRoaW4AAAFSaWdodEluZGVudAAAAAAAAAAAAAFTcGFjZUFmdGVyAAAAAAAAAAAAAVNwYWNlQmVmb3JlAAAAAAAAAAAAAVNwYWNlV2l0aGluAAAAAAAAAAAAAANDZW50ZXIAGwAAAAFYAAAAABqUF2BAAVkAAAAAMIwqREAACEhhc0xlYWRlckxpbmUAAAhJc0NlbnRlckF1dG9tYXRpY0FkanVzdGVkAAAISXNVc2VyUG9zaXRpb24AAQNDdXN0b21MYWJlbFBvc2l0aW9uAOYAAAABT2Zmc2V0MQAodG2XUOomQAFPZmZzZXQyADB3Apl6vJM/A0xhYmVsT2Zmc2V0VHlwZXMASQAAAAJPZmZzZXRUeXBlMQARAAAAQWJzb2x1dGVEaXN0YW5jZQACT2Zmc2V0VHlwZTIAEQAAAFJlbGF0aXZlRGlzdGFuY2UAAANBbmNob3JQb3NpdGlvbnMAUwAAAAJMYWJlbEFuY2hvclBvc2l0aW9uAAsAAABMZWZ0Q2VudGVyAAJDaGFydFBvaW50QW5jaG9yUG9zaXRpb24ADAAAAFJpZ2h0Q2VudGVyAAAAAlBvc3RmaXgAAwAAACAlAAJTZXBhcmF0b3IAAgAAAAoAAlRleHQAAgAAADYACFJlcXVpcmVSZWxhdGl2ZVBvc2l0aW9uVXBncmFkZQABCElzR2VvbWV0cnlPdXRPZkJvdW5kcwAACElzTGVhZGVyTGluZUluQXV0b01vZGUAAQhEZWxldGVkAAAAAzIAaBgAABBQb2ludEluZGV4AAMAAAACQWxpZ25tZW50AAcAAABDZW50ZXIAEFNlcmllc0luZGV4AAEAAAAIUmVxdWlyZUZvbnRDb2xvck1pZ3JhdGlvbgAACE1hbnVhbERhdGFMYWJlbEJhY2tncm91bmRWaXNpYmxlAAAISGFzV2lzaENvbG9y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DVmFsdWVBeGlzTnVtYmVyRm9ybWF0AB8AAAAFX2lkABAAAAAEAAAAAAAAAAAAAAAAAAAAAAADQ2F0ZWdvcnlBeGlzTnVtYmVyRm9ybWF0AB8AAAAFX2lkABAAAAAEAAAAAAAAAAAAAAAAAAAAAAADVGV4dEJveAC+BgAABU1hbmFnZWRJZAAQAAAABDu4gcdr2J9Ak0B8cDdXNOs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FAAAAMTkg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VACEZvbnRTdHJpa2V0aHJvdWdoAAAIRm9udFN1YnNjcmlwdAAACEZvbnRTdXBlcnNjcmlwdAAACEZvbnRVbmRlcmxpbmUAAAAIU2l6ZVRvVGV4dFdpZHRoAAEIU2l6ZVRvVGV4dEhlaWdodAABA1RleHRNYXJnaW4APwAAAAFMZWZ0AAAAAMBarfY/AVRvcAAAAACgSCTiPwFSaWdodAAAAADAWq32PwFCb3R0b20AAAAAoEgk4j8AAkRpc3BsYXlUZXh0AAUAAAAxOSAlAAFIZWlnaHQAAAAAAFzSK0ABV2lkdGgAAAAAwDPeOkABVG9wAAAAAKBdr05AAUxlZnQAAAAA4GlkW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gGT3J0AAA0xlYWRlckxpbmUA4QYAAANTdGFydAAbAAAAAVgAAAAAYMH+Y0ABWQAAAAAYcMZWQAADRW5kABsAAAABWAAAAAAgKv1lQAFZAAAAABhwxlZAAAJTdGFydEFycm93SGVhZAARAAAAbXNvQXJyb3doZWFkTm9uZQACRW5kQXJyb3dIZWFkABEAAABtc29BcnJvd2hlYWROb25lAAVNYW5hZ2VkSWQAEAAAAAQ1qiRXlkZKRKmGwuI4Yw2u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SsAAAAFKgAAACwAAADnDwAAAAAAAAAAAABrZXRocm91Z2gAAAhGb250U3Vic2NyaXB0AAAIRm9udFN1cGVyc2NyaXB0AAAIRm9udFVuZGVybGluZQAAAAhTaXplVG9UZXh0V2lkdGgAAAhTaXplVG9UZXh0SGVpZ2h0AAADVGV4dE1hcmdpbgA/AAAAAUxlZnQAAAAAAAAAAAABVG9wAAAAAAAAAAAAAVJpZ2h0AAAAAAAAAAAAAUJvdHRvbQAAAAAAAAAAAAABSGVpZ2h0AAAAAAAAAAAAAVdpZHRoAAAAAACM5i9AAVRvcAAAAAAgcMZWQAFMZWZ0AAAAAGDB/mN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gKl1mQAFZAAAAABhwxlZAAANFbmQAGwAAAAFYAAAAACAq/WVAAVkAAAAAGHDGVkAAAlN0YXJ0QXJyb3dIZWFkABEAAABtc29BcnJvd2hlYWROb25lAAJFbmRBcnJvd0hlYWQAEQAAAG1zb0Fycm93aGVhZE5vbmUABU1hbmFnZWRJZAAQAAAABJzJsgUCQNhNjM90zUabb/E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IQAFUb3AAAAAAIHDGVkABTGVmdAAAAAAgKv1lQAhGbGlwSG9yaXpvbnRhbGx5AAEIRmxpcEhvcml6b250YWxseUFwcGxpZWQAAAhGbGlwVmVydGljYWxseQAACEZsaXBWZXJ0aWNhbGx5QXBwbGllZAAAAVJvdGF0aW9uAAAAAAAAAAAAAVpPcmRlcgAAAAAAAAAAAANCb3JkZXJDb2xvcgBVAAAAEEEA/wAAABBSAEAAAAAQRwBAAAAAEEIAQAAAAAFTY0EAAAAAAAAA8D8BU2NSAAAAAMD9P6o/AVNjRwAAAADA/T+qPwFTY0IAAAAAwP0/qj8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BYMMBcQAFZAAAAABgl11BAAAhIYXNMZWFkZXJMaW5lAAAISXNDZW50ZXJBdXRvbWF0aWNBZGp1c3RlZAAACElzVXNlclBvc2l0aW9uAAACUG9zdGZpeAADAAAAICUAAlNlcGFyYXRvcgACAAAACgACVGV4dAADAAAAMTkACFJlcXVpcmVSZWxhdGl2ZVBvc2l0aW9uVXBncmFkZQABCElzR2VvbWV0cnlPdXRPZkJvdW5kcwAACElzTGVhZGVyTGluZUluQXV0b01vZGUAAQhEZWxldGVkAAAAAzMAXhkAABBQb2ludEluZGV4AAQAAAACQWxpZ25tZW50AAcAAABDZW50ZXIAEFNlcmllc0luZGV4AAEAAAAIUmVxdWlyZUZvbnRDb2xvck1pZ3JhdGlvbgAACE1hbnVhbERhdGFMYWJlbEJhY2tncm91bmRWaXNpYmxlAAAISGFzV2lzaENvbG9y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DVmFsdWVBeGlzTnVtYmVyRm9ybWF0AB8AAAAFX2lkABAAAAAEAAAAAAAAAAAAAAAAAAAAAAADQ2F0ZWdvcnlBeGlzTnVtYmVyRm9ybWF0AB8AAAAFX2lkABAAAAAEAAAAAAAAAAAAAAAAAAAAAAADVGV4dEJveAC6BgAABU1hbmFnZWRJZAAQAAAABNZzx7ki9aFAq79nruFyoLsISGFzQ2hhbmdlcwAACFVzZU5hbWVJbnN0ZWFkT2ZUYWdBc0lkAAEIU2hhcGVQcmV2aW91c2x5Q3JlYXRlZAABA0ZpbGxDb2xvcgBVAAAAEEEA/wAAABBSAPsAAAAQRwC6AAAAEEIAuQAAAAFTY0EAAAAAAAAA8D8BU2NSAAAAAMC13u4/AVNjRwAAAADg4mzfPwFTY0IAAAAAYLIM3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EAAAANCAlAAJUZXh0SG9yaXpvbnRhbEFsaWdubWVudAAOAAAAbXNvQW5jaG9yTm8sAAAABSsAAAAtAAAA5w8AAAAAAAAAAAAA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lQAhGb250U3RyaWtldGhyb3VnaAAACEZvbnRTdWJzY3JpcHQAAAhGb250U3VwZXJzY3JpcHQAAAhGb250VW5kZXJsaW5lAAAACFNpemVUb1RleHRXaWR0aAABCFNpemVUb1RleHRIZWlnaHQAAQNUZXh0TWFyZ2luAD8AAAABTGVmdAAAAADAWq32PwFUb3AAAAAAoEgk4j8BUmlnaHQAAAAAwFqt9j8BQm90dG9tAAAAAKBIJOI/AAJEaXNwbGF5VGV4dAAEAAAANCAlAAFIZWlnaHQAAAAAAFzSK0ABV2lkdGgAAAAAoCkHNUABVG9wAAAAACDQLFZAAUxlZnQAAAAAQKJ5W0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gGT3J0AAA0xlYWRlckxpbmUA4QYAAANTdGFydAAbAAAAAVgAAAAAQLSDWUABWQAAAADg9elXQAADRW5kABsAAAABWAAAAABAorlaQAFZAAAAAOD16VdAAAJTdGFydEFycm93SGVhZAARAAAAbXNvQXJyb3doZWFkTm9uZQACRW5kQXJyb3dIZWFkABEAAABtc29BcnJvd2hlYWROb25lAAVNYW5hZ2VkSWQAEAAAAARGXiZev9fbRr1VI/ZSBtkW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OBeE0ABVG9wAAAAAOD16VdAAUxlZnQAAAAAQLSDWU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ECieVtAAVkAAAAA4PXpV0AAA0VuZAAbAAAAAVgAAAAAQKK5WkABWQAAAADg9elXQAACU3RhcnRBcnJvd0hlYWQAEQAAAG1zb0Fycm93aGVhZE5vbmUAAkVuZEFycm93SGVhZAARAAAAbXNvQXJyb3doZWFkTm9uZQAFTWFuYWdlZElkABAAAAAEfaVY0tI5J0GCyiMy9s1G2w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LQAAAAUsAAAA/////xgFzwoAAAAAAAAAAAFMZWZ0AAAAAAAAAAAAAVRvcAAAAAAAAAAAAAFSaWdodAAAAAAAAAAAAAFCb3R0b20AAAAAAAAAAAAAAUhlaWdodAAAAAAAAAAAAAFXaWR0aAAAAAAAAAAIQAFUb3AAAAAA4PXpV0ABTGVmdAAAAABAorlaQAhGbGlwSG9yaXpvbnRhbGx5AAE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B0hxpeQAFZAAAAAGhGrFdAAAhIYXNMZWFkZXJMaW5lAAAISXNDZW50ZXJBdXRvbWF0aWNBZGp1c3RlZAAACElzVXNlclBvc2l0aW9uAAEDQ3VzdG9tTGFiZWxQb3NpdGlvbgDmAAAAAU9mZnNldDEA4BwqE99eH0ABT2Zmc2V0MgBvXi1mXQeCPgNMYWJlbE9mZnNldFR5cGVzAEkAAAACT2Zmc2V0VHlwZTEAEQAAAEFic29sdXRlRGlzdGFuY2UAAk9mZnNldFR5cGUyABEAAABSZWxhdGl2ZURpc3RhbmNlAAADQW5jaG9yUG9zaXRpb25zAFMAAAACTGFiZWxBbmNob3JQb3NpdGlvbgALAAAATGVmdENlbnRlcgACQ2hhcnRQb2ludEFuY2hvclBvc2l0aW9uAAwAAABSaWdodENlbnRlcgAAAAJQb3N0Zml4AAMAAAAgJQACU2VwYXJhdG9yAAIAAAAKAAJUZXh0AAIAAAA0AAhSZXF1aXJlUmVsYXRpdmVQb3NpdGlvblVwZ3JhZGUAAAhJc0dlb21ldHJ5T3V0T2ZCb3VuZHMAAAhJc0xlYWRlckxpbmVJbkF1dG9Nb2RlAAEIRGVsZXRlZAAAAAAITGFiZWxzVmlzaWJsZQABCEF1dG9tYXRpY0xhYmVsQmFja2dyb3VuZHNFbmFibGVkAAEAAAhEaXNhYmxlQXV0b21hdGljRGVhY3RpdmF0aW9uAAAAAk5hbWUACwAAAERhdGFMYWJlbHMAEFZlcnNpb24ACQAAAAlMYXN0V3JpdGUAtC5Q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4AAAAF/////y8AAADnDwAAAAAAAAAAAAAXKAAABV9pZAAQAAAABPvrCWvOH+RMs6W7UU1xydMDRGF0YQC/JwAABFNhdmVkQXhpc0xhYmVsRGF0YQCmJwAAAzAAtw0AAAJBeGlzVHlwZQAIAAAAeGxWYWx1ZQACQXhpc0dyb3VwAAoAAAB4bFByaW1hcnkACFNjaGVtZUNvbG9yQXBwbGllZAAACEZvbnRTdHlsZVVuZGVybGluZWQAAAhBcHBseU92ZXJhbGxGb250c2l6ZQABCElzVmlzaWJsZQAACFhsQXV0b21hdGljQ29sb3JJbmRleEFwcGxpZWQAAAhVc2VFeGNlbEZvcm1hdHNXaGVuRGF0ZUF4aXMAAANBeGlzVGl0bGVEYXRhAJQIAAADUG9zaXRpb24AOgAAAAJBbmNob3IACwAAAEF4aXNDZW50ZXIAAVJlbGF0aXZlQW5jaG9yT2Zmc2V0AAAAAAAAAAAAAAhXYW50VG9CZVZpc2libGUAAANUZXh0Qm94RGF0YQCvBgAABU1hbmFnZWRJZAAQAAAABNxO3GikDCBKnE23xk40D7Q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0AAABtc29BbGlnbkxlZnQAAlRleHRWZXJ0aWNhbEFsaWdubWVudAANAAAAbXNvQW5jaG9yVG9w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AAAAAAABQm90dG9tAAAAAAAAAAAAAAJEaXNwbGF5VGV4dAABAAAAAAFIZWlnaHQAAAAAwI5AA0ABV2lkdGgAAAAAoJmZuT8BVG9wAAAAAAAAABBAAUxlZnQAAAAAAAAAE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AMJzAkAAA1Bvc3NpYmxlQXJlYQ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AAhVc2VBdXRvbWF0aWNNYWpvclVuaXQAAQhVc2VBdXRvbWF0aWNNaW5pbXVtU2NhbGUAAQhVc2VBdXRvbWF0aWNNYXhpbXVtU2NhbGUAAQNGb250Q29sb3IAVQAAABBBAP8AAAAQUgBAAAAAEEcAQAAAABBCAEAAAAABU2NBAAAAAAAAAPA/AVNjUgAAAADA/T+qPwFTY0cAAAAAwP0/qj8BU2NCAAAAAMD9P6o/ABBGb250U2NoZW1lQ29sb3IAAgAAABBGb250VGhlbWVDb2xvcgAAAAAAAUZvbnRUaW50QW5kU2hhZGUAAAAAAAAAAAACTGFiZWxQb3NpdGlvbgAFAAAATm9uZQADQXhpc0xpbmVTdHlsZQAzAQAAAl90eXBlAHIAAABtaW8uQ29tbW9uLlBvd2VyUG9pbnQuTWFuYWdlZC5Db250cmFjdHMuQ3VzdG9taXppbmcuU3R5bGVzLkF4aXNMaW5lU3R5bGUsIG1pby5Db21tb24uUG93ZXJQb2ludC5NYW5hZ2VkLkNvbnRyYWN0cwABTGluZVdlaWdodAAAAAAAAADgPwJEYXNoU3R5bGUACgAAAExpbmVTb2xpZAAIVmlzaWJsZQABA0NvbG9yAHMAAAAQVGhlbWVDb2xvcgANAAAAAVRpbnRBbmRTaGFkZQAAAAAAAAAAABBUaW50SW5kZXgA/////xBTY2hlbWVDb2xvcgAAAAAAA0NvbG9yACEAAAAQQQAAAAAAEFIA/wAAABBHAP8AAAAQQgD/AAAAAAAAA051bWJlckZvcm1hdAAfAAAABV9pZAAQAAAABAAAAAAAAAAAAAAAAAA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AAMxACcMAAACQXhpc1R5cGUACAAAAHhsVmFsdWUAAkF4aXNHcm91cAAMAAAAeGxTZWNvbmRhcnkACFNjaGVtZUNvbG9yQXBwbGllZAAACEZvbnRTdHlsZVVuZGVybGluZWQAAAhBcHBseU92ZXJhbGxGb250c2l6ZQAACElzVmlzaWJsZQAACFhsQXV0b21hdGljQ29sb3JJbmRleEFwcGxpZWQAAAhVc2VFeGNlbEZvcm1hdHNXaGVuRGF0ZUF4aXMAAANBeGlzVGl0bGVEYXRhAEcIAAADUG9zaXRpb24AOgAAAAJBbmNob3IACwAAAEF4aXNDZW50ZXIAAVJlbGF0aXZlQW5jaG9yT2Zmc2V0AAAAAAAAAAAAAAhXYW50VG9CZVZpc2libGUAAANUZXh0Qm94RGF0YQBiBgAABU1hbmFnZWRJZAAQAAAABINjYrLYmERIhaGUpkBK23AISGFzQ2hhbmdlcwABCFVzZU5hbWVJbnN0ZWFkT2ZUYWdBc0lkAAEIU2hhcGVQcmV2aW91c2x5Q3JlYXRlZAAAA0ZpbGxDb2xvcgBVAAAAEEEAAAAAABBSAAAAAAAQRwAAAAAAEEIAAAAAAAFTY0EAAAAAAAAA8L8BU2NSAAAAAAAAAPC/AVNjRwAAAAAAAAAvAAAABS4AAAAwAAAA5w8AAAA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DQAAAG1zb0FsaWduTGVmdAACVGV4dFZlcnRpY2FsQWxpZ25tZW50AA0AAABtc29BbmNob3JUb3AAA0ZvbnRTdHlsZQAsAQAAEEZvbnRCYWNrZ3JvdW5kAAAAAAAIRm9udEJvbGQAAANGb250Q29sb3IAVQAAABBBAP8AAAAQUgAAAAAAEEcAAAAAABBCAAAAAAABU2NBAAAAAAAAAPA/AVNjUgAAAAAAAAAAAAFTY0cAAAAAAAAAAAABU2NCAAAAAAAAAAAAABBGb250VGhlbWVDb2xvcgAAAAAAAUZvbnRUaW50QW5kU2hhZGUAAAAAAAAAAAAQRm9udFNjaGVtZUNvbG9yAAAAAAAIRm9udEl0YWxpYwAAAUZvbnRTaXplAAAAAAAAAChACEZvbnRTdHJpa2V0aHJvdWdoAAAIRm9udFN1YnNjcmlwdAAACEZvbnRTdXBlcnNjcmlwdAAACEZvbnRVbmRlcmxpbmUAAAAIU2l6ZVRvVGV4dFdpZHRoAAEIU2l6ZVRvVGV4dEhlaWdodAABA1RleHRNYXJnaW4APwAAAAFMZWZ0AAAAAAAAAAAAAVRvcAAAAAAAAAAAAAFSaWdodAAAAAAAAAAAAAFCb3R0b20AAAAAAAAAAAAAAUhlaWdodAAAAAAAAAAAAAFXaWR0aAAAAAAAAAAAAAFUb3AAAAAAAAAAEEABTGVmdAAAAAAAAAAQ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G9zc2libGVBcmVhAG8BAAABWAAAAAAAAAAAAAFZAAAAAAAAAAAAAVdpZHRoAAAAAAAAAAAAAUhlaWdodAAAAAAAAAAAAAFMZWZ0AAAAAAAAAAAAAVRvcAAAAAAAAAAAAAFSaWdodAAAAAAAAAAAAAFCb3R0b20AAAAAAAAAAAADVG9wTGVmdAAbAAAAAVgAAAAAAAAAAAABWQAAAAAAAAAAAAADVG9wUmlnaHQAGwAAAAFYAAAAAAAAAAAAAVkAAAAAAAAAAAAAA0JvdHRvbUxlZnQAGwAAAAFYAAAAAAAAAAAAAVkAAAAAAAAAAAAAA0JvdHRvbVJpZ2h0ABsAAAABWAAAAAAAAAAAAAFZAAAAAAAAAAAAAANTaXplAC4AAAAISXNFbXB0eQAAAVdpZHRoAAAAAAAAAAAAAUhlaWdodAAAAAAAAAAAAAADTG9jYXRpb24AGwAAAAFYAAAAAAAAAAAAAVkAAAAAAAAAAAAACElzRW1wdHkAAAAACFVzZUF1dG9tYXRpY01ham9yVW5pdAABCFVzZUF1dG9tYXRpY01pbmltdW1TY2FsZQABCFVzZUF1dG9tYXRpY01heGltdW1TY2FsZQABA0ZvbnRDb2xvcgBVAAAAEEEAAAAAABBSAAAAAAAQRwAAAAAAEEIAAAAAAAFTY0EAAAAAAAAAAAABU2NSAAAAAAAAAAAAAVNjRwAAAAAAAAAAAAFTY0IAAAAAAAAAAAAAEEZvbnRTY2hlbWVDb2xvcgAAAAAAEEZvbnRUaGVtZUNvbG9yAAAAAAABRm9udFRpbnRBbmRTaGFkZQAAAAAAAAAAAAJMYWJlbFBvc2l0aW9uAAIAAAAw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DMgC6DQAAAkF4aXNUeXBlAAsAAAB4bENhdGVnb3J5AAJBeGlzR3JvdXAACgAAAHhsUHJpbWFyeQAIU2NoZW1lQ29sb3JBcHBsaWVkAAEIRm9udFN0eWxlVW5kZXJsaW5lZAAACEFwcGx5T3ZlcmFsbEZvbnRzaXplAAEISXNWaXNpYmxlAAEIWGxBdXRvbWF0aWNDb2xvckluZGV4QXBwbGllZAAACFVzZUV4Y2VsRm9ybWF0c1doZW5EYXRlQXhpcwABA0F4aXNUaXRsZURhdGEAlAgAAANQb3NpdGlvbgA6AAAAAkFuY2hvcgALAAAAQXhpc0NlbnRlcgABUmVsYXRpdmVBbmNob3JPZmZzZXQAAAAAAAAAAAAACFdhbnRUb0JlVmlzaWJsZQAAA1RleHRCb3hEYXRhAK8GAAAFTWFuYWdlZElkABAAAAAEGBwJczXWZ0qidLmRn9OEq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DQAAAG1zb0FsaWduTGVmdAACVGV4dFZlcnRpY2FsQWxpZ25tZW50AA0AAABtc29BbmNob3JUb3A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AAAAAAAAFCb3R0b20AAAAAAAAAAAAAAkRpc3BsYXlUZXh0AAEAAAAAAUhlaWdodAAAAADAjkADQAFXaWR0aAAAAACgmZm5PwFUb3AAAAAAAAAAEEABTGVmdAAAAAAAAAAQQAhGbGlwSG9yaXpvbnRhMAAAAAUvAAAA/////0kIngcAAAAAAAAAAGxseQAACEZsaXBIb3Jpem9udGFsbHlBcHBsaWVkAAAIRmxpcFZlcnRpY2FsbHkAAAhGbGlwVmVydGljYWxseUFwcGxpZWQAAAFSb3RhdGlvbgAAAAAAAOBwQ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AMJzAkAAA1Bvc3NpYmxlQXJlYQ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AAhVc2VBdXRvbWF0aWNNYWpvclVuaXQAAQhVc2VBdXRvbWF0aWNNaW5pbXVtU2NhbGUAAQhVc2VBdXRvbWF0aWNNYXhpbXVtU2NhbGUAAQNGb250Q29sb3IAVQAAABBBAP8AAAAQUgBAAAAAEEcAQAAAABBCAEAAAAABU2NBAAAAAAAAAPA/AVNjUgAAAADA/T+qPwFTY0cAAAAAwP0/qj8BU2NCAAAAAMD9P6o/ABBGb250U2NoZW1lQ29sb3IAAgAAABBGb250VGhlbWVDb2xvcgAAAAAAAUZvbnRUaW50QW5kU2hhZGUAAAAAAAAAAAACTGFiZWxQb3NpdGlvbgAFAAAATm9uZQADQXhpc0xpbmVTdHlsZQAzAQAAAl90eXBlAHIAAABtaW8uQ29tbW9uLlBvd2VyUG9pbnQuTWFuYWdlZC5Db250cmFjdHMuQ3VzdG9taXppbmcuU3R5bGVzLkF4aXNMaW5lU3R5bGUsIG1pby5Db21tb24uUG93ZXJQb2ludC5NYW5hZ2VkLkNvbnRyYWN0cwABTGluZVdlaWdodAAAAAAAAADgPwJEYXNoU3R5bGUACgAAAExpbmVTb2xpZAAIVmlzaWJsZQABA0NvbG9yAHMAAAAQVGhlbWVDb2xvcgANAAAAAVRpbnRBbmRTaGFkZQAAAAAAAAAAABBUaW50SW5kZXgA/////xBTY2hlbWVDb2xvcgAAAAAAA0NvbG9yACEAAAAQQQAAAAAAEFIA/wAAABBHAP8AAAAQQgD/AAAAAAAAA051bWJlckZvcm1hdAAfAAAABV9pZAAQAAAABAAAAAAAAAAAAAAAAAA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AAAAAk5hbWUACQAAAEF4ZXNEYXRhABBWZXJzaW9uAAUAAAAJTGFzdFdyaXRlALQuU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EAAAAE//////////8DAJ8GAAAAAAAAAAAAADIAAAAAAAEA/////80AzQAAAAVfaWQAEAAAAARQOzB7KYrrQKOsZEw6vXasA0RhdGEAYQAAAAhIYXNTdHlsZVJlcG9zaXRvcnlCZWVuTWlncmF0ZWQAAQhIYXNCb3JkZXJTdHlsZUJlZW5NaWdyYXRlZAABCEhhc0NoYXJ0QmVlbkxheW91dGVkRm9yRmxleAABAAJOYW1lAB0AAABDaGFydFN0eWxlU3RhdHVzSW5mb3JtYXRpb25zABBWZXJzaW9uAAAAAAAJTGFzdFdyaXRlAFfXTjWXAQAAAAIA/////2MIYwgAAAVfaWQAEAAAAATBHKR+6yNYT6aonVrUaMW8A0RhdGEABwgAAARQb2ludENvbG9ySW5kaWNlcwDNBgAAAzAA9QAAABBTZXJpZXNJbmRleAABAAAAEFBvaW50SW5kZXgAAQAAAANDb2xvcgBVAAAAEEEA/wAAABBSAPsAAAAQRwC6AAAAEEIAuQAAAAFTY0EAAAAAAAAA8D8BU2NSAAAAAMC13u4/AVNjRwAAAADA4mzfPwFTY0IAAAAAYLIM3z8AA0NvbG9ySW5kZXhJbkN1c3RvbWl6aW5nAFoAAAAQVGhlbWVDb2xvclNjaGVtZUluZGV4AP////8CSW5kZXgABwAAAE5vVGludAAISXNEZWZhdWx0Q29sb3IAABBEZWZhdWx0Q29sb3JJbmRleAD/////AAADMQD1AAAAEFNlcmllc0luZGV4AAEAAAAQUG9pbnRJbmRleAACAAAAA0NvbG9yAFUAAAAQQQD/AAAAEFIA+wAAABBHALoAAAAQQgC5AAAAAVNjQQAAAAAAAADwPwFTY1IAAAAAwLXe7j8BU2NHAAAAAMDibN8/AVNjQgAAAABgsgzfPwADQ29sb3JJbmRleEluQ3VzdG9taXppbmcAWgAAABBUaGVtZUNvbG9yU2NoZW1lSW5kZXgA/////wJJbmRleAAHAAAATm9UaW50AAhJc0RlZmF1bHRDb2xvcgAAEERlZmF1bHRDb2xvckluZGV4AP////8AAAMyAPUAAAAQU2VyaWVzSW5kZXgAAQAAABBQb2ludEluZGV4AAMAAAADQ29sb3IAVQAAABBBAP8AAAAQUgD7AAAAEEcAugAAABBCALkAAAABU2NBAAAAAAAAAPA/AVNjUgAAAADAtd7uPwFTY0cAAAAAwOJs3z8BU2NCAAAAAGCyDN8/AANDb2xvckluZGV4SW5DdXN0b21pemluZwBaAAAAEFRoZW1lQ29sb3JTY2hlbWVJbmRleAD/////AkluZGV4AAcAAABOb1RpbnQACElzRGVmYXVsdENvbG9yAAAQRGVmYXVsdENvbG9ySW5kZXgA/////wAAAzMA9QAAABBTZXJpZXNJbmRleAABAAAAEFBvaW50SW5kZXgABAAAAANDb2xvcgBVAAAAEEEA/wAAABBSAPsAAAAQRwC6AAAAEEIAuQAAAAFTY0EAAAAAAAAA8D8BU2NSAAAAAMC13u4/AVNjRwAAAADA4mzfPwFTY0IAAAAAYLIM3z8AA0NvbG9ySW5kZXhJbkN1c3RvbWl6aW5nAFoAAAAQVGhlbWVDb2xvclNjaGVtZUluZGV4AP////8CSW5kZXgABwAAAE5vVGludAAISXNEZWZhdWx0Q29sb3IAABBEZWZhdWx0Q29sb3JJbmRleAD/////AAADNAD1AAAAEFNlcmllc0luZGV4AAEAAAAQUG9pbnRJbmRleAAFAAAAA0NvbG9yAFUAAAAQQQD/AAAAEFIA+wAAABBHALoAAAAQQgC5AAAAAVNjQQAAAAAAAADwPwFTY1IAAAAAwLXe7j8BU2NHAAAAAMDibN8/AVNjQgAAAABgsgzfPwADQ29sb3JJbmRleEluQ3VzdG9taXppbmcAWgAAABBUaGVtZUNvbG9yU2NoZW1lSW5kZXgA/////wJJbmRleAAHAAAATm9UaW50AAhJc0RlZmF1bHRDb2xvcgAAEERlZmF1bHRDb2xvckluZGV4AP////8AAAM1APUAAAAQU2VyaWVzSW5kZXgAAQAAABBQb2ludEluZGV4AAYAAAADQ29sb3IAVQAAABBBAP8AAAAQUgD7AAAAEEcAugAAABBCALkAAAABU2NBAAAAAAAAAPA/AVNjUgAAAADAtd7uPwFTY0cAAAAAwOJs3z8BU2NCAAAAAGCyDN8/AANDb2xvckluZGV4SW5DdXN0b21pemluZwBaAAAAEFRoZW1lQ29sb3JTY2hlbWVJbmRleAD/////AkluZGV4AAcAAABOb1RpbnQACElzRGVmYXVsdENvbG9yAAAQRGVmYXVsdENvbG9ySW5kZXgA/////wAAAzYA9QAAABBTZXJpZXNJbmRleAABAAAAEFBvaW50SW5kZXgABwAAAANDb2xvcgBVAAAAEEEA/wAAABBSAPsAAAAQRwC6AAAAEEIAuQAAAAFTY0EAAAAAAAAA8D8BU2NSAAAAAMC13u4/AVNjRwAAAADA4mzfPwFTY0IAAAAAYLIM3z8AA0NvbG9ySW5kZXhJbkN1c3RvbWl6aW5nAFoAAAAQVGhlbWVDb2xvclNjaGVtZUluZGV4AP////8CSW5kZXgABwAAAE5vVGludAAISXNEZWZhdWx0Q29sb3IAABBEZWZhdWx0Q29sb3JJbmRleAD/////AAAABFNlcmllc0NvbG9ySW5kaWNlcwDtAAAAAzAA5QAAABBTZXJpZXNJbmRleAABAAAAA0NvbG9yAFUAAAAQQQD/AAAAEFIA+wAAABBHALoAAAAQQgC5AAAAAVNjQQAAAAAAAADwPwFTY1IAAAAAwLXe7j8BU2NHAAAAAMDibN8/AVNjQgAAAABgsgzfPwADQ29sb3JJbmRleEluQ3VzdG9taXppbmcAWgAAABBUaGVtZUNvbG9yU2NoZW1lSW5kZXgA/////wJJbmRleAAHAAAATm9UaW50AAhJc0RlZmF1bHRDb2xvcgAAEERlZmF1bHRDb2xvckluZGV4AP////8AAAAETmVnYXRpdmVTZXJpZXNDb2xvckluZGljZXMABQAAAAAAAk5hbWUADQAAAENvbG9ySW5kaWNlcwAQVmVyc2lvbgACAAAACUxhc3RXcml0ZQCTUmjgh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yAAAABf////8zAAAA5w8AAAAAAAAAAAAAVSsAAAVfaWQAEAAAAARGkSN3jwhcRYGPj7V1NkGxA0RhdGEA+ioAAAVEYXRhAOoqAAAAUEsDBBQABgAIAAAAIQA3Mb2RewEAAIQF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VEtvwjAMvk/af6hynWhgh2maKBz2OG5IsB8QGreNaJMoNgz+/dzw0DQBFYJLoybx97AdD8frpk5WENA4m4lB2hcJ2NxpY8tMfM8+es8iQVJWq9pZyMQGUIxH93fD2cYDJhxtMRMVkX+REvMKGoWp82D5pHChUcS/oZRe5QtVgnzs959k7iyBpR61GGI0fINCLWtK3te8vVUyN1Ykr9t7LVUmlPe1yRWxULmy+h9JzxWFyUG7fNkwdIo+gNJYAVBTpz4YZgxTIGJjKORRzgA1Xka6c5VyZBSGlfH4wNZPMLQnp13t4r64HMFoSCYq0Kdq2Ltc1/LHhcXcuUV6HuTS1MQUpY0ydq/7DH+8jDIugxsLaf1F4A4dxD0GMn6vlxBhOgiRNjXgrdMeQbuYKxVAT4m7t7y5gL/YXSlXc86ApHa5ddkj6Dl+ftKT4Dzy1AhweRX2T7SN7nkGgkAGDo/0WLMfGHnkXF12aGeaBn2EW8YZOvoFAAD//wMAUEsDBBQABgAIAAAAIQC1VTAj9A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JNT8MwDIbvSPyHyPfV3ZAQQkt3QUi7IVR+gEncD7WNoyQb3b8nHBBUGoMDR3+9fvzK2908jerIIfbiNKyLEhQ7I7Z3rYaX+nF1ByomcpZGcazhxBF21fXV9plHSnkodr2PKqu4qKFLyd8jRtPxRLEQzy5XGgkTpRyGFj2ZgVrGTVneYviuAdVCU+2thrC3N6Dqk8+bf9eWpukNP4g5TOzSmRXIc2Jn2a58yGwh9fkaVVNoOWmwYp5yOiJ5X2RswPNEm78T/XwtTpzIUiI0Evgyz0fHJaD1f1q0NPHLnXnENwnDq8jwyYKLH6jeAQAA//8DAFBLAwQUAAYACAAAACEAyOMHH7MDAABXCAAADwAAAHhsL3dvcmtib29rLnhtbKxWXW/iOBR9X2n/Qybb1zQfJIFEDSNKqBapO6poZ+YFCZnkQqwmdtZ2Ct3R/Pe9TgilZR66M4vAju34+Bzfc22uPu6r0ngCISlnieleOqYBLOM5ZdvE/PxwY41MQyrCclJyBon5DNL8OP79t6sdF49rzh8NBGAyMQul6ti2ZVZAReQlr4HhyIaLiihsiq0tawEklwWAqkrbc5zQrghlZocQi/dg8M2GZpDyrKmAqQ5EQEkU0pcFrWWPVmXvgauIeGxqK+NVjRBrWlL13IKaRpXF8y3jgqxLlL13A2Mv8Bviz3Ww8PqVcOhsqYpmgku+UZcIbXekz/S7ju26r7Zgf74H70PybQFPVMfwyEqEP8kqPGKFL2Cu88toLlqr9UqMm/eTaMGRm2eOrza0hC+ddQ1S159IpSNVmkZJpJrlVEGemENs8h28dKAq0dTXDS1x1BuF3sC0x0c73wkD3Q8dVkpBwkSsgSpZ4Qqg30RjTEoFghEFU84U+vCg61c912JPC44ONxbwd0MFYGKhv1ArliSLyVreEVUYjSgTcxovP0uUv8wKQaWijFxi9jWAGcfYclLXKVFkecszUi4foKqXwXAziCByhhCFvuNCtN4EXkiG68DznXAIyxNLk/P8+Q+mJpneKRu3qpPTPb/dNlQl4t64d0oY+DxPbzF49+QJQ4mGyQ+ZPsdYuYMVy0Tsrr55s2CS3qSBNXLDG8sPZ1NrkkahFU49L3KcwImi9DuKEWGccdKo4uASDZ2YPlribOgvsu9HXCduaP5C45tz+Fi6flP0Y9+1YH0efqGwky9+0k1DFnx3r8+9Bwxgq2v/lbKc7xLT8jAEKPS57xhE2Nq1o19prorEjELn2PUn0G2BGgJf9ymyXuijD5kHOlmFp5kn5ivGacf4Bj+WLl4xtk8otyczUm9rg7XZNGd1o/AG0OTbGGDyxHoJMc/dNsb9rBw2lEGuEwcxTloHpIryVVYQoeQKaZewElrJas2V4pXOUbRpu0d6GdRW0DwHfSWZ45bEh4vZhXdlnwD/aBXBtjpwC747ThvEF4P3zNMpghcJ5nTZVKyf/sdidvPhzfRTEqgViWf62MCq445O4CXc038AHb1JzIkbzzy9WfrAWkDG8b59xhnoTH5oasn4AuzVrVRtjTlOMZKu70yGTuRbzmwQWP4o8qyRP/CsqZ9iFgxn6ew60FbXl3D8f1xF7VET97e71qWD9iBI9oj/CRawuSYSc7MLPvLF1O5Z2/2s8b8AAAD//wMAUEsDBBQABgAIAAAAIQCBPpSX8wAAALoC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Uk1LxDAQvQv+hzB3m3YVEdl0LyLsVesPCMm0KdsmITN+9N8bKrpdWNZLLwNvhnnvzcd29zUO4gMT9cErqIoSBHoTbO87BW/N880DCGLtrR6CRwUTEuzq66vtCw6acxO5PpLILJ4UOOb4KCUZh6OmIkT0udKGNGrOMHUyanPQHcpNWd7LtOSA+oRT7K2CtLe3IJopZuX/uUPb9gafgnkf0fMZCUk8DXkA0ejUISv4wUX2CPK8/GZNec5rwaP6DOUcq0seqjU9fIZ0IIfIRx9/KZJz5aKZu1Xv4XRC+8opv9vyLMv072bkycfV3wAAAP//AwBQSwMEFAAGAAgAAAAhALtFymN+AwAAmgcAABgAAAB4bC93b3Jrc2hlZXRzL3NoZWV0MS54bWycU9uO2jAQfa/Uf7D8Tm6wCCLCqt3tqrxUVbeXZ8eZEAs7Tm2Hi6r+e8cJCVuhVmgjYpzxzDln7OPV/VFJsgdjha4zGgcRJVBzXYh6m9FvX58mC0qsY3XBpK4hoyew9H799s3qoM3OVgCOIEJtM1o516RhaHkFitlAN1DjSqmNYg4/zTa0jQFWdEVKhkkUzUPFRE17hNTcgqHLUnB41LxVULsexIBkDvXbSjR2QFP8FjjFzK5tJlyrBiFyIYU7daCUKJ5utrU2LJfY9zGeMU6OBn8JvtOBpotfMSnBjba6dAEih73m6/aX4TJkfES67v8mmHgWGtgLf4AXqOR1kuK7ESu5gE1fCTYfwfx2mbQVRUZ/Redngv+xH6LLMKz9putV55PPhqAZ4RNTeAbP3m6bumkdDderQqADfNfEQJnRd3H6IfHxru67gIN9MSeO5c8ggTtADTEl3r651jufuMFQ5Bm7BI/IuBN7eAApM/oexdufHQdOkSAcGV7OB7anzvCoO2cWHrT8IQpXISVerAJK1kp3CS6D5G4Mf9GHjyC2lcPkebBY/vVQwlvrtBozcEO9I9Pi9AiW41XAFoJOHtcSteBIlPBXGp3Mjn3PZymzIPa81p28s/Gge+xBqe9xLMfVrhzzD315L/pcjHvzn+L5wD2fLmb/AvA72mn+AwAA//8AAAD//5SSTQ6CMBCFr0J6AKD8KaQ0UdB4jaY24gIwFFFv75Sa0sLKLtrJe19mMi8lshFirNnIKBn6lzeUCCNPPlgnoSpSqGeFP+XYt+d+aNk4Cw08EaDauIj7TSkgvHHCeHH91EJy0YEW+jGihKvWB9W7RAnyQJegTjQkwURJwH/EURMw1xCRS1RbInaJekskMwAAAAUyAAAANAAAAOcPAAAAAAAAAAAAAC5x0gTcZkpqiAByMGFEbhjzjpm/z53zbwqqKaRnTcerFDShcpvobmVWtpmtVrc9nK+2ts0lEb1vsHyELwAAAP//AAAA//90jkEOgkAMRa8y6QEEFEUMw96FiQknGKTARJxOSomJp3fQENzYVf//r+kvvOnwYrizblQDtqIh3mSg2Hb9sgv5j3vM0jjZZ2n+nQOomkTo8Sfs0TTIc7gD1RLJIqKymL9WKJNX3njkyr5QQw6K2KITI5acBk8sbKyENifbaOBzk0A4FlMPeDUso7rR5ELNBH7cld7OdLTiQTyJ72OPKOUbAAD//wMAUEsDBBQABgAIAAAAIQB+t04+agQAAJwPAAATAAAAeGwvdGhlbWUvdGhlbWUxLnhtbMxXW2+jOBR+X2n/g8U7DXdC1XREIGhXmtVK2xnts8t9aiDCTi8a9b/PsU0Ah3Q70+1Ik7yA+Xz8+Vy+Y199eGwIus97WnftRjMvDA3lbdpldVtutM+fEn2tIcpwm2HStflGe8qp9uH699+u8CWr8iZHML+ll3ijVYztL1crmsIwphfdPm/hW9H1DWbw2perrMcPYLchK8swvFWD61ZDLW7A7N9FUac5+sRNatdH4zsCry2jfCAl/Q03nSszBDa7MzmC9uVtRHp0j8lGM8RPW11frfDlACBsiUvEb8ANgOzOWthzHNfxwtGeABC2xO38nbfzRnsCgNMUdrFc23F8K3IG7AwkH8/Yjv3YNhX8zL694By6/K/gBUjadxb4JInAawpegCTeXeDdbbCNVfsCJPHeAu8bYez4in0Bqkjd3i0j6Hp2dNztCCk68sdZeOA6iW8NxicURH/MHL5E0bVMyaObvOxkyjX4S9cn8J3jCGZ1i9jTPi9wCgkqYOjzn+hjXVaML4MvczwDyKGUngzB+ordpm5fX+THzE8WYbFpf2K3jbpZWWaiaIqakBv2RPKPVGyYdqTOEhgUgRCVNhbTvoLHwbUKruyxmIP6jv1bs+qmwntwlilWKOlguqRo31GoSTEsBCI/sS1cfmj+6jJZvqbJ61f6gWI2jRvuOA4BYhLt+VPejuZF5ZdCO44E+NwfITFbTCVhnyHhHwchCv9FQuzsXVgEZ1isufljqI5RHF0B1MaoQBUhzFXedaRWIppikmc8TlI2j9HlwXnXSL/kTDLPAAOaxJABU6QDzvXF7fHdyVT7jkgrJGbpppKYpWGFs3zIznlzec9YB1NIFXrcFcdqmGj4658Ray4iJ9pA2rlSkBY9bDTPduGskOL9RitALOGx2UPu0LbUECYlHCZS1suCf4uy7HvKYkwr6XAhOlINmprlPSJ1s9H49sdsIK3QEMHNtEAQfllyAcjKr0YOgq4GOS+KPGXzsM9GRPMTAFB4qRVnv4rpbwfzmd0Bwn1TZQ/olhz6fzCkmOub3IFZTRm0GunNrO5nQjbl30ljGmT3zEGRr4XJvsJDR5mLuYQLER3piDe5adHlwIGKC9T3oRHelrzB/u+u+3qr5ruZiebUMxVV4V3zvJj+vCY/YzU1UYWVlG5xwKKT1gVHrYNEPdslXum639EQZtSmxRRqnPFShrlmD6MqtXc8EMw84b3gt7FHnPXEWzs/zDvNWt4gjudKUQbiIji/q3W3X0A8Yjg6Hwij8qz8yHoMhz559payASXzyIbSgCd06OuN9tVwQyey3Eg31u5Od2zH0NduaOuh69rmzjWNeGs9Q2NhVWO68hKa4KYmT8NVVIwvrqNNnfYd7Qp2kXbNqhPXzZUgLq6jpvXydRTVIDpfPSsJ7GDr6YEdJroTb9d6EHlbPfYiP07iyF0HybOG7gXYCe3I8XZr3TOjSHc8g9NfB7rvWFbo+OF654TPwzEGdi7FZPAFuFfwuv4GAAD//wMAUEsDBBQABgAIAAAAIQBgH28lvAUAAA0cAAANAAAAeGwvc3R5bGVzLnhtbOwZXW/iOPD9pPsPVt5pPkhSgoBVaRtppZ7utGWlezWJA746MXKcFva0//3GdkICLS1lu3t7ukJFnbE9Hs/3TEYf1jlD90SUlBdjyz1zLESKhKe0WIytz7O4N7BQKXGRYsYLMrY2pLQ+TH79ZVTKDSO3S0IkAhRFObaWUq6Gtl0mS5Lj8oyvSAEzGRc5lvAoFna5EgSnpdqUM9tznNDOMS0sg2GYJ8cgybG4q1a9hOcrLOmcMio3GpeF8mT4cVFwgecMSF27Pk7Q2g2Fh9YC/qLmID3z6KycJoKXPJNngNvmWUYT8pjkyI5snLSYAPtpmNzAdryd+6/FiZh8W5B7qkS4pUtEJ+IKt7giazLKeCFLlPCqkGPLB+yKp8O7gj8UsZoClalXTUblF3SPGUBcy56MEs64QBJ0AUShIQXOiVlxSxacoM8f1boM55RtDNxTAK0/9cKcgjQV0FaEGHImo7ladfRhF4Ji9uRJRyEVi/nYimNHfxSa9hpHYn5DUjXFJfCBMtYRiwFMRmAQkogihllUj2ebFfC/ANs1bISpF1cvBN64XnD8hpIzmio9WFxqqdc8u9IfhWZeT9AiJWuSjq3Q19g7BCsZH0PcgbMuQvV97Vn6SODnnIsUfGCj6EqnDWgyYiSTcANBF0v1X/KVug+XEnzEZJRSvOAFZkpFmx31ANAmhLFb5Sf/zHZwrzNUVHmcy4/ACvC4SrmbIfCgHhp85kHh72IzuDtoQyD59WjROtviP7TbBfpqovoW6hK13Y3wasU2yiEoU6+fYE/7dMHoosiJWTAZ4eYRLbmgX2Cjchyax5aKRpImCpDABmLsf50dvl+HQu/7UqiU4QQCgW8NC0HaR7PwRzHtO4v1RKaBKH8SvdOWB7bWMegdc94aJlKxYWzd6nxJpBAua/NC84oySYvaspOqBPcxNbA6OrbmDeek647DUN4IANvoZ2Klo3wd7YxLKehdHTf1ZMLB2xZlF0TWkhRpZxOvJKNFd0m5xCl/6CypzLgJIco6tWIa8ByXRGHQkfsNYnI3+rdRSwf/1zkNJOGyn7iEHFFltmB3DwKvZgDUDyoSKW8E8L9AGjTb3OBS3sBNNKxcClrczXhMzRqVt0JK/LsKE2qB8sdaJu+Cea03fxfMu8XougLSqHdXdkz+8y9YzP8ttpjS42D9tF907NUxTXnzqO6xnypwno5jB7KkHyl7k5iiOidQYa6pdKAFBFXM2JJL6Nbs1famkjMVUbcKeg+PdX/h581bmorVCO9JIeNK8iZDPV3GphnUxVX3c3TFv2Mke7Z0GavvwWZBc4OmZnxOUSHVgxQc8rmec+ZHUTTwz33n3A+8UPed7AbHZNQ65W/B12I5xSx2+mcm4TzAs91Wz76r6jB9j7Wu14/D6zdhbdhhrQe89cMg8kJn4Lvnju79vZq5L2M8jr2na158rr4vsucZ26mbny/pXWNW/zEdVvUPlKpSNdt1k6tTE6OUZLhicradHFvt+DeS0iqH+r5e9Qe951KjGFvt+EZ13FzV12qPqAtskq/4AxEoWWIhSwutFAJdt3U61SIaVhT6a3+b1q3j9BzHdeEHRjF89E8z93XnmGsGXetCIqmbpw9LzoimHig2Fb2rDbKla3fDEopFIj7xh+36SKnRoeUZFaWExmmVQ/u+PmDw3AYGleoMKlt2Cf3F7Rajqu0h4HQ6sqmDNggsF5Xu0qp2xtPd2sfgviJnB9w6jx2w5573fd2GtTvn2HoNHAjV900JfXz4jypBQTjX0/Po6jr2egNnOuj5fRL0omB61Qv8y+nVVRw5nnP5tfPe5hve2uhXTdBFdP1hyeDdjqi1ttbC2xYGLZz2weih9gNAdpd25eIuAhfUqe+4PT/Eg94g7Ae9OHC9q9CfXgdx0KE9OPGNjGO7rnlPpIgPhpLmuuWyS/6sCwVrg8dnLmE3krDb93iTfwAAAP//AwBQSwMEFAAGAAgAAAAhACxdFlgbAQAAswEAABQAAAB4bC9zaGFyZWRTdHJpbmdzLnhtbGxQzWrDMAy+D/YOxvfWSQ9llCSlDHIudHsAN1USgy1nkpqtfZA9zW59sTkto1BmLMH3I/HZxforeDUCsYtY6nyeaQXYxIPDrtTvb/XsRSsWiwfrI0KpT8B6XT0/Fcyi0ixyqXuRYWUMNz0Ey/M4ACaljRSsJEid4YHAHrgHkODNIsuWJliHWjXxiFLqpVZHdB9HeP3DVcGuKijdbWp7k/BZjdanjLlOqIk+kqJuX+q6zq5noqmOKDffhpz1E9fa4PzpRi4mwlx3XuOveLBNelbKx0Aj6EoVRiZLqinBVFLtgBywym/ana8JXAcBHOLlR86uezRcvtsWULxr+kdpS260MuvgE2j/n2EXkSWtvw+a9OnVLwAAAP//AwBQSwMEFAAGAAgAAAAhAEG/+GDZAAAAygEAACMAAAB4bC93b3Jrc2hlZXRzL19yZWxzL3NoZWV0MS54bWwucmVsc6yRwU7DMAxA70j8Q+Q7SbsDQmjpLghpVxgf4KVuG9E6UWwQ+3uCdqHTJC6cLNvy85O93X0ts/mkIjGxh9Y2YIhD6iOPHt4Oz3cPYESRe5wTk4cTCey625vtC82odUimmMVUCouHSTU/OidhogXFpkxcO0MqC2pNy+gyhnccyW2a5t6V3wzoVkyz7z2Ufb8BczjluvlvdhqGGOgphY+FWK+scIrHmSoQy0jqwdpzRc6htVUW3HWP9j89comsVF5JtR5aVkYXPXeRt/YY+UfSrT7QfQMAAP//AwBQSwMEFAAGAAgAAAAhAGGu5keIAQAAACgAACcAAAB4bC9wcmludGVyU2V0dGluZ3MvcHJpbnRlclNldHRpbmdzMS5iaW7smr9Kw1AUxr9jok3pUB9CqIuiJYK4FXXTLiI4ZCnGQfAfWsQx7hmc+07OLu6+gA/guakJLUmFeFub4nfa9NKEnH73l3Pun0MDBHhEiHNsYxPXuMRt1gY4xhHa2MWOXu3iAHkTF+471lrNt2dHUMeg4XshBDWcLUFbwNHPDvyCe21PGe/6IxPt5HC/SPIMlKQujSIaCYwSqBMHCUwgsDojMs5CEH/Churs4F5nnR6uLDUPx94oitTPCwdi5pwhUCYOTnGDvoZiX0PxQpdE87Yt7GH8+ElR2tO8bvtcMEu5du5Vjo9b8YC0XaJyxJnSA26mfiTUJBSTiNm7cL2fkM/wi9mFfNtvnomogwpYTTVoP8Yb8933zBZr0BjRuLziJqcl2Q2Zi5+t149SYx9nCxIgARIgARIgARIgARIoQ4C7n38fL/MvmDBlF5+ADAu4U+uIfXVZPMRxzNgigZQAJzvGAgmQwB8QcKpRjS7bU8ED7rRs39P/DWW2zoghARKoFoEvAAAA//8DAFBLAwQUAAYACAAAACEA51vTgGACAADfBAAAFAAAAHhsL3RhYmxlcy90YWJsZTEueG1snFTRbpswFH2ftH9AfnfBBgxEpTQAAAAFMwAAAP////+HC2AEAAAAAAAAAAAVxiBVmvawdh/gEpNYA4yM0yaa9u+7JFnS0T5Me0Fw8D3nnnuPfHu/7zvvRdlJmyFH5CZAnhoas9bDJkffn2qcIm9ycljLzgwqRwc1ofu7z59unXzulAfVw5SjrXPjyvenZqt6Od2YUQ3wpzW2lw4+7cafRqvketoq5frOp0HA/F7qAZ0YVn3zLyS9tD92I25MP0qnn3Wn3eHIhby+WT1sBmPnrnK0t97ehn/I9/Ydea8baybTuhsg803b6ka965FEvlUveh7NlSr8Ty524YK+9BpmDZx2tZtff4YxD4qSxziNkwhHWRBhHjCOM17VlCakqLj4hbxB9mDuST6rrlMUeWs9jZ08fF3AVrU5KsiqgiNbmLqy38xraXaDyxHs1xknuwmgx615haUDdDkl9u0DNMTg1DxJbixUn8EY3Z22Xppu1w+T15woF/jVXHh2JxiPRVQUmIVRjCNeg7GUMsxJUIowS8NaVBd3j6PsnILhLHuKkP+X/lEHHMKizzpJEhGSMIZJnVAciaTCGeMUHnFGecFYTMuFztsJnW2GH+nMWbrohJnIyiCosRB1CTohxWkUV5hUoaAZS0hW1gsdqF/6oR/pwOCvOiIhEAsIRE04wRFkAGeFoDguU1bBV5EWZKED9Usd8pFO9FYnAwe1oAlOSAXpY2mCeUFqXAeViAWpGGRxoQP1S51g1vGPsTkH5LyuR3fo1MPQmmt+O3UEv+jN1mVwwUAQa20ndyo8RnLGvsh30BxbZ/Wo4NaBkMynTkUX9E0fd78BAAD//wMAUEsDBBQABgAIAAAAIQC4rGO7UwEAAGc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8klFLwzAUhd8F/0PJs23Sdo4R2g6c7smB4ETxLSR3XbBJSxLt9u9N2612KD7e3HM/zjkkWx5UFXyBsbLWOYojggLQvBZSlzl62a7DBQqsY1qwqtaQoyNYtCyurzLeUF4beDJ1A8ZJsIEnaUt5k6O9cw3F2PI9KGYjr9B+uauNYs6PpsQN4x+sBJwQMscKHBPMMdwBw2YkohNS8BHZfJqqBwiOoQIF2lkcRzH+0Towyv550G8mSiXdsfGZTnanbMGH5ag+WDkK27aN2rS34f3H+G3z+NxHDaXuuuKAikxwyg0wV5tCyTrDk7nrrmLWbXzNOwni7lg86LKSvq+bYLU30jqpWYZ/yzy1DzGgQQTeFh1CnDev6ep+u0ZFQuJZGJMwJVtCaLKgs+S9c3Fx39kcHtTJy7/E5DYk85Ck29gTExqTCfEMKHrfl1+j+AYAAP//AwBQSwMEFAAGAAgAAAAhAHeRzzvEAQAAwgMAABAACAFkb2NQcm9wcy9hcHA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pJNNbtswEIX3BXoHgfuYchoEhUExSJwWKZCiRqxkP6ZGNlGKJMixavc8vUkvVkqCbaUpskh386fHj48jcbVrTNZiiNrZgk0nOcvQKldpuy7YY/n57CPLIoGtwDiLBdtjZFfy/TuxCM5jII0xSxI2FmxD5GecR7XBBuIktW3q1C40QCkNa+7qWiu8dWrboCV+nueXHHeEtsLqzB8F2aA4a+mtopVTHV98Kvc+AUtROgJT6gZlLvgpEdfeG62A0u3lV62Ci66m7NNOoRF83BSJeolqGzTtO41xKpYKDM7TgbIGE1HwU0HcIXRmLkCHKEVLsxYVuZBF/TPZecGyFUTsMAvWQtBgKeF2Y0PSx8ZHCvI6rFBTXJnfv4gwCJ6mhk4fjj8Yx/pCTvuBFLw6OGjdoAVrCbMbDKjTW/7/OR3ocOsE8NyPUpPB+K1eQKB/2HM+tqfnG8wZUL9Yv6Ux3tGQYNf3EOnB/XhB37ufOP46ee4aD3YvG6gw0zYbVlXwQ13ca/s9PvrS3QLh4Z2fF8VyAwGrtBrHPTgWxF164mA6kfkG7Bqrw8zLRreVT8MvKaeXk/xDnhZuVBP89PPJPwAAAP//AwBQSwECLQAUAAYACAAAACEANzG9kXsBAACEBQAAEwAAAAAAAAAAAAAAAAAAAAAAW0NvbnRlbnRfVHlwZXNdLnhtbFBLAQItABQABgAIAAAAIQC1VTAj9AAAAEwCAAALAAAAAAAAAAAAAAAAALQDAABfcmVscy8ucmVsc1BLAQItABQABgAIAAAAIQDI4wcfswMAAFcIAAAPAAAAAAAAAAAAAAAAANkGAAB4bC93b3JrYm9vay54bWxQSwECLQAUAAYACAAAACEAgT6Ul/MAAAC6AgAAGgAAAAAAAAAAAAAAAAC5CgAAeGwvX3JlbHMvd29ya2Jvb2sueG1sLnJlbHNQSwECLQAUAAYACAAAACEAu0XKY34DAACaBwAAGAAAAAAAAAAAAAAAAADsDAAAeGwvd29ya3NoZWV0cy9zaGVldDEueG1sUEsBAi0AFAAGAAgAAAAhAH63Tj5qBAAAnA8AABMAAAAAAAAAAAAAAAAAoBAAAHhsL3RoZW1lL3RoZW1lMS54bWxQSwECLQAUAAYACAAAACEAYB9vJbwFAAANHAAADQAAAAAAAAAAAAAAAAA7FQAAeGwvc3R5bGVzLnhtbFBLAQItABQABgAIAAAAIQAsXRZYGwEAALMBAAAUAAAAAAAAAAAAAAAAACIbAAB4bC9zaGFyZWRTdHJpbmdzLnhtbFBLAQItABQABgAIAAAAIQBBv/hg2QAAAMoBAAAjAAAAAAAAAAAAAAAAAG8cAAB4bC93b3Jrc2hlZXRzL19yZWxzL3NoZWV0MS54bWwucmVsc1BLAQItABQABgAIAAAAIQBhruZHiAEAAAAoAAAnAAAAAAAAAAAAAAAAAIkdAAB4bC9wcmludGVyU2V0dGluZ3MvcHJpbnRlclNldHRpbmdzMS5iaW5QSwECLQAUAAYACAAAACEA51vTgGACAADfBAAAFAAAAAAAAAAAAAAAAABWHwAAeGwvdGFibGVzL3RhYmxlMS54bWxQSwECLQAUAAYACAAAACEAuKxju1MBAABnAgAAEQAAAAAAAAAAAAAAAADoIQAAZG9jUHJvcHMvY29yZS54bWxQSwECLQAUAAYACAAAACEAd5HPO8QBAADCAwAAEAAAAAAAAAAAAAAAAAByJAAAZG9jUHJvcHMvYXBwLnhtbFBLBQYAAAAADQANAGgDAABsJwAAAAAAAk5hbWUADAAAAEV4Y2VsTWlycm9yABBWZXJzaW9uAAEAAAAJTGFzdFdyaXRlAM0XU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1AAAABP//////////BQC6BwAAAAAAAAAAAAD/////zQDNAAAABV9pZAAQAAAABNQV639/g5xKsxA1sTJidM4DRGF0YQBhAAAACEhhc1N0eWxlUmVwb3NpdG9yeUJlZW5NaWdyYXRlZAABCEhhc0JvcmRlclN0eWxlQmVlbk1pZ3JhdGVkAAEISGFzQ2hhcnRCZWVuTGF5b3V0ZWRGb3JGbGV4AAEAAk5hbWUAHQAAAENoYXJ0U3R5bGVTdGF0dXNJbmZvcm1hdGlvbnMAEFZlcnNpb24AAQAAAAlMYXN0V3JpdGUAZddONZcBAAAAAQD/////ZANkAwAABV9pZAAQAAAABFRiP47N/ulKkQkOymIpLdkDRGF0YQDtAgAABFBvaW50QWRkaXRpb25hbFN0eWxlcwDhAQAAAzAAdAAAAANQb2ludEFkZHJlc3MAMwAAABBTZXJpZXNJbmRleAABAAAAEFBvaW50SW5kZXgAAQAAAAhJc1BvaW50U3VtAAAAA0FkZGl0aW9uYWxTdHlsZXMAHAAAAAJGaWxsUGF0dGVybgAGAAAAVW5zZXQAAAADMQB0AAAAA1BvaW50QWRkcmVzcwAzAAAAEFNlcmllc0luZGV4AAEAAAAQUG9pbnRJbmRleAACAAAACElzUG9pbnRTdW0AAAADQWRkaXRpb25hbFN0eWxlcwAcAAAAAkZpbGxQYXR0ZXJuAAYAAABVbnNldAAAAAMyAHQAAAADUG9pbnRBZGRyZXNzADMAAAAQU2VyaWVzSW5kZXgAAQAAABBQb2ludEluZGV4AAMAAAAISXNQb2ludFN1bQAAAANBZGRpdGlvbmFsU3R5bGVzABwAAAACRmlsbFBhdHRlcm4ABgAAAFVuc2V0AAAAAzMAdAAAAANQb2ludEFkZHJlc3MAMwAAABBTZXJpZXNJbmRleAABAAAAEFBvaW50SW5kZXgABAAAAAhJc1BvaW50U3VtAAAAA0FkZGl0aW9uYWxTdHlsZXMAHAAAAAJGaWxsUGF0dGVybgAGAAAAVW5zZXQAAAAAA1Nlcmllc0FkZGl0aW9uYWxTdHlsZXMA2AAAAAMxANAAAAAQU2VyaWVzSW5kZXgAAQAAAANBZGRpdGlvbmFsU3R5bGVzAKgAAAACRmlsbFBhdHRlcm4ACAAAAERlZmF1bHQAA0ZpbGxDb2xvck9yVGhlbWVDb2xvcgBzAAAAEFRoZW1lQ29sb3IAAAAAAAFUaW50QW5kU2hhZGUAAAAAAAAAAAAQVGludEluZGV4AP////8QU2NoZW1lQ29sb3IAAAAAAANDb2xvcgAhAAAAEEEA/wAAABBSAAAAAAAQRwAAAAAAEEIAAAAAAAAAAAAAAAJOYW1lACgAAABQb2ludEFuZFNlcmllc0FkZGl0aW9uU3R5bGVzRGVmaW5pdGlvbnMAEFZlcnNpb24AAQAAAAlMYXN0V3JpdGUA7MdONZcBAAAAAgD/////sgCyAAAABV9pZAAQAAAABP6WfY5VlnBBri507+lpNuIDRGF0YQBXAAAAA1NldHRpbmdzUGVyQXhpcwBBAAAAA1ByaW1hcnkAFAAAAAhJc0luQXV0b01vZGUAAQADU2Vjb25kYXJ5ABQAAAAISXNJbkF1dG9Nb2RlAAEAAAACTmFtZQAMAAAATGVhZGVyTGluZXMAEFZlcnNpb24AAAAAAAlMYXN0V3JpdGUAwJNFYIoBAAAAAwD/////kQKRAgAABV9pZAAQAAAABIZA0JXCAtBKjZE99/rIaYoDRGF0YQA0AgAAA051bWJlckZvcm1hdFZhbHVlU3RyaW5ncwAVAgAAAk51bWJlckZvcm1hdElkUHJpbWFyeUNhdGVnb3J5ACUAAAAwMDAwMDAwMC0wMDAwLTAwMDAtMDAwMC0wMDAwMDAwMDAwMDAAAkFyaXRobWV0aWNPcGVyYXRpb25JZFByaW1hcnlDYXRlZ29yeQAlAAAAOWU4MWU0NDEtNTc1MC00YmZjLWJlNmEtMTFlMjQxODc3MjFmAAJQZXJjZW50Rm9ybWF0SWRQcmltYXJ5Q2F0ZWdvcnkAAwAAADAlAAJOdW1iZXJGb3JtYXRJZFByaW1hcnkAJQAAADJiYmM3MzhhLTc0M2UtNDA2Yi04ZDc1LTdkNjM1Y2EzMDZkZQACQXJpdGhtZXRpY09wZXJhdGlvbklkUHJpbWFyeQAlAAAAOWU4MWU0NDEtNTc1MC00YmZjLWJlNmEtMTFlMjQxODc3MjFmAAJQZXJjZW50Rm9ybWF0SWRQcmltYXJ5AAMAAAAwJQACTnVtYmVyRm9ybWF0SWRTZWNvbmRhcnkAJQAAADAwMDAwMDAwLTAwMDAtMDAwMC0wMDAwLTAwMDAwMDAwMDAwMAACQXJpdGhtZXRpY09wZXJhdGlvbklkU2Vjb25kYXJ5ACUAAAA5ZTgxZTQ0MS01NzUwLTRiZmMtYmU2YS0xMWUyNDE4NzcyMWYAAlBlcmNlbnRGb3JtYXRJZFNlY29uZGFyeQADAAAAMCUAAAACTmFtZQAOAAAATnVtYmVyRm9ybWF0cwAQVmVyc2lvbgACAAAACUxhc3RXcml0ZQC0LlA1lwEAAAAEAP////+RAJEAAAAFX2lkABAAAAAEAUN8l5wVHUekhNSZPm11zgNEYXRhADgAAAAET25Ub3BTZXJpZXNJbmRpemVzAAUAAAAABEhpZGRlblNlcmllc0luZGl6ZXMABQAAAAAAAk5hbWUACgAAAFdhdGVyZmFsbAAQVmVyc2lvbgABAAAACUxhc3RXcml0ZQDnx0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gAAAAT//////////wEAmgIAAAAAAAAAAAAA/////0UNRQ0AAAVfaWQAEAAAAASMaZ2gedMjSpzba5cfAxiSA0RhdGEA2wwAAAhFeGNlbENvbG9yTW9kZUFjdGl2ZQAACENvbG9yQ2FjaGVSZXBhaXJlZEZvckxpbmtlZENoYXJ0cwAABENvbG9yQ2FjaGUAjwwAAAMwAIgAAAADQ2VsbEFkZHJlc3MAGgAAABBSb3cAAQAAABBDb2x1bW4AAQAAAAADQ29sb3IAVQAAABBBAAAAAAAQUgD/AAAAEEcA/wAAABBCAP8AAAABU2NBAAAAAAAAAAAAAVNjUgAAAAAAAADwPwFTY0cAAAAAAAAA8D8BU2NCAAAAAAAAAPA/AAADMQCIAAAAA0NlbGxBZGRyZXNzABoAAAAQUm93AAEAAAAQQ29sdW1uAAIAAAAAA0NvbG9yAFUAAAAQQQAAAAAAEFIA/wAAABBHAP8AAAAQQgD/AAAAAVNjQQAAAAAAAAAAAAFTY1IAAAAAAAAA8D8BU2NHAAAAAAAAAPA/AVNjQgAAAAAAAADwPwAAAzIAiAAAAANDZWxsQWRkcmVzcwAaAAAAEFJvdwABAAAAEENvbHVtbgADAAAAAANDb2xvcgBVAAAAEEEAAAAAABBSAP8AAAAQRwD/AAAAEEIA/wAAAAFTY0EAAAAAAAAAAAABU2NSAAAAAAAAAPA/AVNjRwAAAAAAAADwPwFTY0IAAAAAAAAA8D8AAAMzAIgAAAADQ2VsbEFkZHJlc3MAGgAAABBSb3cAAQAAABBDb2x1bW4ABAAAAAADQ29sb3IAVQAAABBBAAAAAAAQUgD/AAAAEEcA/wAAABBCAP8AAAABU2NBAAAAAAAAAAAAAVNjUgAAAAAAAADwPwFTY0cAAAAAAAAA8D8BU2NCAAAAAAAAAPA/AAADNACIAAAAA0NlbGxBZGRyZXNzABoAAAAQUm93AAEAAAAQQ29sdW1uAAUAAAAAA0NvbG9yAFUAAAAQQQAAAAAAEFIA/wAAABBHAP8AAAAQQgD/AAAAAVNjQQAAAAAAAAAAAAFTY1IAAAAAAAAA8D8BU2NHAAAAAAAAAPA/AVNjQgAAAAAAAADwPwAAAzUAiAAAAANDZWxsQWRkcmVzcwAaAAAAEFJvdwABAAAAEENvbHVtbgAGAAAAAANDb2xvcgBVAAAAEEEA/wAAABBSAKYAAAAQRwCmAAAAEEIApgAAAAFTY0EAAAAAAAAA8D8BU2NSAAAAAGClZ9g/AVNjRwAAAABgpWfYPwFTY0IAAAAAYKVn2D8AAAM2AIgAAAADQ2VsbEFkZHJlc3MAGgAAABBSb3cAAgAAABBDb2x1bW4AAQAAAAADQ29sb3IAVQAAABBBAP8AAAAQUgDdAAAAEEcA3QAAABBCAN0AAAABU2NBAAAAAAAAAPA/AVNjUgAAAACARCPnPwFTY0cAAAAAgEQj5z8BU2NCAAAAAIBEI+c/AAADNwCIAAAAA0NlbGxBZGRyZXNzABoAAAAQUm93AAIAAAAQQ29sdW1uAAIAAAAAA0NvbG9yAFUAAAAQQQAAAAAAEFIA/wAAABBHAP8AAAAQQgD/AAAAAVNjQQAAAAAAAAAAAAFTY1IAAAAAAAAA8D8BU2NHAAAAAAAAAPA/AVNjQgAAAAAAAADwPwAAAzgAiAAAAANDZWxsQWRkcmVzcwAaAAAAEFJvdwACAAAAEENvbHVtbgADAAAAAANDb2xvcgBVAAAAEEEAAAAAABBSAP8AAAAQRwD/AAAAEEIA/wAAAAFTY0EAAAAAAAAAAAABU2NSAAAAAAAAAPA/AVNjRwAAAAAAAADwPwFTY0IAAAAAAAAA8D8AAAM5AIgAAAADQ2VsbEFkZHJlc3MAGgAAABBSb3cAAgAAABBDb2x1bW4ABAAAAAADQ29sb3IAVQAAABBBAAAAAAAQUgD/AAAAEEcA/wAAABBCAP8AAAABU2NBAAAAAAAAAAAAAVNjUgAAAAAAAADwPwFTY0cAAAAAAAAA8D8BU2NCAAAAAAAAAPA/AAADMTAAiAAAAANDZWxsQWRkcmVzcwAaAAAAEFJvdwACAAAAEENvbHVtbgAFAAAAAANDb2xvcgBVAAAAEEEAAAAAABBSAP8AAAAQRwD/AAAAEEIA/wAAAAFTY0EAAAAAAAAAAAABU2NSAAAAAAAAAPA/AVNjRwAAAAAAAADwPwFTY0IAAAAAAAAA8D8AAAMxMQCIAAAAA0NlbGxBZGRyZXNzABoAAAAQUm93AAIAAAAQQ29sdW1uAAYAAAAAA0NvbG9yAFUAAAAQQQAAAAAAEFIA/wAAABBHAP8AAAAQQgD/AAAAAVNjQQAAAAAAAAAAAAFTY1IAAAAAAAAA8D8BU2NHAAAAAAAAAPA/AVNjQgAAAAAAAADwPwAAAzEyAIgAAAADQ2VsbEFkZHJlc3MAGgAAABBSb3cAAQAAABBDb2x1bW4ABwAAAAADQ29sb3IAVQAAABBBAP8AAAAQUgCmAAAAEEcApgAAABBCAKYAAAABU2NBAAAAAAAAAPA/AVNjUgAAAABgpWfYPwFTY0cAAAAAYKVn2D8BU2NCAAAAAGClZ9g/AAADMTMAiAAAAANDZWxsQWRkcmVzcwAaAAAAEFJvdwACAAAAEENvbHVtbgAHAAAAAANDb2xvcgBVAAAAEEEAAAAAABBSAP8AAAAQRwD/AAAAEEIA/wAAAAFTY0EAAAAAAAAAAAABU2NSAAAAAAAAAPA/AVNjRwAAAAAAAADwPwFTY0IAAAAAAAAA8D8AAAMxNACIAAAAA0NlbGxBZGRyZXNzABoAAAAQUm93AAEAAAAQQ29sdW1uAAgAAAAAA0NvbG9yAFUAAAAQQQD/AAAAEFIApgAAABBHAKYAAAAQQgCmAAAAAVNjQQAAAAAAAADwPwFTY1IAAAAAYKVn2D8BU2NHAAAAAGClZ9g/AVNjQgAAAABgpWfYPwAAAzE1AIgAAAADQ2VsbEFkZHJlc3MAGgAAABBSb3cAAgAAABBDb2x1bW4ACAAAAAADQ29sb3IAVQAAABBBAAAAAAAQUgD/AAAAEEcA/wAAABBCAP8AAAABU2NBAAAAAAAAAAAAAVNjUgAAAAAAAADwPwFTY0cAAAAAAAAA8D8BU2NCAAAAAAAAAPA/AAADMTYAiAAAAANDZWxsQWRkcmVzcwAaAAAAEFJvdwAAAAAAEENvbHVtbgAAAAAAAANDb2xvcgBVAAAAEEEA/wAAABBSAKYAAAAQRwCmAAAAEEIApgAAAAFTY0EAAAAAAAAA8D8BU2NSAAAAAGClZ9g/AVNjRwAAAABgpWfYPwFTY0IAAAAAYKVn2D8AAAMxNwCIAAAAA0NlbGxBZGRyZXNzABoAAAAQUm93AAAAAAAQQ29sdW1uAAEAAAAAA0NvbG9yAFUAAAAQQQD/AAAAEFIApgAAABBHAKYAAAAQQgCmAAAAAVNjQQAAAAAAAADwPwFTY1IAAAAAYKVn2D8BU2NHAAAAAGClZ9g/AVNjQgAAAABgpWfYPwAAAzE4AIgAAAADQ2VsbEFkZHJlc3MAGgAAABBSb3cAAAAAABBDb2x1bW4AAgAAAAADQ29sb3IAVQAAABBBAP8AAAAQUgCmAAAAEEcApgAAABBCAKYAAAABU2NBAAAAAAAAAPA/AVNjUgAAAABgpWfYPwFTY0cAAAAAYKVn2D8BU2NCAAAAAGClZ9g/AAADMTkAiAAAAANDZWxsQWRkcmVzcwAaAAAAEFJvdwAAAAAAEENvbHVtbgADAAAAAANDb2xvcgBVAAAAEEEA/wAAABBSAKYAAAAQRwCmAAAAEEIApgAAAAFTY0EAAAAAAAAA8D8BU2NSAAAAAGClZ9g/AVNjRwAAAABgpWfYPwFTY0IAAAAAYKVn2D8AAAMyMACIAAAAA0NlbGxBZGRyZXNzABoAAAAQUm93AAAAAAAQQ29sdW1uAAQAAAAAA0NvbG9yAFUAAAAQQQD/AAAAEFIApgAAABBHAKYAAAAQQgCmAAAAAVNjQQAAAAAAAADwPwFTY1IAAAAAYKVn2D8BU2NHAAAAAGClZ9g/AVNjQgAAAABgpWfYPwAAAzIxAIgAAAADQ2VsbEFkZHJlc3MAGgAAABBSb3cAAAAAABBDb2x1bW4ABQAAAAADQ29sb3IAVQAAABBBAP8AAAAQUgCmAAAAEEcApgAAABBCAKYAAAABU2NBAAAAAAAAAPA/AVNjUgAAAABgpWfYPwFTY0cAAAAAYKVn2D8BU2NCAAAAAGClZ9g/AAADMjIAiAAAAANDZWxsQWRkcmVzcwAaAAAAEFJvdwABAAAAEENvbHVtbgAAAAAAAANDb2xvcgBVAAAAEEEA/wAAABBSAN0AAAAQRwDdAAAAEEIA3QAAAAFTY0EAAAAAAAAA8D8BU2NSAAAAAIBEI+c/AVNjRwAAAACARCPnPwFTY0IAAAAAgEQj5z8AAAAAAk5hbWUAGwAAAEV4Y2VsQ29sb3JNb2RlRGF0YVByb3BlcnR5ABBWZXJzaW9uAAIAAAAJTGFzdFdyaXRlAOrHTj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cAAAAE//////////8MAAcFAAAAAAAAAAAAAP////9zAHMAAAAFX2lkABAAAAAEpu5loRuthUGdWk6/weBeOgNEYXRhABcAAAAEU2VyaWVMYWJlbHMABQAAAAAAAk5hbWUADQAAAFNlcmllc0xhYmVscwAQVmVyc2lvbgAEAAAACUxhc3RXcml0ZQDa2DpgigEAAAABADgAAAAAAAIA/////2QDZAMAAAVfaWQAEAAAAAQV9p2pzPWrTJ/3lk+pHX3eA0RhdGEA7QIAAARQb2ludEFkZGl0aW9uYWxTdHlsZXMA4QEAAAMwAHQAAAADUG9pbnRBZGRyZXNzADMAAAAQU2VyaWVzSW5kZXgAAQAAABBQb2ludEluZGV4AAEAAAAISXNQb2ludFN1bQAAAANBZGRpdGlvbmFsU3R5bGVzABwAAAACRmlsbFBhdHRlcm4ABgAAAFVuc2V0AAAAAzEAdAAAAANQb2ludEFkZHJlc3MAMwAAABBTZXJpZXNJbmRleAABAAAAEFBvaW50SW5kZXgAAgAAAAhJc1BvaW50U3VtAAAAA0FkZGl0aW9uYWxTdHlsZXMAHAAAAAJGaWxsUGF0dGVybgAGAAAAVW5zZXQAAAADMgB0AAAAA1BvaW50QWRkcmVzcwAzAAAAEFNlcmllc0luZGV4AAEAAAAQUG9pbnRJbmRleAADAAAACElzUG9pbnRTdW0AAAADQWRkaXRpb25hbFN0eWxlcwAcAAAAAkZpbGxQYXR0ZXJuAAYAAABVbnNldAAAAAMzAHQAAAADUG9pbnRBZGRyZXNzADMAAAAQU2VyaWVzSW5kZXgAAQAAABBQb2ludEluZGV4AAQAAAAISXNQb2ludFN1bQAAAANBZGRpdGlvbmFsU3R5bGVzABwAAAACRmlsbFBhdHRlcm4ABgAAAFVuc2V0AAAAAANTZXJpZXNBZGRpdGlvbmFsU3R5bGVzANgAAAADMQDQAAAAEFNlcmllc0luZGV4AAEAAAADQWRkaXRpb25hbFN0eWxlcwCoAAAAAkZpbGxQYXR0ZXJuAAgAAABEZWZhdWx0AANGaWxsQ29sb3JPclRoZW1lQ29sb3IAcwAAABBUaGVtZUNvbG9yAAAAAAABVGludEFuZFNoYWRlAAAAAAAAAAAAEFRpbnRJbmRleAD/////EFNjaGVtZUNvbG9yAAAAAAADQ29sb3IAIQAAABBBAP8AAAAQUgAAAAAAEEcAAAAAABBCAAAAAAAAAAAAAAACTmFtZQAoAAAAUG9pbnRBbmRTZXJpZXNBZGRpdGlvblN0eWxlc0RlZmluaXRpb25zABBWZXJzaW9uAAAAAAAJTGFzdFdyaXRlAFm/PGCKAQAAAAMA/////3MAcwAAAAVfaWQAEAAAAASABd6pVhXFTpJeupStdsjKA0RhdGEAFwAAAARTZXJpZUxhYmVscwAFAAAAAAACTmFtZQANAAAAU2VyaWVzTGFiZWxzABBWZXJzaW9uAAMAAAAJTGFzdFdyaXRlAHnYOmCKAQAAAAQA/////1IAUgAAAAVfaWQAEAAAAASStfy4uItJQJBF/GUtw7xPAk5hbWUACQAAAERhdGFMaW5rABBWZXJzaW9uAAEAAAAJTGFzdFdyaXRlAEPyFXl8AQAAAAUAOwAAAAAABgA9AAAAAAAHAP////9hAGEAAAAFX2lkABAAAAAE4qAS0kUiJk2TkU45szdlQAREYXRhAAUAAAAAAk5hbWUADQAAAExpbmtEYXRhTGlzdAAQVmVyc2lvbgAAAAAACUxhc3RXcml0ZQBI2BR5fAEAAAAIAP////+BAIEAAAAFX2lkABAAAAAEtOAx2ESTV0ucuTmlOtH3kQNEYXRhACAAAAADU2VyaWVzTmVnYXRpdmVDb2xvcnMABQAAAAAAAk5hbWUAEgAAAENvbG9yRGF0YVByb3BlcnR5ABBWZXJzaW9uAAAAAAAJTGFzdFdyaXRlAAv3749vAQAAAAkA/////7UAtQAAAAVfaWQAEAAAAAQStnHfuDNXTpFIYFQgwA1MA0RhdGEAVwAAAAFMZWZ0AAAAAAAAAAAAAVRvcAAAAAAAAAAAAAFSaWdodAAAAAAAAAAAAAFCb3R0b20AAAAAAAAAAAABTWFyZ2luVG9MZWdlbmQAAAAAAAAAAAAAAk5hbWUADwAAAFBsb3RBcmVhQm9yZGVyABBWZXJzaW9uAAAAAAAJTGFzdFdyaXRlAAiKv/diAQAAAAoA/////7sAuwAAAAVfaWQAEAAAAATtx0ji9UOPTZ1FqBWV+ooqA0RhdGEASgAAAAhTaG93TmFtZQAACFNob3dWYWx1ZQAACFNob3dQZXJjZW50YWdlAAAQUGVyY2VudGFnZURlY2ltYWxQbGFjZXMAAAAAAAACTmFtZQAiAAAAQ2F0ZWdvcnlMYWJlbFNldHRpbmdzRGF0YVByb3BlcnR5ABBWZXJzaW9uAAAAAAAJTGFzdFdyaXRlAGvjpmx0AQAAAAsA/////5IDkgMAAAVfaWQAEAAAAASOLPfkrhfOSYIBLGyOm9ClA0RhdGEAMAMAAANCb3VuZHM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hJc1Zpc2libGUAAAhJc1JldmVyc2VkAAAIU2hvd0dyaWRsaW5lcwAAAU1hbnVhbE1ham9yVW5pdAAAAAAAAAAAAAFNYW51YWxNYXhpbXVtU2NhbGUAAAAAAAAAAAABTWFudWFsTWluaW11bVNjYWxlAAAAAAAAAAAACFVzZUF1dG9tYXRpY01ham9yVW5pdAABCFVzZUF1dG9tYXRpY01pbmltdW1TY2FsZQABCFVzZUF1dG9tYXRpY01heGltdW1TY2FsZQABA0FkZGl0aW9uYWxBeGlzVGlja0xhYmVsc0RhdGEAtwAAAARJdGVtRGF0YQAFAAAAAANGb250Q29sb3IAVQAAABBBAAAAAAAQUgAAAAAAEEcAAAAAABBCAAAAAAABU2NBAAAAAAAAAAAAAVNjUgAAAAAAAAAAAAFTY0cAAAAAAAAAAAABU2NCAAAAAAAAAAAAABBGb250U2NoZW1lQ29sb3IAAAAAABBGb250VGhlbWVDb2xvcgAAAAAAAUZvbnRUaW50QW5kU2hhZGUAAAAAAAAAAAAABEdyaWRsaW5lSXRlbURhdGEABQAAAAAAAk5hbWUAEwAAAEFkZGl0aW9uYWxBeGlzRGF0YQAQVmVyc2lvbgAAAAAACUxhc3RXcml0ZQC51U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4AAAABf////85AAAA5w8AAAAAAAAAAAAA4ScAAAVfaWQAEAAAAATPNhWmzOBqSZRzsBS4wMZiBERhdGEAiScAAAMwAN4JAAAFX2lkABAAAAAEVzIU5r1o8UylkXw9mvVClAJfdHlwZQBXAAAAZW1wb3dlci5DaGFydHMuRGF0YS5EYXRhQ2hhcnRzLk92ZXJsYXlzLkRhdGEuQ29sdW1uU3VtT3ZlcmxheURhdGEsIGVtcG93ZXIuQ2hhcnRzLkRhdGEAEENvbHVtbgABAAAAEFNlcmllcwD/////A1RleHRFbGVtZW50AOsGAAACQXV0b1NoYXBlVHlwZQAKAAAAUmVjdGFuZ2xlAARBZGp1c3RtZW50cwAFAAAAAAVNYW5hZ2VkSWQAEAAAAASpz2tlAyYUR4xwUA97fLex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CAFC4tQAFXaWR0aAAAAABAifM6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DAqLsqQAACQ29sdW1uU3VtUG9zaXRpb24ADAAAAERlZmF1bHREb2NrAAhEZWxldGVkAAEDTnVtYmVyRm9ybWF0AB8AAAAFX2lkABAAAAAEinO8Kz50a0CNdX1jXKMG3gADVGV4dEZvcm1hdA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Jc05ldwABAUZvbnRTaXplAAAAAAAAAChAAAMxAN4JAAAFX2lkABAAAAAEgy3Q1jA3hU6tdPwsQuWkLwJfdHlwZQBXAAAAZW1wb3dlci5DaGFydHMuRGF0YS5EYXRhQ2hhcnRzLk92ZXJsYXlzLkRhdGEuQ29sdW1uU3VtT3ZlcmxheURhdGEsIGVtcG93ZXIuQ2hhcnRzLkRhdGEAEENvbHVtbgADAAAAEFNlcmllcwD/////A1RleHRFbGVtZW50AOsGAAACQXV0b1NoYXBlVHlwZQAKAAAAUmVjdGFuZ2xlAARBZGp1c3RtZW50cwAFAAAAAAVNYW5hZ2VkSWQAEAAAAATsrkFTq2q+RKgadAGXtl2r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CAFC4tQAFXaWR0aAAAAABAifM6QAFUb3AAAAAA4HHkdkABTGVmdAAAAABgDiaCQAhGbGlwSG9yaXpvbnRhbGx5AAAIRmxpcEhvcml6b250YWxseUFwcGxpZWQAAAhGbGlwVmVydGljYWxseQAACEZsaXBWZXJ0aWNhbGx5QXBwbGllZAAAAVJvdGF0aW9uAAAAAAAAAAAAAVpPcmRlcgAAAAAAAAAAAANCb3JkZXJDb2xvcgBVAAAAEEEAAAAAABBSAP8AAAAQOQAAAAU4AAAAOgAAAOcPAAAAAAAAAAAAA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wKi7KkAAAkNvbHVtblN1bVBvc2l0aW9uAAwAAABEZWZhdWx0RG9jawAIRGVsZXRlZAABA051bWJlckZvcm1hdAAfAAAABV9pZAAQAAAABIpzvCs+dGtAjXV9Y1yjBt4AA1RleHRGb3JtYXQ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SXNOZXcAAQFGb250U2l6ZQAAAAAAAAAoQAADMgDeCQAABV9pZAAQAAAABGsZa2Esmh5LlhV26mtmlv0CX3R5cGUAVwAAAGVtcG93ZXIuQ2hhcnRzLkRhdGEuRGF0YUNoYXJ0cy5PdmVybGF5cy5EYXRhLkNvbHVtblN1bU92ZXJsYXlEYXRhLCBlbXBvd2VyLkNoYXJ0cy5EYXRhABBDb2x1bW4AAgAAABBTZXJpZXMA/////wNUZXh0RWxlbWVudADrBgAAAkF1dG9TaGFwZVR5cGUACgAAAFJlY3RhbmdsZQAEQWRqdXN0bWVudHMABQAAAAAFTWFuYWdlZElkABAAAAAEsiaI5kqNXkOfNmHpdD36zQ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gBQuLUABV2lkdGgAAAAAQInzOk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wKi7KkAAAkNvbHVtblN1bVBvc2l0aW9uAAwAAABEZWZhdWx0RG9jawAIRGVsZXRlZAABA051bWJlckZvcm1hdAAfAAAABV9pZAAQAAAABIpzvCs+dGtAjXV9Y1yjBt4AA1RleHRGb3JtYXQ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SXNOZXcAAQFGb250U2l6ZQAAAAAAAAAoQAADMwDeCQAABV9pZAAQAAAABAnoMnlcs5VMvobRlO0839ECX3R5cGUAVwAAAGVtcG93ZXIuQ2hhcnRzLkRhdGEuRGF0YUNoYXJ0cy5PdmVybGF5cy5EYXRhLkNvbHVtblN1bU92ZXJsYXlEYXRhLCBlbXBvd2VyLkNoYXJ0cy5EYXRhABBDb2x1bW4ABAAAABBTZXJpZXMA/////wNUZXh0RWxlbWVudADrBgAAAkF1dG9TaGFwZVR5cGUACgAAAFJlY3RhbmdsZQAEQWRqdXN0bWVudHMABQAAAAAFTWFuYWdlZElkABAAAAAEdJBx26Y/0Ue/D+nNYLE9sQ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DoAAAAFOQAAAP////8TCNQHAAAAAAAAAA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IAULi1AAVdpZHRoAAAAAECJ8zp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MCouypAAAJDb2x1bW5TdW1Qb3NpdGlvbgAMAAAARGVmYXVsdERvY2sACERlbGV0ZWQAAQNOdW1iZXJGb3JtYXQAHwAAAAVfaWQAEAAAAASKc7wrPnRrQI11fWNcowbeAANUZXh0Rm9ybWF0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lzTmV3AAEBRm9udFNpemUAAAAAAAAAKEAAAAJOYW1lAAkAAABPdmVybGF5cwAQVmVyc2lvbgAIAAAACUxhc3RXcml0ZQBi10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7AAAABf////88AAAA5w8AAAAAAAAAAAAALhUAAAVfaWQAEAAAAASmpbHFR/JzTIbS8vjPbzFwA0RhdGEA1BQAAARJdGVtRGF0YQATFAAAAzAACxQAABBJbmRleAABAAAACElzRGVsZXRlZAAAA1RleHRTaGFwZURhdGEAawYAAAVNYW5hZ2VkSWQAEAAAAASEwrkaa1zuSqaxmPsgkKUb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QA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GAAAAQXJpYWwAAUZvbnRTaXplAAAAAAAAAAAACEZvbnRTdHJpa2V0aHJvdWdoAAAIRm9udFN1YnNjcmlwdAAACEZvbnRTdXBlcnNjcmlwdAAACEZvbnRVbmRlcmxpbmUAAAAIU2l6ZVRvVGV4dFdpZHRoAAEIU2l6ZVRvVGV4dEhlaWdodAAB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WFya2VyU2hhcGVEYXRhAHQGAAACQXV0b1NoYXBlVHlwZQAKAAAAUmVjdGFuZ2xlAAVNYW5hZ2VkSWQAEAAAAAQgWicTVarUQ7ZBaz+VhmSv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JE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pbmVTaGFwZURhdGEA4QYAAANTdGFydAAbAAAAAVgAAAAAAAAAAAABWQAAAAAAAAAAAAADRW5kABsAAAABWAAAAAAAAAAAAAFZAAAAAAAAAAAAAAJTdGFydEFycm93SGVhZAARAAAAbXNvQXJyb3doZWFkTm9uZQACRW5kQXJyb3dIZWFkABEAAABtc29BcnJvd2hlYWROb25lAAVNYW5hZ2VkSWQAEAAAAAS8STldw85pQ6jpVrAoGNlY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PAAAAAU7AAAA/////0cFoAoAAAAAAAAA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kFsaWdubWVudAAHAAAASGlkZGVuAAhJc1VzZXJQb3NpdGlvbgAAA0N1c3RvbUNlbnRlclBvc2l0aW9uABsAAAABWAAAAAAAAAAAAAFZAAAAAAAAAAAAAAJJdGVtT3JkZXIACgAAAEFzY2VuZGluZwAQUm93Q291bnQAAAAAABBDb2x1bW5Db3VudAAAAAAAAkl0ZW1GbG93RGlyZWN0aW9uAAsAAABIb3Jpem9udGFsAAACTmFtZQALAAAATGVnZW5kRGF0YQAQVmVyc2lvbgACAAAACUxhc3RXcml0ZQBi10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0AAAAF/////z4AAADnDwAAAAAAAAAAAAB9IAAABV9pZAAQAAAABLoSDsbY/2tCihyHscHIhfMERGF0YQAlIAAAAzAABQgAAAVfaWQAEAAAAARXMhTmvWjxTKWRfD2a9UKUAl90eXBlAFcAAABlbXBvd2VyLkNoYXJ0cy5EYXRhLkRhdGFDaGFydHMuT3ZlcmxheXMuRGF0YS5Db2x1bW5TdW1PdmVybGF5RGF0YSwgZW1wb3dlci5DaGFydHMuRGF0YQAQQ29sdW1uAAEAAAAQU2VyaWVzAP////8DVGV4dEVsZW1lbnQA6wYAAAJBdXRvU2hhcGVUeXBlAAoAAABSZWN0YW5nbGUABEFkanVzdG1lbnRzAAUAAAAABU1hbmFnZWRJZAAQAAAABKnPa2UDJhRHjHBQD3t8t7E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IAULi1AAVdpZHRoAAAAAECJ8zp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MCouypAAAJDb2x1bW5TdW1Qb3NpdGlvbgAMAAAARGVmYXVsdERvY2sACERlbGV0ZWQAAQNOdW1iZXJGb3JtYXQAHwAAAAVfaWQAEAAAAAQAAAAAAAAAAAAAAAAAAAAAAAhJc05ldwABAUZvbnRTaXplAAAAAAAAAChAAAMxAAUIAAAFX2lkABAAAAAEgy3Q1jA3hU6tdPwsQuWkLwJfdHlwZQBXAAAAZW1wb3dlci5DaGFydHMuRGF0YS5EYXRhQ2hhcnRzLk92ZXJsYXlzLkRhdGEuQ29sdW1uU3VtT3ZlcmxheURhdGEsIGVtcG93ZXIuQ2hhcnRzLkRhdGEAEENvbHVtbgADAAAAEFNlcmllcwD/////A1RleHRFbGVtZW50AOsGAAACQXV0b1NoYXBlVHlwZQAKAAAAUmVjdGFuZ2xlAARBZGp1c3RtZW50cwAFAAAAAAVNYW5hZ2VkSWQAEAAAAATsrkFTq2q+RKgadAGXtl2r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CAFC4tQAFXaWR0aAAAAABAifM6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DAqLsqQAACQ29sdW1uU3VtUG9zaXRpb24ADAAAAERlZmF1bHREb2NrAAg+AAAABT0AAAA/AAAA5w8AAAAAAAAAAAAARGVsZXRlZAABA051bWJlckZvcm1hdAAfAAAABV9pZAAQAAAABAAAAAAAAAAAAAAAAAAAAAAACElzTmV3AAEBRm9udFNpemUAAAAAAAAAKEAAAzIABQgAAAVfaWQAEAAAAARrGWthLJoeS5YVduprZpb9Al90eXBlAFcAAABlbXBvd2VyLkNoYXJ0cy5EYXRhLkRhdGFDaGFydHMuT3ZlcmxheXMuRGF0YS5Db2x1bW5TdW1PdmVybGF5RGF0YSwgZW1wb3dlci5DaGFydHMuRGF0YQAQQ29sdW1uAAIAAAAQU2VyaWVzAP////8DVGV4dEVsZW1lbnQA6wYAAAJBdXRvU2hhcGVUeXBlAAoAAABSZWN0YW5nbGUABEFkanVzdG1lbnRzAAUAAAAABU1hbmFnZWRJZAAQAAAABLImiOZKjV5DnzZh6XQ9+s0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IAULi1AAVdpZHRoAAAAAECJ8zp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MCouypAAAJDb2x1bW5TdW1Qb3NpdGlvbgAMAAAARGVmYXVsdERvY2sACERlbGV0ZWQAAQNOdW1iZXJGb3JtYXQAHwAAAAVfaWQAEAAAAAQAAAAAAAAAAAAAAAAAAAAAAAhJc05ldwABAUZvbnRTaXplAAAAAAAAAChAAAMzAAUIAAAFX2lkABAAAAAECegyeVyzlUy+htGU7Tzf0QJfdHlwZQBXAAAAZW1wb3dlci5DaGFydHMuRGF0YS5EYXRhQ2hhcnRzLk92ZXJsYXlzLkRhdGEuQ29sdW1uU3VtT3ZlcmxheURhdGEsIGVtcG93ZXIuQ2hhcnRzLkRhdGEAEENvbHVtbgAEAAAAEFNlcmllcwD/////A1RleHRFbGVtZW50AOsGAAACQXV0b1NoYXBlVHlwZQAKAAAAUmVjdGFuZ2xlAARBZGp1c3RtZW50cwAFAAAAAAVNYW5hZ2VkSWQAEAAAAAR0kHHbpj/RR78P6c1gsT2x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CAFC4tQAFXaWR0aAAAAABAifM6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DAPwAAAAU+AAAA/////68AOA8AAAAAAAAAAKi7KkAAAkNvbHVtblN1bVBvc2l0aW9uAAwAAABEZWZhdWx0RG9jawAIRGVsZXRlZAABA051bWJlckZvcm1hdAAfAAAABV9pZAAQAAAABAAAAAAAAAAAAAAAAAAAAAAACElzTmV3AAEBRm9udFNpemUAAAAAAAAAKEAAAAJOYW1lAAkAAABPdmVybGF5cwAQVmVyc2lvbgAGAAAACUxhc3RXcml0ZQBi10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AAAAADAAAAAP////8IAKMNAAAAAAAAAAAAAAIA////////SwAAAAAAEAAL7cdI4vVDj02dRagVlfqKKjcAAAAKAAMAAAAxAEAAAAABAAMAAAAwAEAAAAACAAEAAQD///////9LAAAAAQAQAAuOLPfkrhfOSYIBLGyOm9ClNwAAAAsAQAAAAAAAQAAAAAIAAgACAP///////0sAAAACABAACyBS2OYywydAo3h5R9HiHzFCAAAAAABAAAAAAQBAAAAAAwBAAAAAAABAAAAABAADAAEA////////SwAAAAMAEAALaoOq6l4IQUuCD0nf/nB0gkMAAAAAAEAAAAACAEAAAAAEAAQAAgD///////9LAAAABAAQAAvhsrft+PUGS7tmoSuL4tTOQwAAAAEAQAAAAAMAQAAAAAUAQAAAAAIAQAAAAAYABQABAP///////0sAAAAFABAACwFJcfAmNq5Nt9yMMtbTHJVDAAAAAgBAAAAABABAAAAABgAGAAUA////////SwAAAAYAEAALbThM9xR+k02jmcm3j5gai0MAAAADAEAAAAAFAEAAAAAHAEAAAAAEAEAAAAAHAAMAAAAvAEAAAAAHAAMAAAAvAEAAAAAHAAMAAAAvAEAAAAAHAAcABwD///////9LAAAABwAQAAtRzzf9kcdEQID73WW3IJXmQwAAAAQAQAAAAAYAAwAAAAEAQAAAAAYA////////QAAAAAYA////////QAAAAAYA////////QAAAAAYA////////AwAAAC8A////////AwAAAC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BAAAAAwAAAAD/////CADuDQAAAAAAAAAAAAABAQUAAAAyAP///////yEABkNhdGVnb3J5TGFiZWxTZXR0aW5nc0RhdGFQcm9wZXJ0eTcAAAAKAEEAAAADAAQAAAAgAAEABAEFAAAAMwD///////8SAAZBZGRpdGlvbmFsQXhpc0RhdGE3AAAACwAEAAAAAABBAAAABwAEAAAAAAAEAAAABgAEAAAAAABBAAAABQAEAAAAAAAEAAAAEwACAAEBBQAAADQA////////EwAGR2xvYmFsQ2hhcnRTZXR0aW5nc0IAAAAAAAQAAAAYAAQAAAAFAAMAAQEFAAAANQD///////8YAAZDYXRlZ29yeUF4aXNEYXRhUHJvcGVydHlDAAAAAABBAAAABABBAAAAAAAEAAEBBQAAADYA////////EwAGQnJlYWtNYW5hZ2VtZW50RGF0YUMAAAABAAQAAAATAEEAAAADAAUAAwEFAAAANwD///////8IAAZBeGVzRGF0YUMAAAACAAQAAAAcAAQAAAATAAQAAAAGAAQAAAATAEEAAAABAAQAAAATAAYAAQEFAAAAOAD///////8KAAZMZWdlbmREYXRhQwAAAAMABAAAAC0ABAAAABkABwABAQUAAAA5AP///////xIABkFkZGl0aW9uYWxBeGlzRGF0YUMAAAAEAEEAAAABAAQA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gAAAAT//////////wEAFgYAAAAAAAAAAAAA/////8kJyQkAAAVfaWQAEAAAAAQgUtjmMsMnQKN4eUfR4h8xA0RhdGEAZgkAAAhBdXRvbWF0aWNMYXlvdXRBY3RpdmUAAQRBZGRpdGlvbmFsQ2hhcnRNYXJnaW5EYXRhcwAFAAAAAAJEYXRhUmVmZXJlbmNlRGlyZWN0aW9uAA0AAABTZXJpZXNCeVJvd3MAAlNlcmllc09yZGVyAAoAAABBc0luRXhjZWwAAlBvaW50T3JkZXIACgAAAEFzSW5FeGNlbAACUHJpbWFyeUF4aXNDcm9zc1R5cGUAGQAAAENyb3NzZXNCZXR3ZWVuQ2F0ZWdvcmllcwACU2Vjb25kYXJ5QXhpc0Nyb3NzVHlwZQAIAAAASW52YWxpZAAISXNDaGFydFRpdGxlVmlzaWJsZQAAA0NoYXJ0VGl0bGVEYXRhAOIGAAAIV2FudFRvQmVWaXNpYmxlAAADVGV4dEJveERhdGEAbAYAAAVNYW5hZ2VkSWQAEAAAAASH360RRHysQq8DzY/S8P8d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AAAhGb250U3RyaWtldGhyb3VnaAAACEZvbnRTdWJzY3JpcHQAAAhGb250U3VwZXJzY3JpcHQAAAhGb250VW5kZXJsaW5lAAAACFNpemVUb1RleHRXaWR0aAABCFNpemVUb1RleHRIZWlnaHQAAQ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9mZnNldEZyb21Ib21lAEIAAAABWAAAAAAAAAAAAAFZAAAAAAAAAAAAAUxlbmd0aAAAAAAAAAAAAAFMZW5ndGhTcXVhcmVkAAAAAAAAAAAAAAABUGxvdFRvQ2hhcnRBcmVhUmF0aW8AAAAAAAAAAAACUmVuZGVyTW9kZQALAAAASHlicmlkVGV4dAADQ3VzdG9taXppbmdEZXNjcmlwdGlvbkRhdGEAkQAAAAJOYW1lABcAAABEZWZhdWx0RmxleEN1c3RvbWl6aW5nABBWZXJzaW9uAAEAAAAQTWlub3JWZXJzaW9uAAAAAAACQ3VzdG9taXppbmdUeXBlAAgAAABEZWZhdWx0AAJNaW9DZElkAAEAAAAAAkZsZXhDdXN0b21pemluZ1R5cGUACAAAAERlZmF1bHQAAAFMYXN0U2VlbldpZHRoAAAAAMD1jnFAAUxhc3RTZWVuSGVpZ2h0AAAAAGCGVFtACE1pZ3JhdGlvblRvUGVyZm9ybWFuY2VNb2RlRG9uZQABBUxhc3RTZWVuU2xpZGVDb2xvclRoZW1lTWQ1SGFzaAAQAAAAAMJkCTUk6e3PfTR944bn0R4AAk5hbWUAFAAAAEdsb2JhbENoYXJ0U2V0dGluZ3MAEFZlcnNpb24ABAAAAAlMYXN0V3JpdGUAKNhO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MAAAAEAAAAAP////8FAMoLAAAAAAAAAAAAAEQAAAAAAAEA/////3UAdQAAAAVfaWQAEAAAAAThsrft+PUGS7tmoSuL4tTOA0RhdGEAEgAAAARCcmVha3MABQAAAAAAAk5hbWUAFAAAAEJyZWFrTWFuYWdlbWVudERhdGEAEFZlcnNpb24AAAAAAAlMYXN0V3JpdGUAcebDQ2IBAAAAAgBGAAAAAAADAEgAAAAAAAQA/////4ADgAMAAAVfaWQAEAAAAARRzzf9kcdEQID73WW3IJXmA0RhdGEAHgMAAANCb3VuZHM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hJc1Zpc2libGUAAAhJc1JldmVyc2VkAAAIU2hvd0dyaWRMaW5lcwAAAU1ham9yVW5pdAAAAAAAAAAAAAFNYXhpbXVtU2NhbGUAAAAAAAAAAAABTWluaW11bVNjYWxlAAAAAAAAAAAACFVzZUF1dG9tYXRpY01ham9yVW5pdAABCFVzZUF1dG9tYXRpY01pbmltdW1TY2FsZQABCFVzZUF1dG9tYXRpY01heGltdW1TY2FsZQABA0FkZGl0aW9uYWxBeGlzVGlja0xhYmVsc0RhdGEAtwAAAARJdGVtRGF0YQAFAAAAAANGb250Q29sb3IAVQAAABBBAAAAAAAQUgAAAAAAEEcAAAAAABBCAAAAAAABU2NBAAAAAAAAAAAAAVNjUgAAAAAAAAAAAAFTY0cAAAAAAAAAAAABU2NCAAAAAAAAAAAAABBGb250U2NoZW1lQ29sb3IAAAAAABBGb250VGhlbWVDb2xvcgAAAAAAAUZvbnRUaW50QW5kU2hhZGUAAAAAAAAAAAAABEdyaWRMaW5lSXRlbURhdGEABQAAAAAAAk5hbWUAEwAAAEFkZGl0aW9uYWxBeGlzRGF0YQAQVmVyc2lvbgABAAAACUxhc3RXcml0ZQDq1U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EAAAABf////9FAAAA5w8AAAAAAAAAAAAAOB0AAAVfaWQAEAAAAARqg6rqXghBS4IPSd/+cHSCA0RhdGEA0BwAAARDYXRlZ29yeUF4aXNMYWJlbERhdGEAgxwAAAMwACQHAAADVGV4dEJveERhdGEA1QYAAAVNYW5hZ2VkSWQAEAAAAAS0YddBM6VOTbQkfYsK5Ywd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EgAAAEZyZWlnZW1laW5uw7x0emlnAAJUZXh0SG9yaXpvbnRhbEFsaWdubWVudAAOAAAAbXNvQW5jaG9yTm9uZQACUGFyYWdyYXBoQWxpZ25tZW50AA4AAABtc29BbGlnblJpZ2h0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JUAIRm9udFN0cmlrZXRocm91Z2gAAAhGb250U3Vic2NyaXB0AAAIRm9udFN1cGVyc2NyaXB0AAAIRm9udFVuZGVybGluZQAAAAhTaXplVG9UZXh0V2lkdGgAAQhTaXplVG9UZXh0SGVpZ2h0AAEDVGV4dE1hcmdpbgA/AAAAAUxlZnQAAAAAAAAAAAABVG9wAAAAAAAAAAAAAVJpZ2h0AAAAAAAAAAAAAUJvdHRvbQAAAAAAAAAAAAACRGlzcGxheVRleHQAEgAAAEZyZWlnZW1laW5uw7x0emlnAAFIZWlnaHQAAAAAANONKUABV2lkdGgAAAAAYCwpVEABVG9wAAAAAIA3Gx1AAUxlZnQAAAAAYOT//z8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gGT3J0AAAk9yaWVudGF0aW9uAAUAAABOb25lAAhMYWJlbFZpc2libGUAAQJUZXh0QWxpZ25tZW50AAUAAABMZWZ0AAADMQAYBwAAA1RleHRCb3hEYXRhAMkGAAAFTWFuYWdlZElkABAAAAAEuj7relVOf0uzyBK38DCc2g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wAAADDlmZmZW50bGljaAACVGV4dEhvcml6b250YWxBbGlnbm1lbnQADgAAAG1zb0FuY2hvck5vbmUAAlBhcmFncmFwaEFsaWdubWVudAAOAAAAbXNvQWxpZ25SaWdodA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VACEZvbnRTdHJpa2V0aHJvdWdoAAAIRm9udFN1YnNjcmlwdAAACEZvbnRTdXBlcnNjcmlwdAAACEZvbnRVbmRlcmxpbmUAAAAIU2l6ZVRvVGV4dFdpZHRoAAEIU2l6ZVRvVGV4dEhlaWdodAABA1RleHRNYXJnaW4APwAAAAFMZWZ0AAAAAAAAAAAAAVRvcAAAAAAAAAAAAAFSaWdodAAAAAAAAAAAAAFCb3R0b20AAAAAAAAAAAAAAkRpc3BsYXlUZXh0AAwAAADDlmZmZW50bGljaAABSGVpZ2h0AAAAAADTjSlAAVdpZHRoAAAAAOC0IUZAAVRvcAAAAACAqU1BQAFMZWZ0AAAAACCjMEN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IBk9ydAAAJPcmllbnRhdGlvbgAFAAAATm9uZQAITGFiZWxWaXNpYmxlAAECVGV4dEFsaWdubWVudAAFAAAATGVmdAAAAzIAJAcAAANUZXh0Qm94RGF0YQDVBgAABU1hbmFnZWRJZAAQAAAABO8pwzoHgaBNjuOi3B4WEoc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RQAAAAVEAAAA/////1ENlgIAAAAAAAAAAAABU2NHAAAAAAAAAAAAAVNjQgAAAAAAAAAAAAAQUGF0dGVyblRoZW1lQ29sb3IAAAAAAAFQYXR0ZXJuVGludEFuZFNoYWRlAAAAAAAAAAAACEZpbGxWaXNpYmxlAAAIVmlzaWJsZQABAkZpbGxQYXR0ZXJuABAAAABtc29QYXR0ZXJuTWl4ZWQAAlRleHQAEgAAAFByaXZhdC1nZXdlcmJsaWNoAAJUZXh0SG9yaXpvbnRhbEFsaWdubWVudAAOAAAAbXNvQW5jaG9yTm9uZQACUGFyYWdyYXBoQWxpZ25tZW50AA4AAABtc29BbGlnblJpZ2h0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JUAIRm9udFN0cmlrZXRocm91Z2gAAAhGb250U3Vic2NyaXB0AAAIRm9udFN1cGVyc2NyaXB0AAAIRm9udFVuZGVybGluZQAAAAhTaXplVG9UZXh0V2lkdGgAAQhTaXplVG9UZXh0SGVpZ2h0AAEDVGV4dE1hcmdpbgA/AAAAAUxlZnQAAAAAAAAAAAABVG9wAAAAAAAAAAAAAVJpZ2h0AAAAAAAAAAAAAUJvdHRvbQAAAAAAAAAAAAACRGlzcGxheVRleHQAEgAAAFByaXZhdC1nZXdlcmJsaWNoAAFIZWlnaHQAAAAAANONKUABV2lkdGgAAAAAgIgoVEABVG9wAAAAAKDu905AAUxlZnQAAAAAAHAUA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gGT3J0AAAk9yaWVudGF0aW9uAAUAAABOb25lAAhMYWJlbFZpc2libGUAAQJUZXh0QWxpZ25tZW50AAUAAABMZWZ0AAADMwASBwAAA1RleHRCb3hEYXRhAMMGAAAFTWFuYWdlZElkABAAAAAEWU2BkBjjo0CSoEDHOCDGMA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kAAABTb25zdGlnZQACVGV4dEhvcml6b250YWxBbGlnbm1lbnQADgAAAG1zb0FuY2hvck5vbmUAAlBhcmFncmFwaEFsaWdubWVudAAOAAAAbXNvQWxpZ25SaWdodA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VACEZvbnRTdHJpa2V0aHJvdWdoAAAIRm9udFN1YnNjcmlwdAAACEZvbnRTdXBlcnNjcmlwdAAACEZvbnRVbmRlcmxpbmUAAAAIU2l6ZVRvVGV4dFdpZHRoAAEIU2l6ZVRvVGV4dEhlaWdodAABA1RleHRNYXJnaW4APwAAAAFMZWZ0AAAAAAAAAAAAAVRvcAAAAAAAAAAAAAFSaWdodAAAAAAAAAAAAAFCb3R0b20AAAAAAAAAAAAAAkRpc3BsYXlUZXh0AAkAAABTb25zdGlnZQABSGVpZ2h0AAAAAADTjSlAAVdpZHRoAAAAAIBOe0RAAVRvcAAAAADAGFFWQAFMZWZ0AAAAAIAJ10R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IBk9ydAAAJPcmllbnRhdGlvbgAFAAAATm9uZQAITGFiZWxWaXNpYmxlAAECVGV4dEFsaWdubWVudAAFAAAATGVmdAAAAAhXYW50c1RvQmVWaXNpYmxlAAECTGFiZWxUZXh0QWxpZ25tZW50AAYAAABSaWdodAAAAk5hbWUAGQAAAENhdGVnb3J5QXhpc0RhdGFQcm9wZXJ0eQAQVmVyc2lvbgABAAAACUxhc3RXcml0ZQD12E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YAAAAF/////0cAAADnDwAAAAAAAAAAAAAXKAAABV9pZAAQAAAABAFJcfAmNq5Nt9yMMtbTHJUDRGF0YQC/JwAABFNhdmVkQXhpc0xhYmVsRGF0YQCmJwAAAzAAtw0AAAJBeGlzVHlwZQAIAAAAeGxWYWx1ZQACQXhpc0dyb3VwAAoAAAB4bFByaW1hcnkACFNjaGVtZUNvbG9yQXBwbGllZAAACEZvbnRTdHlsZVVuZGVybGluZWQAAAhBcHBseU92ZXJhbGxGb250c2l6ZQABCElzVmlzaWJsZQAACFhsQXV0b21hdGljQ29sb3JJbmRleEFwcGxpZWQAAAhVc2VFeGNlbEZvcm1hdHNXaGVuRGF0ZUF4aXMAAANBeGlzVGl0bGVEYXRhAJQIAAADUG9zaXRpb24AOgAAAAJBbmNob3IACwAAAEF4aXNDZW50ZXIAAVJlbGF0aXZlQW5jaG9yT2Zmc2V0AAAAAAAAAAAAAAhXYW50VG9CZVZpc2libGUAAANUZXh0Qm94RGF0YQCvBgAABU1hbmFnZWRJZAAQAAAABNxO3GikDCBKnE23xk40D7Q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0AAABtc29BbGlnbkxlZnQAAlRleHRWZXJ0aWNhbEFsaWdubWVudAANAAAAbXNvQW5jaG9yVG9w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AAAAAAABQm90dG9tAAAAAAAAAAAAAAJEaXNwbGF5VGV4dAABAAAAAAFIZWlnaHQAAAAAwI5AA0ABV2lkdGgAAAAAoJmZuT8BVG9wAAAAAAAAABBAAUxlZnQAAAAAAAAAE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AMJzAkAAA1Bvc3NpYmxlQXJlYQ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AAhVc2VBdXRvbWF0aWNNYWpvclVuaXQAAQhVc2VBdXRvbWF0aWNNaW5pbXVtU2NhbGUAAQhVc2VBdXRvbWF0aWNNYXhpbXVtU2NhbGUAAQNGb250Q29sb3IAVQAAABBBAP8AAAAQUgBAAAAAEEcAQAAAABBCAEAAAAABU2NBAAAAAAAAAPA/AVNjUgAAAADA/T+qPwFTY0cAAAAAwP0/qj8BU2NCAAAAAMD9P6o/ABBGb250U2NoZW1lQ29sb3IAAgAAABBGb250VGhlbWVDb2xvcgAAAAAAAUZvbnRUaW50QW5kU2hhZGUAAAAAAAAAAAACTGFiZWxQb3NpdGlvbgAFAAAATm9uZQADQXhpc0xpbmVTdHlsZQAzAQAAAl90eXBlAHIAAABtaW8uQ29tbW9uLlBvd2VyUG9pbnQuTWFuYWdlZC5Db250cmFjdHMuQ3VzdG9taXppbmcuU3R5bGVzLkF4aXNMaW5lU3R5bGUsIG1pby5Db21tb24uUG93ZXJQb2ludC5NYW5hZ2VkLkNvbnRyYWN0cwABTGluZVdlaWdodAAAAAAAAADgPwJEYXNoU3R5bGUACgAAAExpbmVTb2xpZAAIVmlzaWJsZQABA0NvbG9yAHMAAAAQVGhlbWVDb2xvcgANAAAAAVRpbnRBbmRTaGFkZQAAAAAAAAAAABBUaW50SW5kZXgA/////xBTY2hlbWVDb2xvcgAAAAAAA0NvbG9yACEAAAAQQQAAAAAAEFIA/wAAABBHAP8AAAAQQgD/AAAAAAAAA051bWJlckZvcm1hdAAfAAAABV9pZAAQAAAABAAAAAAAAAAAAAAAAAA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AAMxACcMAAACQXhpc1R5cGUACAAAAHhsVmFsdWUAAkF4aXNHcm91cAAMAAAAeGxTZWNvbmRhcnkACFNjaGVtZUNvbG9yQXBwbGllZAAACEZvbnRTdHlsZVVuZGVybGluZWQAAAhBcHBseU92ZXJhbGxGb250c2l6ZQAACElzVmlzaWJsZQAACFhsQXV0b21hdGljQ29sb3JJbmRleEFwcGxpZWQAAAhVc2VFeGNlbEZvcm1hdHNXaGVuRGF0ZUF4aXMAAANBeGlzVGl0bGVEYXRhAEcIAAADUG9zaXRpb24AOgAAAAJBbmNob3IACwAAAEF4aXNDZW50ZXIAAVJlbGF0aXZlQW5jaG9yT2Zmc2V0AAAAAAAAAAAAAAhXYW50VG9CZVZpc2libGUAAANUZXh0Qm94RGF0YQBiBgAABU1hbmFnZWRJZAAQAAAABINjYrLYmERIhaGUpkBK23AISGFzQ2hhbmdlcwABCFVzZU5hbWVJbnN0ZWFkT2ZUYWdBc0lkAAEIU2hhcGVQcmV2aW91c2x5Q3JlYXRlZAAAA0ZpbGxDb2xvcgBVAAAAEEEAAAAAABBSAAAAAAAQRwAAAAAAEEIAAAAAAAFTY0EAAAAAAAAA8L8BU2NSAAAAAAAAAPC/AVNjRwAAAAAAAABHAAAABUYAAABMAAAA5w8AAAA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DQAAAG1zb0FsaWduTGVmdAACVGV4dFZlcnRpY2FsQWxpZ25tZW50AA0AAABtc29BbmNob3JUb3AAA0ZvbnRTdHlsZQAsAQAAEEZvbnRCYWNrZ3JvdW5kAAAAAAAIRm9udEJvbGQAAANGb250Q29sb3IAVQAAABBBAP8AAAAQUgAAAAAAEEcAAAAAABBCAAAAAAABU2NBAAAAAAAAAPA/AVNjUgAAAAAAAAAAAAFTY0cAAAAAAAAAAAABU2NCAAAAAAAAAAAAABBGb250VGhlbWVDb2xvcgAAAAAAAUZvbnRUaW50QW5kU2hhZGUAAAAAAAAAAAAQRm9udFNjaGVtZUNvbG9yAAAAAAAIRm9udEl0YWxpYwAAAUZvbnRTaXplAAAAAAAAAChACEZvbnRTdHJpa2V0aHJvdWdoAAAIRm9udFN1YnNjcmlwdAAACEZvbnRTdXBlcnNjcmlwdAAACEZvbnRVbmRlcmxpbmUAAAAIU2l6ZVRvVGV4dFdpZHRoAAEIU2l6ZVRvVGV4dEhlaWdodAABA1RleHRNYXJnaW4APwAAAAFMZWZ0AAAAAAAAAAAAAVRvcAAAAAAAAAAAAAFSaWdodAAAAAAAAAAAAAFCb3R0b20AAAAAAAAAAAAAAUhlaWdodAAAAAAAAAAAAAFXaWR0aAAAAAAAAAAAAAFUb3AAAAAAAAAAEEABTGVmdAAAAAAAAAAQ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G9zc2libGVBcmVhAG8BAAABWAAAAAAAAAAAAAFZAAAAAAAAAAAAAVdpZHRoAAAAAAAAAAAAAUhlaWdodAAAAAAAAAAAAAFMZWZ0AAAAAAAAAAAAAVRvcAAAAAAAAAAAAAFSaWdodAAAAAAAAAAAAAFCb3R0b20AAAAAAAAAAAADVG9wTGVmdAAbAAAAAVgAAAAAAAAAAAABWQAAAAAAAAAAAAADVG9wUmlnaHQAGwAAAAFYAAAAAAAAAAAAAVkAAAAAAAAAAAAAA0JvdHRvbUxlZnQAGwAAAAFYAAAAAAAAAAAAAVkAAAAAAAAAAAAAA0JvdHRvbVJpZ2h0ABsAAAABWAAAAAAAAAAAAAFZAAAAAAAAAAAAAANTaXplAC4AAAAISXNFbXB0eQAAAVdpZHRoAAAAAAAAAAAAAUhlaWdodAAAAAAAAAAAAAADTG9jYXRpb24AGwAAAAFYAAAAAAAAAAAAAVkAAAAAAAAAAAAACElzRW1wdHkAAAAACFVzZUF1dG9tYXRpY01ham9yVW5pdAABCFVzZUF1dG9tYXRpY01pbmltdW1TY2FsZQABCFVzZUF1dG9tYXRpY01heGltdW1TY2FsZQABA0ZvbnRDb2xvcgBVAAAAEEEAAAAAABBSAAAAAAAQRwAAAAAAEEIAAAAAAAFTY0EAAAAAAAAAAAABU2NSAAAAAAAAAAAAAVNjRwAAAAAAAAAAAAFTY0IAAAAAAAAAAAAAEEZvbnRTY2hlbWVDb2xvcgAAAAAAEEZvbnRUaGVtZUNvbG9yAAAAAAABRm9udFRpbnRBbmRTaGFkZQAAAAAAAAAAAAJMYWJlbFBvc2l0aW9uAAIAAAAw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DMgC6DQAAAkF4aXNUeXBlAAsAAAB4bENhdGVnb3J5AAJBeGlzR3JvdXAACgAAAHhsUHJpbWFyeQAIU2NoZW1lQ29sb3JBcHBsaWVkAAEIRm9udFN0eWxlVW5kZXJsaW5lZAAACEFwcGx5T3ZlcmFsbEZvbnRzaXplAAEISXNWaXNpYmxlAAEIWGxBdXRvbWF0aWNDb2xvckluZGV4QXBwbGllZAAACFVzZUV4Y2VsRm9ybWF0c1doZW5EYXRlQXhpcwABA0F4aXNUaXRsZURhdGEAlAgAAANQb3NpdGlvbgA6AAAAAkFuY2hvcgALAAAAQXhpc0NlbnRlcgABUmVsYXRpdmVBbmNob3JPZmZzZXQAAAAAAAAAAAAACFdhbnRUb0JlVmlzaWJsZQAAA1RleHRCb3hEYXRhAK8GAAAFTWFuYWdlZElkABAAAAAEGBwJczXWZ0qidLmRn9OEq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DQAAAG1zb0FsaWduTGVmdAACVGV4dFZlcnRpY2FsQWxpZ25tZW50AA0AAABtc29BbmNob3JUb3A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AAAAAAAAFCb3R0b20AAAAAAAAAAAAAAkRpc3BsYXlUZXh0AAEAAAAAAUhlaWdodAAAAADAjkADQAFXaWR0aAAAAACgmZm5PwFUb3AAAAAAAAAAEEABTGVmdAAAAAAAAAAQQAhGbGlwSG9yaXpvbnRhSAAAAAX/////SQAAAOcPAAAAAAAAAAAAAC4VAAAFX2lkABAAAAAEbThM9xR+k02jmcm3j5gaiwNEYXRhANQUAAAESXRlbURhdGEAExQAAAMwAAsUAAAQSW5kZXgAAQAAAAhJc0RlbGV0ZWQAAANUZXh0U2hhcGVEYXRhAGsGAAAFTWFuYWdlZElkABAAAAAEhMK5Gmtc7kqmsZj7IJClGw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EA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gAAAEFyaWFsAAFGb250U2l6ZQAAAAAAAAAAAAhGb250U3RyaWtldGhyb3VnaAAACEZvbnRTdWJzY3JpcHQAAAhGb250U3VwZXJzY3JpcHQAAAhGb250VW5kZXJsaW5lAAAACFNpemVUb1RleHRXaWR0aAABCFNpemVUb1RleHRIZWlnaHQAAQ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1hcmtlclNoYXBlRGF0YQB0BgAAAkF1dG9TaGFwZVR5cGUACgAAAFJlY3RhbmdsZQAFTWFuYWdlZElkABAAAAAEIFonE1Wq1EO2QWs/lYZkrw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CR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aW5lU2hhcGVEYXRhAOEGAAADU3RhcnQAGwAAAAFYAAAAAAAAAAAAAVkAAAAAAAAAAAAAA0VuZAAbAAAAAVgAAAAAAAAAAAABWQAAAAAAAAAAAAACU3RhcnRBcnJvd0hlYWQAEQAAAG1zb0Fycm93aGVhZE5vbmUAAkVuZEFycm93SGVhZAARAAAAbXNvQXJyb3doZWFkTm9uZQAFTWFuYWdlZElkABAAAAAEvEk5XcPOaUOo6VawKBjZWA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EkAAAAFSAAAAP////9HBaAKAAAAAAAAAAB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JBbGlnbm1lbnQABwAAAEhpZGRlbgAISXNVc2VyUG9zaXRpb24AAANDdXN0b21DZW50ZXJQb3NpdGlvbgAbAAAAAVgAAAAAAAAAAAABWQAAAAAAAAAAAAACSXRlbU9yZGVyAAoAAABBc2NlbmRpbmcAEFJvd0NvdW50AAAAAAAQQ29sdW1uQ291bnQAAAAAAAJJdGVtRmxvd0RpcmVjdGlvbgALAAAASG9yaXpvbnRhbAAAAk5hbWUACwAAAExlZ2VuZERhdGEAEFZlcnNpb24AAQAAAAlMYXN0V3JpdGUAT9dO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KAAAAA///////////MgA/AAAAAAAAAAAAAAAgA////////////////wAAAP///////////////0sAAAABAP///////0sAAAABAP///////0sAAAABAP///////0sAAAABAP///////0oAAAAGAP///////0sAAAAAAP///////0sAAAAAAP///////0sAAAAAAP///////0sAAAAAAP///////////////////////////////////////////////////////////////////////////////////////////////////////////////////////////////////////////////////////////////////////////////////////////////////////////////////////////////////////////////////////////////////////////////////////////////////////////////////////////////////////////////////////////////////////////////wEAIAP///////////////8AAA7///////9KAAAAJgD///////////////////////////////////////////////////////////////////////////////////////////////////////////////////////////////////////////////////////////////////////////////////////////////////////////////////////////////////////////////////////////////////////////////////////////////////////////////////////////////////////////////////////////////////////////////////////////////////////////////////////////////////////////////////////////////////////////////////////////////////////////////////////8CAAQDAwAAAAIABQAAAAIADAAGRGF0YUxhYmVsc183BgAAAAAASgAAAAgASgAAABUASgAAAA8ASgAAABUASgAAACEASwAAAAYASgAAACEASgAAAAMAAwAEAwMAAAADAAUAAAADABsABlNoYXBlQ29uc3RydWN0ZWRDaGFydERhdGFfMAYAAAABAEoAAAANAEoAAAAdAEoAAAAoAEoAAAAdAEoAAAAoAEoAAAAdAEoAAAACAP///////wQAAQMDAAAABAAFAAAABAAgAAZQb2ludEFuZFNlcmllc1N0eWxlRGVmaW5pdGlvbnNfMgYAAAACAEoAAAAKAEoAAAAQAAUAAgMDAAAABQAFAAAABQASAAZHcmlkbGluZVNldHRpbmdzXzAGAAAAAwBKAAAAGABKAAAADABKAAAAHwBKAAAAJAAGAAUDAwAAAAYABQAAAAYAHAAGQXV0b21hdGljQnJlYWtTZXR0aW5nc0RhdGFfMAYAAAAEAEsAAAAHAEsAAAAFAEsAAAAHAEoAAAAcAEsAAAABAEsAAAAEAEsAAAABAEsAAAAAAEoAAAAAAEsAAAAAAAcAAwMDAAAABwAFAAAABwANAAZNYXJrZXJzRGF0YV8xDgAAAAAASgAAABkASgAAAAkASgAAAC0ASgAAAAkASwAAAAYASgAAAAkACAABAwMAAAAIAAUAAAAIAAwABkRhdGFMYWJlbHNfNgYAAAAFAEoAAAAbAEoAAAACAAkAAwMDAAAACQAFAAAACQAPAAZOdW1iZXJGb3JtYXRzXzEGAAAABgBKAAAABwBKAAAAJQBKAAAABwBKAAAAJQBKAAAABwBKAAAAJQAKAAEDAwAAAAoABQAAAAoAIAAGUG9pbnRBbmRTZXJpZXNTdHlsZURlZmluaXRpb25zXzEWAAAAAABKAAAACwBKAAAABAALAAEDAwAAAAsABQAAAAsAIAAGUG9pbnRBbmRTZXJpZXNTdHlsZURlZmluaXRpb25zXzAWAAAAAQBKAAAAHgBKAAAACgAMAAEDAwAAAAwABQAAAAwAEgAGR3JpZGxpbmVTZXR0aW5nc18xFgAAAAIASgAAAAUASgAAACQADQABAwMAAAANAAUAAAANAA4ABlNlcmllc0xhYmVsc181FwAAAAAASgAAACgASgAAAAMADgABAwMAAAAOAAUAAAAOABAABkNvbW1vblNldHRpbmdzXzAXAAAAAQBKAAAADwBKAAAAGwAPAAIDAwAAAA8ABQAAAA8AFAAGQ29sdW1uU3Vtc1NldHRpbmdzXzAXAAAAAgBKAAAAIQBKAAAADgBKAAAAIQBKAAAAAgAQAAEDAwAAABAABQAAABAADAAGU2VyaWVzRGF0YV8wFwAAAAMASgAAAAQASgAAACsAEQADAwMAAAARAAUAAAARAAwABlBlcnNvbmFsSWRfMBcAAAAEAEoAAAApAEoAAAAxAEoAAAAlAEoAAAAxAEoAAAAlAEoAAAAeABIAAQMDAAAAEgAFAAAAEgAWAAZHZW5lcmFsRXhjZWxTZXR0aW5nc18wFwAAAAUASgAAAB8ASwAAAAIAEwABAwMAAAATAAUAAAATACAABkF6dXJlSW5mb3JtYXRpb25Qcm90ZWN0aW9uRGF0YV8wFwAAAAYASgAAABwASwAAAAQAFAABAwMAAAAUAAUAAAAUAAoABk92ZXJsYXlzXzcXAAAABwBKAAAALgBKAAAAKQAVAAIDAwAAABUABQAAABUADAAGRGF0YUxhYmVsc184FwAAAAgASgAAAAIASgAAABoASgAAAAIASgAAACcAFgABAwMAAAAWAAUAAAAWABwABkV4Y2VsQ29sb3JNb2RlRGF0YVByb3BlcnR5XzEiAAAAAABKAAAALABKAAAAJwAXAAEDAwAAABcABQAAABcACgAGT3ZlcmxheXNfNRcAAAAJAEoAAAAlAEoAAAAuABgAAQMDAAAAGAAFAAAAGAAVAAZHbG9iYWxDaGFydFNldHRpbmdzXzUXAAAACgBLAAAAAgBKAAAABQAZAAEDAwAAABkABQAAABkADgAGTGlua0RhdGFMaXN0XzEmAAAAAABKAAAALwBKAAAABwAaAAEDAwAAABoABQAAABoADAAGRGF0YUxhYmVsc185JgAAAAEASgAAABUASgAAACwAGwABAwMAAAAbAAUAAAAbABYABkRhdGFDaGFydENvQXV0aG9yaW5nXzAmAAAAAgBKAAAADgBKAAAACAAcAAIDAwAAABwABQAAABwACgAGQXhlc0RhdGFfNSYAAAADAEsAAAAFAEoAAAATAEoAAAAGAEsAAAAEAB0AAwMDAAAAHQAFAAAAHQALAAZXYXRlcmZhbGxfMCYAAAAEAEoAAAADAEoAAAAmAEoAAAADAP///////0oAAAADAP///////x4AAwMDAAAAHgAFAAAAHgAmAAZQb2ludEFuZFNlcmllc01hcmtlclN0eWxlRGVmaW5pdGlvbnNfMCYAAAAFAEoAAAAjAEoAAAALAEoAAAAqAEoAAAAoAEoAAAARAEoAAAAoAB8AAgMDAAAAHwAFAAAAHwANAAZFeGNlbE1pcnJvcl8xMQAAAAAASgAAACcASgAAABIASgAAACcASgAAAAUAIAAFAwMAAAAgAAUAAAAgAB4ABkNoYXJ0U3R5bGVTdGF0dXNJbmZvcm1hdGlvbnNfMDEAAAABAEsAAAAAAEoAAAAiAEsAAAAAAEoAAAAhAEsAAAAAAEoAAAAhAEsAAAAAAEoAAAAhAEsAAAAAAEoAAAAhACEABQMDAAAAIQAFAAAAIQAOAAZDb2xvckluZGljZXNfMjEAAAACAEoAAAAwAEoAAAAPAEoAAAAgAEoAAAAPAEoAAAAgAEoAAAACAEoAAAAgAEoAAAACAEoAAAAgAP///////yIAAQMDAAAAIgAFAAAAIgAeAAZDaGFydFN0eWxlU3RhdHVzSW5mb3JtYXRpb25zXzE1AAAAAABKAAAAIABKAAAAMAAjAAEDAwAAACMABQAAACMAKQAGUG9pbnRBbmRTZXJpZXNBZGRpdGlvblN0eWxlc0RlZmluaXRpb25zXzE1AAAAAQBKAAAAKgBKAAAAHgAkAAIDAwAAACQABQAAACQADQAGTGVhZGVyTGluZXNfMDUAAAACAEoAAAAMAEsAAAAGAEoAAAAFAEsAAAAGACUAAwMDAAAAJQAFAAAAJQAPAAZOdW1iZXJGb3JtYXRzXzI1AAAAAwBKAAAACQBKAAAAFwBKAAAACQBKAAAAEQBKAAAACQBKAAAAEQAmAAEDAwAAACYABQAAACYACwAGV2F0ZXJmYWxsXzE1AAAABABKAAAAHQBKAAAAAQAnAAIDAwAAACcABQAAACcAHAAGRXhjZWxDb2xvck1vZGVEYXRhUHJvcGVydHlfMjYAAAAAAEoAAAAWAEoAAAAfAEoAAAAVAEoAAAAfACgAAwMDAAAAKAAFAAAAKAAOAAZTZXJpZXNMYWJlbHNfNDcAAAAAAEoAAAArAEoAAAANAEoAAAAeAEoAAAADAEoAAAAeAEoAAAADACkAAQMDAAAAKQAFAAAAKQAKAAZPdmVybGF5c184NwAAAAEASgAAABQASgAAABEAKgACAwMAAAAqAAUAAAAqACkABlBvaW50QW5kU2VyaWVzQWRkaXRpb25TdHlsZXNEZWZpbml0aW9uc18wNwAAAAIASgAAADEASgAAACMASgAAADEASgAAAB4AKwABAwMAAAArAAUAAAArAA4ABlNlcmllc0xhYmVsc18zNwAAAAMASgAAABAASgAAACgALAABAwMAAAAsAAUAAAAsAAoABkRhdGFMaW5rXzE3AAAABABKAAAAGgBKAAAAFgAtAAIDAwAAAC0ABQAAAC0ADAAGTGVnZW5kRGF0YV8yNwAAAAUASwAAAAYASgAAAC8ASwAAAAYASgAAAAcALgABAwMAAAAuAAUAAAAuAAoABk92ZXJsYXlzXzY3AAAABgBKAAAAFwBKAAAAFAAvAAEDAwAAAC8ABQAAAC8ADgAGTGlua0RhdGFMaXN0XzA3AAAABwBKAAAALQBKAAAAGQAwAAEDAwAAADAABQAAADAAEwAGQ29sb3JEYXRhUHJvcGVydHlfMDcAAAAIAEoAAAAiAEoAAAAhADEAAgMDAAAAMQAFAAAAMQAQAAZQbG90QXJlYUJvcmRlcl8wNwAAAAkASgAAABEASgAAACoASgAAABEASgAAACoAAAAAAAAAAAAAAAAAAAAAAAAAAAAAAAAAAAAAAAAAAAAAAAAAAAAAAAAAAAAAAAAAAAAAAAAAAAAAAAAAAAAASwAAAAMAAAAA/////wgATg0AAAAAAAAAAAAACQNAAAAAAAAFAAAAMgAjAAZDYXRlZ29yeUxhYmVsU2V0dGluZ3NEYXRhUHJvcGVydHlfMDcAAAAKAEsAAAADAEoAAAAgAEsAAAADAEoAAAAgAEsAAAAEAEoAAAAgAEoAAAAGAEoAAAAgAEoAAAAGAEoAAAAgAEoAAAAAAP///////0oAAAAAAP///////0oAAAAAAP///////0oAAAAAAP///////wEABANAAAAAAQAFAAAAMwAUAAZBZGRpdGlvbmFsQXhpc0RhdGFfMDcAAAALAEoAAAAAAEsAAAAHAEoAAAAAAEsAAAAHAEoAAAAAAEoAAAAGAEoAAAAAAEoAAAAGAAIAAQNAAAAAAgAFAAAANAAVAAZHbG9iYWxDaGFydFNldHRpbmdzXzRCAAAAAABKAAAAEgBKAAAAGAADAAIDQAAAAAMABQAAADUAGgAGQ2F0ZWdvcnlBeGlzRGF0YVByb3BlcnR5XzFDAAAAAABLAAAABABLAAAAAABLAAAABABLAAAAAAAEAAMDQAAAAAQABQAAADYAFQAGQnJlYWtNYW5hZ2VtZW50RGF0YV8wQwAAAAEASgAAABMASwAAAAMASgAAABwASwAAAAMASgAAAAYASwAAAAAABQABA0AAAAAFAAUAAAA3AAoABkF4ZXNEYXRhXzRDAAAAAgBKAAAABgBKAAAAHAAGAAMDQAAAAAYABQAAADgADAAGTGVnZW5kRGF0YV8xQwAAAAMASgAAACQASgAAAC0ASgAAACQASgAAAC0ASgAAAAIASgAAAAcABwACA0AAAAAHAAUAAAA5ABQABkFkZGl0aW9uYWxBeGlzRGF0YV8xQwAAAAQASwAAAAEASgAAAAYASwAAAAEASgAAAAY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wAAAAFRwAAAP////9JCJ4HAAAAAAAAAABsbHkAAAhGbGlwSG9yaXpvbnRhbGx5QXBwbGllZAAACEZsaXBWZXJ0aWNhbGx5AAAIRmxpcFZlcnRpY2FsbHlBcHBsaWVkAAABUm90YXRpb24AAAAAAADgcE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ADCcwJAAANQb3NzaWJsZUFyZWE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AIVXNlQXV0b21hdGljTWFqb3JVbml0AAEIVXNlQXV0b21hdGljTWluaW11bVNjYWxlAAEIVXNlQXV0b21hdGljTWF4aW11bVNjYWxlAAEDRm9udENvbG9yAFUAAAAQQQD/AAAAEFIAQAAAABBHAEAAAAAQQgBAAAAAAVNjQQAAAAAAAADwPwFTY1IAAAAAwP0/qj8BU2NHAAAAAMD9P6o/AVNjQgAAAADA/T+qPwAQRm9udFNjaGVtZUNvbG9yAAIAAAAQRm9udFRoZW1lQ29sb3IAAAAAAAFGb250VGludEFuZFNoYWRlAAAAAAAAAAAAAkxhYmVsUG9zaXRpb24ABQAAAE5vbmUAA0F4aXNMaW5lU3R5bGUAMwEAAAJfdHlwZQByAAAAbWlvLkNvbW1vbi5Qb3dlclBvaW50Lk1hbmFnZWQuQ29udHJhY3RzLkN1c3RvbWl6aW5nLlN0eWxlcy5BeGlzTGluZVN0eWxlLCBtaW8uQ29tbW9uLlBvd2VyUG9pbnQuTWFuYWdlZC5Db250cmFjdHMAAUxpbmVXZWlnaHQAAAAAAAAA4D8CRGFzaFN0eWxlAAoAAABMaW5lU29saWQACFZpc2libGUAAQNDb2xvcgBzAAAAEFRoZW1lQ29sb3IADQAAAAFUaW50QW5kU2hhZGUAAAAAAAAAAAAQVGludEluZGV4AP////8QU2NoZW1lQ29sb3IAAAAAAANDb2xvcgAhAAAAEEEAAAAAABBSAP8AAAAQRwD/AAAAEEIA/wAAAAAA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AAAJOYW1lAAkAAABBeGVzRGF0YQAQVmVyc2lvbgAEAAAACUxhc3RXcml0ZQCnLlA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845429367770442"/>
  <p:tag name="EMPOWERCHARTSPROPERTIES_A_LENGTH" val="315392"/>
</p:tagLst>
</file>

<file path=ppt/tags/tag4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48SiJhhaHtKmDyYJdXnGk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8SiJhhaHtKmDyYJdXnGkEDRGF0YQAWAAAAAlBlcnNvbmFsSWQAAQAAAAAAAk5hbWUACwAAAFBlcnNvbmFsSWQAEFZlcnNpb24AAAAAAAlMYXN0V3JpdGUAdmpAY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4287489310136"/>
  <p:tag name="EMPOWERCHARTSPROPERTIES_A_LENGTH" val="24576"/>
  <p:tag name="RUNTIME_ID" val="99f09a6f-ce23-4251-b5ac-e78554066afa"/>
</p:tagLst>
</file>

<file path=ppt/tags/tag46.xml><?xml version="1.0" encoding="utf-8"?>
<p:tagLst xmlns:a="http://schemas.openxmlformats.org/drawingml/2006/main" xmlns:r="http://schemas.openxmlformats.org/officeDocument/2006/relationships" xmlns:p="http://schemas.openxmlformats.org/presentationml/2006/main">
  <p:tag name="UNIQUEID" val="e58f45ad-a14b-4ce4-86e0-de4e2ce78589"/>
  <p:tag name="COLUMNSUMS - VISIBLE" val="False"/>
  <p:tag name="DATALABELS - BACKGROUND" val="True"/>
  <p:tag name="DATALABELS - VALUE" val="True"/>
  <p:tag name="METADATA - EXACTFONTSIZE" val="12"/>
  <p:tag name="METADATA - EXCELNUMBERFORMAT" val="General"/>
  <p:tag name="MIO_CHART_TEMPLATE_TYPE" val="BCF9DEBA-2C0F-40E3-8BE4-6647FACBE9D3"/>
  <p:tag name="MIO_SKIP_CDCHECK" val="true"/>
  <p:tag name="NA_EXTENSION_LIST_ADDED" val="yes."/>
  <p:tag name="EMPOWER DO NOT TRANSLATE" val="true"/>
  <p:tag name=" - MIN_VERSION_NEEDED" val="8.10.200.0"/>
  <p:tag name="RUNTIME_ID" val="d301d02c-11e7-43b8-a94b-bcd3cbb0291e"/>
  <p:tag name="DOWN_MIGRATION_INITIAL_LAYOUT_REQUIRED" val="9.2.99"/>
  <p:tag name="LAST_TOUCHED_CHARTS_VERSION" val="9.5"/>
  <p:tag name="EMPOWERCHARTSPROPERTIES_B_0" val="AAAAAAH//////////wEAAAAAAAAAAAAAACoqIFRoaXMgaXMgYSBMaXRlREIgZmlsZSAqKgdxAP////9A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OAAAAAAAAAArAAAACQAAAF9pZD0kLl9pZAEDAAAAAAADAAAAAQAxAAAACwAAAE5hbWU9JC5OYW1lAAQAAAAAAAQAAAABAC4AAAARAAAAVmVyc2lvbj0kLlZlcnNpb24ABQAAAAAABQAAAAEABQAAACMAAABDb21iaUluZGV4PSQuTmFtZSArICdfJyArICQuVmVyc2lvbgE+AAAAAAA+AAAAAQA/AAAAAAAAAAD///////8AAAAAAAD/////AAAAAAD///////8AAAAAAAD/////AAAAAAD///////8AAAAAAAD/////AAAAAAD///////8AAAAAAAD/////AAAAAAD///////8AAAAAAAD/////AAAAAAD///////8AAAAAAAD/////AAAAAAD///////8AAAAAAAD/////AAAAAAD///////8AAAAAAAD/////AAAAAAD///////8AAAAAAAD/////AAAAAAD///////8AAAAAAAD/////AAAAAAD///////8AAAAAAAD/////AAAAAAD///////8AAA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sGBgEBAQEBAQEBAQEBAVcAAAAAAAAAAwAAAAP//////////zYAQQAAAAAAAAAAAAAAIAD///////////////8AAAD///////////////8DAAAAAgD///////8DAAAAAgD///////8DAAAABwD///////8DAAAABwD///////8DAAAABwD///////////////////////////////////////////////////////////////////////////////////////////////////////////////////////////////////////////////////////////////////////////////////////////////////////////////////////////////////////////////////////////////////////////////////////////////////////////////////////////////////////////////////////////////////////////////////////////////////////////////////////////////////////////////8BACAA////////////////AAAO////////MQAAAAMA////////////////////////////////////////////////////////////////////////////////////////////////////////////////////////////////////////////////////////////////////////////////////////////////////////////////////////////////////////////////////////////////////////////////////////////////////////////////////////////////////////////////////////////////////////////////////////////////////////////////////////////////////////////////////////////////////////////////////////////////////////////////////////AgACAP///////z4AAAACABAAC/wo2QCA4CZJqYWO9bQHnDYGAAAAAAADAAAAAAADAAAAAwADAAAAAAADAAAAAwADAAIA////////PgAAAAMAEAAL94ASBiaTa0eNVekxjXse1QYAAAABAAMAAAACAAMAAAAEAAMAAAACAAMAAAAFAAQAAQD///////8+AAAABAAQAAvEnpANuHC5QZ+3D2eeDq6TBgAAAAIAAwAAAAMAAwAAAAUABQACAP///////z4AAAAFABAAC3V1gQ5s8E9AopkwCVvVvbcGAAAAAwADAAAABAADAAAABgADAAAAAwADAAAABwAGAAEA////////PgAAAAYAEAAL5/cAFI0W80abKe1t9RNbIAwAAAAAAAMAAAAFAAMAAAAHAAcABQD///////8+AAAABwAQAAvkTuQVVR9qRq53GZ8wZgjuDQAAAAAAAwAAAAYAAwAAAAgAAwAAAAUAAwAAAAwAAwAAAAAAAwAAABwAAwAAAAAAAwAAACAAAwAAAAAAAwAAACAACAABAP///////z4AAAAIABAACxHgGxc/QhxOiRFD3g+4BlANAAAAAQADAAAABwADAAAACQAJAAEA////////PgAAAAkAEAALW7UBGPm9QkeFuJB0Nu64qw0AAAACAAMAAAAIAAMAAAAKAAoAAQD///////8+AAAACgAQAAufN+0eXJv1RYvkIyxtu4qoDQAAAAMAAwAAAAkAAwAAAAsACwABAP///////z4AAAALABAACyrzFyP0dutMs8T+zha06YMNAAAABAADAAAACgADAAAADAAMAAIA////////PgAAAAwAEAALG+HuJufnikGtmhtzqveADA0AAAAFAAMAAAALAAMAAAANAAMAAAAHAAMAAAARAA0AAQD///////8+AAAADQAQAAtodfUp1Th6Rrgo6F3BiY0uDQAAAAYAAwAAAAwAAwAAAA4ADgABAP///////z4AAAAOABAAC0rJHy+eAeNGt8PzTe0xNckNAAAABwADAAAADQADAAAADwAPAAEA////////PgAAAA8AEAAL5c/ZNSLMkUewfqHRn1u7TBMAAAAAAAMAAAAOAAMAAAAQABAAAQD///////8+AAAAEAAQAAuJ23w6nahcSbWydlIC9sKtEwAAAAEAAwAAAA8AAwAAABEAEQACAP///////z4AAAARABAAC3nZijtll7VImXghVHj6n5gTAAAAAgADAAAAEAADAAAAEgADAAAADAADAAAAEgASAAIA////////PgAAABIAEAALdx1pQmrd602VpZvYlq7fbhMAAAADAAMAAAARAAMAAAATAAMAAAARAAMAAAAUABMAAQD///////8+AAAAEwAQAAvwsddCgXS+Q7QKB35qui3+FAAAAAAAAwAAABIAAwAAABQAFAACAP///////z4AAAAUABAAC6/GjFPMzTJKlWujjnMSBT0UAAAAAQADAAAAEwADAAAAFQADAAAAEgADAAAAFQAVAAIA////////PgAAABUAEAAL5OBxXF3D8kWEJNj6zKLveBcAAAAAAAMAAAAUAAMAAAAWAAMAAAAUAAMAAAAXABYAAQD///////8+AAAAFgAQAAvydrthrfsRRbJ2yUsB8ZY8FwAAAAEAAwAAABUAAwAAABcAFwACAP///////z4AAAAXABAAC6IgdXCcz3pDo3HLNDawTOgYAAAAAAADAAAAFgADAAAAGAADAAAAFQADAAAAGQAYAAEA////////PgAAABgAEAALHRpcc62+MUa/mvdjXBSr4BgAAAABAAMAAAAXAAMAAAAZABkAAgD///////8+AAAAGQAQAAvqQ/12zPsYSowKoZIhD3LTGAAAAAIAAwAAABgAAwAAABoAAwAAABcAAwAAABsAGgABAP///////z4AAAAaABAAC0aRI3ePCFxFgY+PtXU2QbEYAAAAAwADAAAAGQADAAAAGwAbAAIA////////PgAAABsAEAALCQ1Zd3VP4UW7qZ2U3TLySBwAAAAAAAMAAAAaAAMAAAAcAAMAAAAZAAMAAAAcABwAAwD///////8+AAAAHAAQAAtQOzB7KYrrQKOsZEw6vXasGAAAAAQAAwAAABsAAwAAAB0AAwAAABsAAwAAACAAAwAAAAcAAwAAACAAHQABAP///////z4AAAAdABAAC8EcpH7rI1hPpqidWtRoxbwYAAAABQADAAAAHAADAAAAHgAeAAEA////////PgAAAB4AEAAL1BXrf3+DnEqzEDWxMmJ0zh0AAAAAAAMAAAAdAAMAAAAfAB8AAQD///////8+AAAAHwAQAAu79J6BlOoBTpWuO5CG7QU8HQAAAAEAAwAAAB4AAwAAACAAIAAFAP///////z4AAAAgABAAC67OoYKHXFJDjbz4Zj5yyjEdAAAAAgADAAAAHwADAAAAIQADAAAAHAADAAAAIQADAAAAHAADAAAAIgADAAAABwAxAAAAAQADAAAABwAxAAAAAQAhAAIA////////PgAAACEAEAAL/pZ9jlWWcEGuLnTv6Wk24h0AAAADAAMAAAAgAAMAAAAiAAMAAAAgAAMAAAAiACIAAwD///////8+AAAAIgAQAAvfkNmWsNByQpjCjhdTe5d8HQAAAAQAAwAAACEAAwAAACMAAwAAACEAAwAAACQAAwAAACAAAwAAACQAIwABAP///////z4AAAAjABAAC6rUrJj1YNdJn3JdzizTn14eAAAAAAADAAAAIgADAAAAJAAkAAMA////////PgAAACQAEAALpu5loRuthUGdWk6/weBeOh4AAAABAAMAAAAjAAMAAAAlAAMAAAAiAAMAAAAqAAMAAAAiAAMAAAAqACUAAQD///////8+AAAAJQAQAAukOUOk4tdcQ6YiqXjOVSEmHgAAAAIAAwAAACQAAwAAACYAJgABAP///////z4AAAAmABAAC1b0O6b/7jZHmiZJsshtR/IeAAAAAwADAAAAJQADAAAAJwAnAAEA////////PgAAACcAEAALFfadqcz1q0yf95ZPqR193h4AAAAEAAMAAAAmAAMAAAAoACgAAQD///////8+AAAAKAAQAAuABd6pVhXFTpJeupStdsjKHgAAAAUAAwAAACcAAwAAACkAKQABAP///////z4AAAApABAAC9EYF6rt10tLpdOEdQ6kNZMeAAAABgADAAAAKAADAAAAKgAqAAMA////////PgAAACoAEAALkrX8uLiLSUCQRfxlLcO8Tx4AAAAHAAMAAAApAAMAAAArAAMAAAAkAAMAAAAtAAMAAAAkAAMAAAAvACsAAQD///////8+AAAAKwAQAAsftli9bHIBQINyDkNXQ075HgAAAAgAAwAAACoAAwAAACwALAABAP///////z4AAAAsABAAC6alscVH8nNMhtLy+M9vMXAeAAAACQADAAAAKwADAAAALQAtAAIA////////PgAAAC0AEAALuhIOxtj/a0KKHIexwciF8x4AAAAKAAMAAAAsAAMAAAAuAAMAAAAqAAMAAAAvAC4AAQD///////8+AAAALgAQAAvioBLSRSImTZORTjmzN2VAHgAAAAsAAwAAAC0AAwAAAC8ALwADAP///////z4AAAAvABAAC7TgMdhEk1dLnLk5pTrR95EeAAAADAADAAAALgADAAAAMAADAAAALQADAAAAMAADAAAAKgADAAAAMAAwAAMA////////PgAAADAAEAALErZx37gzV06RSGBUIMANTB4AAAANAAMAAAAvAAMAAAAxAAMAAAAvAAMAAAAxAAMAAAAvADEAAAABADEAAgD///////8+AAAAMQAQAAvtx0ji9UOPTZ1FqBWV+ooqHgAAAA4AAwAAADAAAwAAADIAAwAAADAAAwAAADMAMgABAP///////z4AAAAyABAAC44s9+SuF85JggEsbI6b0KUeAAAADwADAAAAMQADAAAAMwAzAAIA////////PwAAAAAAEAALIFLY5jLDJ0CjeHlH0eIfMSoAAAAAAAMAAAAyAAMAAAA0AAMAAAAxAAMAAAA0ADQAAgD///////8/AAAAAQAQAAtqg6rqXghBS4IPSd/+cHSCKwAAAAAAAwAAADMAAwAAADUAAwAAADMAMQAAAAEANQABAP///////z8AAAACABAAC+Gyt+349QZLu2ahK4vi1M4rAAAAAQADAAAANAAxAAAAAAAAAAAAAAAAAAAAAAAAAAAAAAAAAAAAAAAAAAAAAAAAAAAAAAAAAAAAAAAAAAAAAAAAAAAAAAAAAAAAAAAAAAAAAAQAAAAD//////////80ADUAAAAAAAAAAAAAACAB////////////////AAAA////////////////BAAAACAA////////BAAAADIA////////BAAAAB0A////////LgAAAAMA////////LgAAAAUA////////LgAAAAUA////////LgAAAAQA////////LgAAAAQA////////LgAAAAQA////////LgAAAAQA////////LgAAAAQA////////////////////////////////////////////////////////////////////////////////////////////////////////////////////////////////////////////////////////////////////////////////////////////////////////////////////////////////////////////////////////////////////////////////////////////////////////////////////////////////////////////////AQAgAf///////////////wAADv///////wQAAAAXAP///////////////////////////////////////////////////////////////////////////////////////////////////////////////////////////////////////////////////////////////////////////////////////////////////////////////////////////////////////////////////////////////////////////////////////////////////////////////////////////////////////////////////////////////////////////////////////////////////////////////////////////////////////////////////////////////////////////////////////////////////////////////////////wIAAgEFAAAAAgD///////8KAAZEYXRhTGFiZWxzBgAAAAAABAAAABUABAAAAAcABAAAABUABAAAAAcAAwADAQUAAAADAP///////xAABkdyaWRsaW5lU2V0dGluZ3MGAAAAAQAEAAAAMwAEAAAAIgAEAAAAFAAEAAAAIQAuAAAABQAEAAAAIQAEAAEBBQAAAAQA////////GgAGQXV0b21hdGljQnJlYWtTZXR0aW5nc0RhdGEGAAAAAgAEAAAAMgAEAAAAJQAFAAIBBQAAAAUA////////JwAGUG9pbnRBbmRTZXJpZXNBZGRpdGlvblN0eWxlc0RlZmluaXRpb25zBgAAAAMABAAAADAABAAAACcABAAAADAABAAAACcABgABAQUAAAAGAP///////wsABk1hcmtlcnNEYXRhDAAAAAAABAAAAC4ABAAAAAgABwADAQUAAAAHAP///////woABkRhdGFMYWJlbHMNAAAAAAAEAAAAAgAuAAAAAwAEAAAAAgAuAAAAAwAEAAAADQAuAAAAAwAIAAEBBQAAAAgA////////DQAGTnVtYmVyRm9ybWF0cw0AAAABAAQAAAAGAAQAAAAWAAkAAQEFAAAACQD///////8JAAZXYXRlcmZhbGwNAAAAAgAEAAAAHwAEAAAAFwAKAAQBBQAAAAoA////////HgAGUG9pbnRBbmRTZXJpZXNTdHlsZURlZmluaXRpb25zDQAAAAMABAAAABgABAAAAAsABAAAACcABAAAABkABAAAABYABAAAACQABAAAABYABAAAACQACwABAQUAAAALAP///////x4ABlBvaW50QW5kU2VyaWVzU3R5bGVEZWZpbml0aW9ucw0AAAAEAAQAAAAKAAQAAAAZAAwAAQEFAAAADAD///////8OAAZDb21tb25TZXR0aW5ncw0AAAAFAAQAAAANAAQAAAAVAA0AAwEFAAAADQD///////8SAAZDb2x1bW5TdW1zU2V0dGluZ3MNAAAABgAEAAAAHQAEAAAADAAEAAAAHQAEAAAAFQAEAAAAHQAEAAAABwAOAAEBBQAAAA4A////////CgAGU2VyaWVzRGF0YQ0AAAAHAAQAAAAZAAQAAAAkAA8AAgEFAAAADwD///////8KAAZQZXJzb25hbElkEwAAAAAABAAAAC0ABAAAADAABAAAACsABAAAADAAEAABAQUAAAAQAP///////xQABkdlbmVyYWxFeGNlbFNldHRpbmdzEwAAAAEABAAAABoABAAAABQAEQABAQUAAAARAP///////x4ABkF6dXJlSW5mb3JtYXRpb25Qcm90ZWN0aW9uRGF0YRMAAAACAC4AAAACAC4AAAABABIAAgEFAAAAEgD///////8aAAZFeGNlbENvbG9yTW9kZURhdGFQcm9wZXJ0eRMAAAADAAQAAAAqAAQAAAAbAC4AAAAFAAQAAAAUABMAAQEFAAAAEwD///////8IAAZPdmVybGF5cxQAAAAAAAQAAAAWAAQAAAApABQAAgEFAAAAFAD///////8TAAZHbG9iYWxDaGFydFNldHRpbmdzFAAAAAEABAAAABAABAAAADMABAAAABIABAAAAAMAFQACAQUAAAAVAP///////xQABkRhdGFDaGFydENvQXV0aG9yaW5nFwAAAAAABAAAAAwABAAAAAIABAAAAA0ABAAAAAIAFgAEAQUAAAAWAP///////w0ABk51bWJlckZvcm1hdHMXAAAAAQAEAAAACAAEAAAAEwAEAAAALgAEAAAAKQAEAAAALgAEAAAACgAuAAAABAAEAAAACgAXAAEBBQAAABcA////////CQAGV2F0ZXJmYWxsGAAAAAAABAAAAAkABAAAAAEAGAABAQUAAAAYAP///////yQABlBvaW50QW5kU2VyaWVzTWFya2VyU3R5bGVEZWZpbml0aW9ucxgAAAABAAQAAAAnAAQAAAAKABkAAgEFAAAAGQD///////8eAAZQb2ludEFuZFNlcmllc1N0eWxlRGVmaW5pdGlvbnMYAAAAAgAEAAAACwAEAAAADgAEAAAACgAEAAAAJAAaAAEBBQAAABoA////////CwAGRXhjZWxNaXJyb3IYAAAAAwAEAAAAGwAEAAAAEAAbAAEBBQAAABsA////////GgAGRXhjZWxDb2xvck1vZGVEYXRhUHJvcGVydHkcAAAAAAAEAAAAEgAEAAAAGgAcAAEBBQAAABwA////////HAAGQ2hhcnRTdHlsZVN0YXR1c0luZm9ybWF0aW9ucxgAAAAEAAQAAAAxAAQAAAAeAB0AAwEFAAAAHQD///////8MAAZDb2xvckluZGljZXMYAAAABQAEAAAALwAEAAAADQAuAAAAAQAEAAAADQAEAAAAAAAEAAAADQAeAAEBBQAAAB4A////////HAAGQ2hhcnRTdHlsZVN0YXR1c0luZm9ybWF0aW9ucx0AAAAAAAQAAAAcAAQAAAAvAB8AAQEFAAAAHwD///////8ZAAZTaGFwZUNvbnN0cnVjdGVkQ2hhcnREYXRhHQAAAAEABAAAACgABAAAAAkAIAABAQUAAAAgAP///////xIABkFkZGl0aW9uYWxBeGlzRGF0YR0AAAACAAQAAAAAAAQAAAAyACEABAEFAAAAIQD///////8LAAZMZWFkZXJMaW5lcx0AAAADAAQAAAAiAAQAAAAsAAQAAAADAAQAAAAsAAQAAAADAAQAAAAsAC4AAAAFAC4AAAAEACIAAQEFAAAAIgD///////8QAAZHcmlkbGluZVNldHRpbmdzHQAAAAQABAAAAAMABAAAACEAIwABAQUAAAAjAP///////wwABkxpbmtEYXRhTGlzdB4AAAAAAC4AAAAEAAQAAAAuACQABgEFAAAAJAD///////8MAAZTZXJpZXNMYWJlbHMeAAAAAQAEAAAADgAEAAAAJgAEAAAAGQD///////8EAAAACgD///////8EAAAACgD///////8uAAAABAD///////8uAAAABAD///////8lAAIBBQAAACUA////////CAAGQXhlc0RhdGEeAAAAAgAEAAAABAAuAAAAAgAEAAAAMgAuAAAAAQAmAAEBBQAAACYA////////DAAGU2VyaWVzTGFiZWxzHgAAAAMABAAAACQABAAAACgAJwACAQUAAAAnAP///////ycABlBvaW50QW5kU2VyaWVzQWRkaXRpb25TdHlsZXNEZWZpbml0aW9ucx4AAAAEAAQAAAAFAAQAAAAYAAQAAAAFAAQAAAAKACgAAQEFAAAAKAD///////8MAAZTZXJpZXNMYWJlbHMeAAAABQAEAAAAJgAEAAAAHwApAAIBBQAAACkA////////CAAGT3ZlcmxheXMeAAAABgAEAAAAEwAEAAAAKwAEAAAAFgAEAAAAKwAqAAEBBQAAACoA////////CAAGRGF0YUxpbmseAAAABwAuAAAABQAEAAAAEgArAAIBBQAAACsA////////CAAGT3ZlcmxheXMeAAAACAAEAAAAKQAEAAAALQAEAAAAKQAEAAAADwAsAAMBBQAAACwA////////CgAGTGVnZW5kRGF0YR4AAAAJAAQAAAAhAC4AAAAEAAQAAAAhAC4AAAAEAAQAAAAhAC4AAAAEAC0AAQEFAAAALQD///////8IAAZPdmVybGF5cx4AAAAKAAQAAAArAAQAAAAPAC4AAwEFAAAALgD///////8MAAZMaW5rRGF0YUxpc3QeAAAACwAEAAAAIwAEAAAABgAuAAAABAAEAAAAFgAuAAAABAAEAAAAFgAvAAEBBQAAAC8A////////EQAGQ29sb3JEYXRhUHJvcGVydHkeAAAADAAEAAAAHgAEAAAAHQAwAAIBBQAAADAA////////DgAGUGxvdEFyZWFCb3JkZXIeAAAADQAEAAAADwAEAAAABQAEAAAADwAEAAAABQAxAAEBBQAAADEA////////IQAGQ2F0ZWdvcnlMYWJlbFNldHRpbmdzRGF0YVByb3BlcnR5HgAAAA4ALgAAAAAABAAAABwAMgACAQUAAAAyAP///////xIABkFkZGl0aW9uYWxBeGlzRGF0YR4AAAAPAAQAAAAgAAQAAAAEAAQAAAAAAAQAAAAlADMAAQEFAAAAMwD///////8TAAZHbG9iYWxDaGFydFNldHRpbmdzKgAAAAAABAAAABQABAAAAAMAAAAAAAAAAAAAAAAAAAAAAAAAAAAAAAAAAAAAAAAAAAAAAAAAAAAAAAAAAAAAAAAAAAAAAAAFAAAAAwAAAAD/////OgD1AQAAAAAAAAAAAAAgAv///////////////wAAAP///////////////wUAAAADAP///////wUAAAAMAP///////wUAAAAuAP///////wUAAAAuAP///////wUAAAACAP///////wUAAAACAP///////////////////////////////////////////////////////////////////////////////////////////////////////////////////////////////////////////////////////////////////////////////////////////////////////////////////////////////////////////////////////////////////////////////////////////////////////////////////////////////////////////////////////////////////////////////////////////////////////////////////////////////wEAIAL///////////////8AAA7///////8FAAAAOQD///////////////////////////////////////////////////////////////////////////////////////////////////////////////////////////////////////////////////////////////////////////////////////////////////////////////////////////////////////////////////////////////////////////////////////////////////////////////////////////////////////////////////////////////////////////////////////////////////////////////////////////////////////////////////////////////////////////////////////////////////////////////////////8CAAYCPgAAAAIABAAAAAIABAACBwAAAAYAAAAAAAUAAAAtAAUAAAApAAUAAAATAAUAAAApAAUAAAATAP///////wUAAAAkAP///////wUAAAAAAP///////wUAAAAAAP///////wMAAQI+AAAAAwAEAAAAAwAEAAIAAAAABgAAAAEABQAAAAAABQAAAAQABAABAj4AAAAEAAQAAAAEAAQAAgAAAAAGAAAAAgAFAAAAAwAFAAAACwAFAAECPgAAAAUABAAAAAUABAACAQAAAAYAAAADAAUAAAA1AAUAAAAGAAYABAI+AAAABgAEAAAABgAEAAIBAAAADAAAAAAABQAAAAUABQAAAAgABQAAAC8ABQAAAAkABQAAAC8ABQAAABoABQAAAC4ABQAAACAABwABAj4AAAAHAAQAAAAHAAQAAgYAAAANAAAAAAAFAAAAJgAFAAAALQAIAAECPgAAAAgABAAAAAgABAACAQAAAA0AAAABAAUAAAAGAAUAAAAJAAkAAgI+AAAACQAEAAAACQAEAAIBAAAADQAAAAIABQAAAAgABQAAAAoABQAAAAYABQAAABoACgABAj4AAAAKAAQAAAAKAAQAAgEAAAANAAAAAwAFAAAACQAFAAAAEgALAAECPgAAAAsABAAAAAsABAACAAAAAA0AAAAEAAUAAAAEAAUAAAAMAAwAAgI+AAAADAAEAAAADAAEAAIAAAAADQAAAAUABQAAAAsABQAAAA0ABQAAAAAABQAAAA4ADQABAj4AAAANAAQAAAANAAQAAgAAAAANAAAABgAFAAAADAAFAAAADgAOAAICPgAAAA4ABAAAAA4ABAACAAAAAA0AAAAHAAUAAAANAAUAAAAPAAUAAAAMAAUAAAAQAA8AAQI+AAAADwAEAAAADwAEAAIAAAAAEwAAAAAABQAAAA4ABQAAABAAEAACAj4AAAAQAAQAAAAQAAQAAgAAAAATAAAAAQAFAAAADwAFAAAAEQAFAAAADgAFAAAAFwARAAECPgAAABEABAAAABEABAACAAAAABMAAAACAAUAAAAQAAUAAAAVABIAAQI+AAAAEgAEAAAAEgAEAAIBAAAAEwAAAAMABQAAAAoABQAAABoAEwADAj4AAAATAAQAAAATAAQAAgUAAAAUAAAAAAAFAAAANgAFAAAAFAAFAAAAJAAFAAAAAgAFAAAAJAAFAAAAAgAUAAECPgAAABQABAAAABQABAACBQAAABQAAAABAAUAAAATAAUAAAAlABUAAQI+AAAAFQAEAAAAFQAEAAIAAAAAFwAAAAAABQAAABEABQAAABcAFgACAj4AAAAWAAQAAAAWAAQAAgIAAAAXAAAAAQAFAAAAOAAFAAAAGQAFAAAAOAAFAAAAHQAXAAICPgAAABcABAAAABcABAACAAAAABgAAAAAAAUAAAAVAAUAAAAYAAUAAAAQAAUAAAAhABgAAQI+AAAAGAAEAAAAGAAEAAIAAAAAGAAAAAEABQAAABcABQAAABwAGQABAj4AAAAZAAQAAAAZAAQAAgIAAAAYAAAAAgAFAAAAFgAFAAAAGwAaAAMCPgAAABoABAAAABoABAACAQAAABgAAAADAAUAAAASAAUAAAAeAAUAAAAJAAUAAAAeAAUAAAAGAAUAAAAgABsAAQI+AAAAGwAEAAAAGwAEAAICAAAAHAAAAAAABQAAABkABQAAAB0AHAABAj4AAAAcAAQAAAAcAAQAAgAAAAAYAAAABAAFAAAAGAAFAAAAHwAdAAMCPgAAAB0ABAAAAB0ABAACAgAAABgAAAAFAAUAAAAbAAUAAAAsAAUAAAAWAAUAAAAkAAUAAAAqAAUAAAAkAB4AAgI+AAAAHgAEAAAAHgAEAAIBAAAAHQAAAAAABQAAABoABQAAACAABQAAABoABQAAACAAHwABAj4AAAAfAAQAAAAfAAQAAgAAAAAdAAAAAQAFAAAAHAAFAAAAIQAgAAQCPgAAACAABAAAACAABAACAQAAAB0AAAACAAUAAAAeAAUAAAAiAAUAAAAeAAUAAAAiAAUAAAAaAAUAAAAqAAUAAAAGAAUAAAAkACEAAgI+AAAAIQAEAAAAIQAEAAIAAAAAHQAAAAMABQAAAB8ABQAAACcABQAAABcABQAAAC4AIgACAj4AAAAiAAQAAAAiAAQAAgEAAAAdAAAABAAFAAAAIAAFAAAAIwAFAAAAIAAFAAAAKgAjAAECPgAAACMABAAAACMABAACAQAAAB4AAAAAAAUAAAAiAAUAAAAqACQABAI+AAAAJAAEAAAAJAAEAAIEAAAAHgAAAAEABQAAACgABQAAADMABQAAAB0ABQAAABMABQAAAB0ABQAAABMABQAAACAABQAAAAIAJQABAj4AAAAlAAQAAAAlAAQAAgUAAAAeAAAAAgAFAAAAFAAFAAAAJgAmAAECPgAAACYABAAAACYABAACBQAAAB4AAAADAAUAAAAlAAUAAAAHACcAAQI+AAAAJwAEAAAAJwAEAAIAAAAAHgAAAAQABQAAACEABQAAAC4AKAABAj4AAAAoAAQAAAAoAAQAAgMAAAAeAAAABQAFAAAALAAFAAAAJAApAAICPgAAACkABAAAACkABAACBwAAAB4AAAAGAAUAAAACAAUAAAArAAUAAAACAP///////yoAAwI+AAAAKgAEAAAAKgAEAAIBAAAAHgAAAAcABQAAACMABQAAADQABQAAACIABQAAADgABQAAACAABQAAAB0AKwABAj4AAAArAAQAAAArAAQAAggAAAAeAAAACAAFAAAAKQAFAAAANwAsAAECPgAAACwABAAAACwABAACAgAAAB4AAAAJAAUAAAAdAAUAAAAoAC0AAQI+AAAALQAEAAAALQAEAAIGAAAAHgAAAAoABQAAAAcABQAAAAIALgAEAj4AAAAuAAQAAAAuAAQAAgAAAAAeAAAACwAFAAAAJwAFAAAALwAFAAAAIQAFAAAALwAFAAAAAAAFAAAALwAFAAAAAAAFAAAABgAvAAMCPgAAAC8ABAAAAC8ABAACAAAAAB4AAAAMAAUAAAAuAAUAAAAwAAUAAAAuAAUAAAAGAAUAAAAuAAUAAAAGADAAAQI+AAAAMAAEAAAAMAAEAAIAAAAAHgAAAA0ABQAAAC8ABQAAADEAMQABAj4AAAAxAAQAAAAxAAQAAgAAAAAeAAAADgAFAAAAMAAFAAAAMgAyAAECPgAAADIABAAAADIABAACAAAAAB4AAAAPAAUAAAAxAAUAAAA1ADMAAQI/AAAAAAAEAAAAMwAEAAIEAAAAKgAAAAAABQAAACQABQAAADYANAABAj8AAAABAC4AAAAAAAQAAgEAAAArAAAAAAAFAAAAKgAFAAAAOAA1AAECPwAAAAIALgAAAAEABAACAAAAACsAAAABAAUAAAAyAAUAAAAFADYAAQI/AAAAAwAuAAAAAgAEAAIEAAAAKwAAAAIABQAAADMABQAAABMANwABAj8AAAAEAC4AAAADAAQAAggAAAArAAAAAwAFAAAAKwAFAAAAOQA4AAICPwAAAAUALgAAAAQABAACAQAAACsAAAAEAAUAAAA0AAUAAAAWAAUAAAAqAAUAAAAWADkAAQI/AAAABgAuAAAABQAEAAIJAAAAKwAAAAUABQAAADc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AAAAT//////////wQAMQcAAAAAAAAAAAAABwAAAAAAAQD/////EAUQBQAABV9pZAAQAAAABPeAEgYmk2tHjVXpMY17HtUDRGF0YQCwBAAAA0dyaWRMaW5lU3R5bGVzRGF0YQCXBAAAA1ByaW1hcnlWYWx1ZUF4aXNHcmlkTGluZVN0eWxlAB0CAAADTWFqb3JVbml0TGluZVN0eWxlAPgAAAADQ29sb3IAVQAAABBBAP8AAAAQUgCJAAAAEEcAiQAAABBCAIkAAAABU2NBAAAAAAAAAPA/AVNjUgAAAAAAmALQPwFTY0cAAAAAAJgC0D8BU2NCAAAAAACYAtA/AAJTY2hlbWVDb2xvckluZGV4ABEAAABwcE5vdFNjaGVtZUNvbG9yABBUaGVtZUNvbG9ySW5kZXgAAAAAAAFUaW50QW5kU2hhZGUAAAAAAAAA0D8BTGluZVdlaWdodAAAAAAAAADgPwJEYXNoU3R5bGUACgAAAExpbmVTb2xpZAAIVmlzaWJsZQABCElzQXV0b21hdGljAAEAA01pbm9yVW5pdExpbmVTdHlsZQD4AAAAA0NvbG9yAFUAAAAQQQD/AAAAEFIAvAAAABBHALwAAAAQQgC8AAAAAVNjQQAAAAAAAADwPwFTY1IAAAAAYKUX4D8BU2NHAAAAAGClF+A/AVNjQgAAAABgpRfgPwACU2NoZW1lQ29sb3JJbmRleAARAAAAcHBOb3RTY2hlbWVDb2xvcgAQVGhlbWVDb2xvckluZGV4AAoAAAABVGludEFuZFNoYWRlAAAAAKCZmdk/AUxpbmVXZWlnaHQAAAAAAAAA4D8CRGFzaFN0eWxlAAoAAABMaW5lU29saWQACFZpc2libGUAAAhJc0F1dG9tYXRpYwAAAAADUHJpbWFyeUNhdGVnb3J5QXhpc0dyaWRMaW5lU3R5bGUAHQIAAANNYWpvclVuaXRMaW5lU3R5bGUA+AAAAANDb2xvcgBVAAAAEEEA/wAAABBSAIkAAAAQRwCJAAAAEEIAiQAAAAFTY0EAAAAAAAAA8D8BU2NSAAAAAACYAtA/AVNjRwAAAAAAmALQPwFTY0IAAAAAAJgC0D8AAlNjaGVtZUNvbG9ySW5kZXgAEQAAAHBwTm90U2NoZW1lQ29sb3IAEFRoZW1lQ29sb3JJbmRleAAAAAAAAVRpbnRBbmRTaGFkZQAAAAAAAADQPwFMaW5lV2VpZ2h0AAAAAAAAAOA/AkRhc2hTdHlsZQAKAAAATGluZVNvbGlkAAhWaXNpYmxlAAEISXNBdXRvbWF0aWMAAAADTWlub3JVbml0TGluZVN0eWxlAPgAAAADQ29sb3IAVQAAABBBAP8AAAAQUgC8AAAAEEcAvAAAABBCALwAAAABU2NBAAAAAAAAAPA/AVNjUgAAAABgpRfgPwFTY0cAAAAAYKUX4D8BU2NCAAAAAGClF+A/AAJTY2hlbWVDb2xvckluZGV4ABEAAABwcE5vdFNjaGVtZUNvbG9yABBUaGVtZUNvbG9ySW5kZXgACgAAAAFUaW50QW5kU2hhZGUAAAAAoJmZ2T8BTGluZVdlaWdodAAAAAAAAADgPwJEYXNoU3R5bGUACgAAAExpbmVTb2xpZAAIVmlzaWJsZQAACElzQXV0b21hdGljAAAAAAhTaG93R3JpZGxpbmVzRGVmYXVsdAAAAAACTmFtZQARAAAAR3JpZGxpbmVTZXR0aW5ncwAQVmVyc2lvbgAAAAAACUxhc3RXcml0ZQA6hFA1lwEAAAACAP////+ZAJkAAAAFX2lkABAAAAAExJ6QDbhwuUGftw9nng6ukwNEYXRhAC8AAAAISXNBY3RpdmUAAARVbmJyZWFrYWJsZVNlcmllc0luZGljZXMABQAAAAAAAk5hbWUAGwAAAEF1dG9tYXRpY0JyZWFrU2V0dGluZ3NEYXRhABBWZXJzaW9uAAAAAAAJTGFzdFdyaXRlAKHb2dJwAQAAAAMA/////+0C7QIAAAVfaWQAEAAAAAR1dYEObPBPQKKZMAlb1b23A0RhdGEAdgIAAARQb2ludEFkZGl0aW9uYWxTdHlsZXMAagEAAAMwAHQAAAADUG9pbnRBZGRyZXNzADMAAAAQU2VyaWVzSW5kZXgAAQAAABBQb2ludEluZGV4AAEAAAAISXNQb2ludFN1bQAAAANBZGRpdGlvbmFsU3R5bGVzABwAAAACRmlsbFBhdHRlcm4ABgAAAFVuc2V0AAAAAzEAdAAAAANQb2ludEFkZHJlc3MAMwAAABBTZXJpZXNJbmRleAABAAAAEFBvaW50SW5kZXgAAgAAAAhJc1BvaW50U3VtAAAAA0FkZGl0aW9uYWxTdHlsZXMAHAAAAAJGaWxsUGF0dGVybgAGAAAAVW5zZXQAAAADMgB0AAAAA1BvaW50QWRkcmVzcwAzAAAAEFNlcmllc0luZGV4AAEAAAAQUG9pbnRJbmRleAADAAAACElzUG9pbnRTdW0AAAADQWRkaXRpb25hbFN0eWxlcwAcAAAAAkZpbGxQYXR0ZXJuAAYAAABVbnNldAAAAAADU2VyaWVzQWRkaXRpb25hbFN0eWxlcwDYAAAAAzEA0AAAABBTZXJpZXNJbmRleAABAAAAA0FkZGl0aW9uYWxTdHlsZXMAqAAAAAJGaWxsUGF0dGVybgAIAAAARGVmYXVsdAADRmlsbENvbG9yT3JUaGVtZUNvbG9yAHMAAAAQVGhlbWVDb2xvcgAAAAAAAVRpbnRBbmRTaGFkZQAAAAAAAAAAABBUaW50SW5kZXgA/////xBTY2hlbWVDb2xvcgAAAAAAA0NvbG9yACEAAAAQQQD/AAAAEFIAAAAAABBHAAAAAAAQQgAAAAAAAAAAAAAAAk5hbWUAKAAAAFBvaW50QW5kU2VyaWVzQWRkaXRpb25TdHlsZXNEZWZpbml0aW9ucwAQVmVyc2lvbgABAAAACUxhc3RXcml0ZQAJdlA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F/////wgAAADnDwAAAAAAAAAAAAC5RwAABV9pZAAQAAAABPwo2QCA4CZJqYWO9bQHnDYDRGF0YQBfRwAAA0RhdGFMYWJlbHNQZXJBeGlzAChHAAADUHJpbWFyeQDpRAAABERhdGFMYWJlbHMAyEIAAAMwAD4WAAAQUG9pbnRJbmRleAABAAAAAkFsaWdubWVudAAHAAAAQ2VudGVyABBTZXJpZXNJbmRleAABAAAACFJlcXVpcmVGb250Q29sb3JNaWdyYXRpb24AAAhNYW51YWxEYXRhTGFiZWxCYWNrZ3JvdW5kVmlzaWJsZQAACEhhc1dpc2hDb2xvcgAAA1RleHRCb3gAvgYAAAVNYW5hZ2VkSWQAEAAAAARIf1pojEw6Qazf0GzmMqeo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QAAADMwICUAAlRleHRIb3Jpem9udGFsQWxpZ25tZW50ABAAAABtc29BbmNob3JDZW50ZXI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FAAAAMzAgJQABSGVpZ2h0AAAAAKAinipAAVdpZHRoAAAAAOCnuDlAAVRvcAAAAAAgw6saQAFMZWZ0AAAAACB5NWF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AAAAAAAAVkAAAAAAAAAAAAAA0VuZAAbAAAAAVgAAAAAAAAAAAABWQAAAAAAAAAAAAACU3RhcnRBcnJvd0hlYWQAEQAAAG1zb0Fycm93aGVhZE5vbmUAAkVuZEFycm93SGVhZAARAAAAbXNvQXJyb3doZWFkTm9uZQAFTWFuYWdlZElkABAAAAAEVKaDLtZ5FU2qDAA3E/eJy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BSPCvIRgyRFh6ph5P9MYa8ISGFzQ2hhbmdlcwABCFVzZU5hbWVJbnN0ZWFkT2ZUYWdBc0lkAAEIU2hhcGVQcmV2aW91c2x5Q3JlYXRlZAAAA0ZpbGxDb2xvcgBVAAAAEEEAAAAAABBSAAAAAAAQRwAAAAAAEEIAAAAAAAFTY0EAAAAAAAAA8L8BU2NSAAAAAAAAAPC/AVNjRwAIAAAABQcAAAAJAAAA5w8AAAAAAAAAAAA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BAAAAAEEcAQAAAABBCAEAAAAABU2NBAAAAAAAAAPA/AVNjUgAAAACA/T+qPwFTY0cAAAAAgP0/qj8BU2NCAAAAAID9P6o/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ngPRYkABWQAAAABA0dsoQAAISGFzTGVhZGVyTGluZQAACElzQ2VudGVyQXV0b21hdGljQWRqdXN0ZWQAAAhJc1VzZXJQb3NpdGlvbgAACEFkZFByZWZpeFNwYWNlAAAIQWRkUG9zdGZpeFNwYWNlAAECUG9zdGZpeAACAAAAJQACU2VwYXJhdG9yAAIAAAAKAAJUZXh0AAMAAAAzMAAIUmVxdWlyZVJlbGF0aXZlUG9zaXRpb25VcGdyYWRlAAEISXNHZW9tZXRyeU91dE9mQm91bmRzAAAISXNMZWFkZXJMaW5lSW5BdXRvTW9kZQABCERlbGV0ZWQAAAADMQA+FgAAEFBvaW50SW5kZXgAAgAAAAJBbGlnbm1lbnQABwAAAENlbnRlcgAQU2VyaWVzSW5kZXgAAQAAAAhSZXF1aXJlRm9udENvbG9yTWlncmF0aW9uAAAITWFudWFsRGF0YUxhYmVsQmFja2dyb3VuZFZpc2libGUAAAhIYXNXaXNoQ29sb3IAAANUZXh0Qm94AL4GAAAFTWFuYWdlZElkABAAAAAEQEZ0/d9AOkiGTQac/Lrwjw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UAAAA2MCA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QAAADYwICUAAUhlaWdodAAAAACgIp4qQAFXaWR0aAAAAADgp7g5QAFUb3AAAAAAQO+nQEABTGVmdAAAAABgpfpm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NWlkQAFZAAAAAKB69kpAAANFbmQAGwAAAAFYAAAAAKAMBmVAAVkAAAAAoHr2SkAAAlN0YXJ0QXJyb3dIZWFkABEAAABtc29BcnJvd2hlYWROb25lAAJFbmRBcnJvd0hlYWQAEQAAAG1zb0Fycm93aGVhZE5vbmUABU1hbmFnZWRJZAAQAAAABJk2CBsQFtpBvu8HfiBeF2k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CQAAAAUIAAAACgAAAOcPAAAAAAAAAAA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PSaE0ABVG9wAAAAAKB69kpAAUxlZnQAAAAAADVpZE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KAMZmVAAVkAAAAAoHr2SkAAA0VuZAAbAAAAAVgAAAAAoAwGZUABWQAAAACgevZKQAACU3RhcnRBcnJvd0hlYWQAEQAAAG1zb0Fycm93aGVhZE5vbmUAAkVuZEFycm93SGVhZAARAAAAbXNvQXJyb3doZWFkTm9uZQAFTWFuYWdlZElkABAAAAAEcyiJUg4d6kWYYdbJD7NqXg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hAAVRvcAAAAACgevZKQAFMZWZ0AAAAAKAMBmVACEZsaXBIb3Jpem9udGFsbHkAAQhGbGlwSG9yaXpvbnRhbGx5QXBwbGllZAAACEZsaXBWZXJ0aWNhbGx5AAAIRmxpcFZlcnRpY2FsbHlBcHBsaWVkAAABUm90YXRpb24AAAAAAAAAAAABWk9yZGVyAAAAAAAAAAAAA0JvcmRlckNvbG9yAFUAAAAQQQD/AAAAEFIAQAAAABBHAEAAAAAQQgBAAAAAAVNjQQAAAAAAAADwPwFTY1IAAAAAwP0/qj8BU2NHAAAAAMD9P6o/AVNjQgAAAADA/T+q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N4vlmhAAVkAAAAALGuJQ0AACEhhc0xlYWRlckxpbmUAAAhJc0NlbnRlckF1dG9tYXRpY0FkanVzdGVkAAAISXNVc2VyUG9zaXRpb24AAAhBZGRQcmVmaXhTcGFjZQAACEFkZFBvc3RmaXhTcGFjZQABAlBvc3RmaXgAAgAAACUAAlNlcGFyYXRvcgACAAAACgACVGV4dAADAAAANjAACFJlcXVpcmVSZWxhdGl2ZVBvc2l0aW9uVXBncmFkZQABCElzR2VvbWV0cnlPdXRPZkJvdW5kcwAACElzTGVhZGVyTGluZUluQXV0b01vZGUAAQhEZWxldGVkAAAAAzIAPhYAABBQb2ludEluZGV4AAMAAAACQWxpZ25tZW50AAcAAABDZW50ZXIAEFNlcmllc0luZGV4AAEAAAAIUmVxdWlyZUZvbnRDb2xvck1pZ3JhdGlvbgAACE1hbnVhbERhdGFMYWJlbEJhY2tncm91bmRWaXNpYmxlAAAISGFzV2lzaENvbG9yAAADVGV4dEJveAC+BgAABU1hbmFnZWRJZAAQAAAABDu4gcdr2J9Ak0B8cDdXNOs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FAAAAMTAgJQACVGV4dEhvcml6b250YWxBbGlnbm1lbnQAEAAAAG1zb0FuY2hvckNlbnRlcgACUGFyYWdyYXBoQWxpZ25tZW50AA8AAABtc29BbGlnbkNlbnRlcgACVGV4dFZlcgoAAAAFCQAAAAsAAADnDwAAAAAAAAAAAAB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FAAAAMTAgJQABSGVpZ2h0AAAAAKAinipAAVdpZHRoAAAAAOCnuDlAAVRvcAAAAAAgZvpNQAFMZWZ0AAAAAMBhuVp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GDB/mNAAVkAAAAAGHDGVkAAA0VuZAAbAAAAAVgAAAAAICr9ZUABWQAAAAAYcMZWQAACU3RhcnRBcnJvd0hlYWQAEQAAAG1zb0Fycm93aGVhZE5vbmUAAkVuZEFycm93SGVhZAARAAAAbXNvQXJyb3doZWFkTm9uZQAFTWFuYWdlZElkABAAAAAENaokV5ZGSkSphsLiOGMNrg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CM5i9AAVRvcAAAAAAgcMZWQAFMZWZ0AAAAAGDB/mN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gKl1mQAFZAAAAABhwxlZAAANFbmQAGwAAAAFYAAAAACAq/WVAAVkAAAAAGHDGVkAAAlN0YXJ0QXJyb3dIZWFkABEAAABtc29BcnJvd2hlYWROb25lAAJFbmRBcnJvd0hlYWQAEQAAAG1zb0Fycm93aGVhZE5vbmUABU1hbmFnZWRJZAAQAAAABJzJsgUCQNhNjM90zUabb/E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LAAAABQoAAAD/////HQjKBwAAAAAAAAAAAAAAAAAAAAAAAAFIZWlnaHQAAAAAAAAAAAABV2lkdGgAAAAAAAAACEABVG9wAAAAACBwxlZAAUxlZnQAAAAAICr9ZUAIRmxpcEhvcml6b250YWxseQABCEZsaXBIb3Jpem9udGFsbHlBcHBsaWVkAAAIRmxpcFZlcnRpY2FsbHkAAAhGbGlwVmVydGljYWxseUFwcGxpZWQAAAFSb3RhdGlvbgAAAAAAAAAAAAFaT3JkZXIAAAAAAAAAAAADQm9yZGVyQ29sb3IAVQAAABBBAP8AAAAQUgBAAAAAEEcAQAAAABBCAEAAAAABU2NBAAAAAAAAAPA/AVNjUgAAAADA/T+qPwFTY0cAAAAAwP0/qj8BU2NCAAAAAMD9P6o/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vHbwXUABWQAAAAAG8W1QQAAISGFzTGVhZGVyTGluZQAACElzQ2VudGVyQXV0b21hdGljQWRqdXN0ZWQAAAhJc1VzZXJQb3NpdGlvbgAACEFkZFByZWZpeFNwYWNlAAAIQWRkUG9zdGZpeFNwYWNlAAECUG9zdGZpeAACAAAAJQACU2VwYXJhdG9yAAIAAAAKAAJUZXh0AAMAAAAxMAAIUmVxdWlyZVJlbGF0aXZlUG9zaXRpb25VcGdyYWRlAAEISXNHZW9tZXRyeU91dE9mQm91bmRzAAAISXNMZWFkZXJMaW5lSW5BdXRvTW9kZQABCERlbGV0ZWQ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xhYmVsc1Zpc2libGUAAQhBdXRvbWF0aWNMYWJlbEJhY2tncm91bmRzRW5hYmxlZAABAANTZWNvbmRhcnkAJgIAAAREYXRhTGFiZWxzAAU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xhYmVsc1Zpc2libGUAAAhBdXRvbWF0aWNMYWJlbEJhY2tncm91bmRzRW5hYmxlZAABAAAIRGlzYWJsZUF1dG9tYXRpY0RlYWN0aXZhdGlvbgAAAAJOYW1lAAsAAABEYXRhTGFiZWxzABBWZXJzaW9uAAcAAAAJTGFzdFdyaXRlAPzKU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AAAAAT//////////wEAHQUAAAAAAAAAAAAA/////8IKwgoAAAVfaWQAEAAAAATn9wAUjRbzRpsp7W31E1sgA0RhdGEAZwoAAANTZXJpZXNTdHlsZXMAaAEAAAMxAGABAAACU3R5bGUAEgAAAHhsTWFya2VyU3R5bGVOb25lABBTaXplAAgAAAADQ29sb3IAVQAAABBBAP8AAAAQUgD7AAAAEEcAugAAABBCALkAAAABU2NBAAAAAAAAAPA/AVNjUgAAAADAtd7uPwFTY0cAAAAA4OJs3z8BU2NCAAAAAGCyDN8/AAFUaW50AAAAAAAAAAAAA1RoZW1lQ29sb3JQb3NpdGlvbgC2AAAAAl90eXBlAFEAAABlbXBvd2VyLkNoYXJ0cy5Db21tb24uQ29sb3JUcmFuc2xhdGlvbi5UaGVtZUNvbG9yUG9zaXRpb24sIGVtcG93ZXIuQ2hhcnRzLkNvbW1vbgAQVGhlbWVDb2xvclNjaGVtZUluZGV4AP////8CSW5kZXgABwAAAE5vVGludAAISXNEZWZhdWx0Q29sb3IAABBEZWZhdWx0Q29sb3JJbmRleAD/////AAAABFBvaW50U3R5bGVzAKcIAAADMAC3AQAAA1BvaW50QWRkcmVzcwAzAAAAEFNlcmllc0luZGV4AAEAAAAQUG9pbnRJbmRleAABAAAACElzUG9pbnRTdW0AAAADTWFya2VyU3R5bGVEYXRhAGABAAACU3R5bGUAEgAAAHhsTWFya2VyU3R5bGVOb25lABBTaXplAAgAAAADQ29sb3IAVQAAABBBAP8AAAAQUgD7AAAAEEcAugAAABBCALkAAAABU2NBAAAAAAAAAPA/AVNjUgAAAADAtd7uPwFTY0cAAAAA4OJs3z8BU2NCAAAAAGCyDN8/AAFUaW50AAAAAAAAAAAAA1RoZW1lQ29sb3JQb3NpdGlvbgC2AAAAAl90eXBlAFEAAABlbXBvd2VyLkNoYXJ0cy5Db21tb24uQ29sb3JUcmFuc2xhdGlvbi5UaGVtZUNvbG9yUG9zaXRpb24sIGVtcG93ZXIuQ2hhcnRzLkNvbW1vbgAQVGhlbWVDb2xvclNjaGVtZUluZGV4AP////8CSW5kZXgABwAAAE5vVGludAAISXNEZWZhdWx0Q29sb3IAABBEZWZhdWx0Q29sb3JJbmRleAD/////AAAAAzEAtwEAAANQb2ludEFkZHJlc3MAMwAAABBTZXJpZXNJbmRleAABAAAAEFBvaW50SW5kZXgAAgAAAAhJc1BvaW50U3VtAAAAA01hcmtlclN0eWxlRGF0YQBgAQAAAlN0eWxlABIAAAB4bE1hcmtlclN0eWxlTm9uZQAQU2l6ZQAIAAAAA0NvbG9yAFUAAAAQQQD/AAAAEFIA+wAAABBHALoAAAAQQgC5AAAAAVNjQQAAAAAAAADwPwFTY1IAAAAAwLXe7j8BU2NHAAAAAODibN8/AVNjQgAAAABgsgzfPwABVGludAAAAAAAAAAAAANUaGVtZUNvbG9yUG9zaXRpb24AtgAAAAJfdHlwZQBRAAAAZW1wb3dlci5DaGFydHMuQ29tbW9uLkNvbG9yVHJhbnNsYXRpb24uVGhlbWVDb2xvclBvc2l0aW9uLCBlbXBvd2VyLkNoYXJ0cy5Db21tb24AEFRoZW1lQ29sb3JTY2hlbWVJbmRleAD/////AkluZGV4AAcAAABOb1RpbnQACElzRGVmYXVsdENvbG9yAAAQRGVmYXVsdENvbG9ySW5kZXgA/////wAAAAMyALcBAAADUG9pbnRBZGRyZXNzADMAAAAQU2VyaWVzSW5kZXgAAQAAABBQb2ludEluZGV4AAMAAAAISXNQb2ludFN1bQAAAANNYXJrZXJTdHlsZURhdGEAYAEAAAJTdHlsZQASAAAAeGxNYXJrZXJTdHlsZU5vbmUAEFNpemUACAAAAANDb2xvcgBVAAAAEEEA/wAAABBSAPsAAAAQRwC6AAAAEEIAuQAAAAFTY0EAAAAAAAAA8D8BU2NSAAAAAMC13u4/AVNjRwAAAADg4mzfPwFTY0IAAAAAYLIM3z8AAVRpbnQAAAAAAAAAAAADVGhlbWVDb2xvclBvc2l0aW9uALYAAAACX3R5cGUAUQAAAGVtcG93ZXIuQ2hhcnRzLkNvbW1vbi5Db2xvclRyYW5zbGF0aW9uLlRoZW1lQ29sb3JQb3NpdGlvbiwgZW1wb3dlci5DaGFydHMuQ29tbW9uABBUaGVtZUNvbG9yU2NoZW1lSW5kZXgA/////wJJbmRleAAHAAAATm9UaW50AAhJc0RlZmF1bHRDb2xvcgAAEERlZmF1bHRDb2xvckluZGV4AP////8AAAADMwC3AQAAA1BvaW50QWRkcmVzcwAzAAAAEFNlcmllc0luZGV4AAEAAAAQUG9pbnRJbmRleAAEAAAACElzUG9pbnRTdW0AAAADTWFya2VyU3R5bGVEYXRhAGABAAACU3R5bGUAEgAAAHhsTWFya2VyU3R5bGVOb25lABBTaXplAAgAAAADQ29sb3IAVQAAABBBAP8AAAAQUgD7AAAAEEcAugAAABBCALkAAAABU2NBAAAAAAAAAPA/AVNjUgAAAADAtd7uPwFTY0cAAAAA4OJs3z8BU2NCAAAAAGCyDN8/AAFUaW50AAAAAAAAAAAAA1RoZW1lQ29sb3JQb3NpdGlvbgC2AAAAAl90eXBlAFEAAABlbXBvd2VyLkNoYXJ0cy5Db21tb24uQ29sb3JUcmFuc2xhdGlvbi5UaGVtZUNvbG9yUG9zaXRpb24sIGVtcG93ZXIuQ2hhcnRzLkNvbW1vbgAQVGhlbWVDb2xvclNjaGVtZUluZGV4AP////8CSW5kZXgABwAAAE5vVGludAAISXNEZWZhdWx0Q29sb3IAABBEZWZhdWx0Q29sb3JJbmRleAD/////AAAAAzQAtwEAAANQb2ludEFkZHJlc3MAMwAAABBTZXJpZXNJbmRleAABAAAAEFBvaW50SW5kZXgABQAAAAhJc1BvaW50U3VtAAAAA01hcmtlclN0eWxlRGF0YQBgAQAAAlN0eWxlABIAAAB4bE1hcmtlclN0eWxlTm9uZQAQU2l6ZQAIAAAAA0NvbG9yAFUAAAAQQQD/AAAAEFIA+wAAABBHALoAAAAQQgC5AAAAAVNjQQAAAAAAAADwPwFTY1IAAAAAwLXe7j8BU2NHAAAAAODibN8/AVNjQgAAAABgsgzfPwABVGludAAAAAAAAAAAAANUaGVtZUNvbG9yUG9zaXRpb24AtgAAAAJfdHlwZQBRAAAAZW1wb3dlci5DaGFydHMuQ29tbW9uLkNvbG9yVHJhbnNsYXRpb24uVGhlbWVDb2xvclBvc2l0aW9uLCBlbXBvd2VyLkNoYXJ0cy5Db21tb24AEFRoZW1lQ29sb3JTY2hlbWVJbmRleAD/////AkluZGV4AAcAAABOb1RpbnQACElzRGVmYXVsdENvbG9yAAAQRGVmYXVsdENvbG9ySW5kZXgA/////wAAAAAIU3VwcHJlc3NNYXJrZXJzAAAIUmVxdWlyZU1hbnVhbFVwZ3JhZGVPbkZpcnN0VGltZVJlYWQAAAACTmFtZQAMAAAATWFya2Vyc0RhdGEAEFZlcnNpb24AAQAAAAlMYXN0V3JpdGUAygBp4I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0AAAAEKwAAAP////8IAJ0IAAAAAAAAAAAAAA4AAAAAAAEA/////6cBpwEAAAVfaWQAEAAAAAQR4BsXP0IcTokRQ94PuAZQA0RhdGEASgEAAANOdW1iZXJGb3JtYXRWYWx1ZVN0cmluZ3MAKwEAAAJOdW1iZXJGb3JtYXRJZFByaW1hcnkAJQAAADAwMDAwMDAwLTAwMDAtMDAwMC0wMDAwLTAwMDAwMDAwMDAwMAACUGVyY2VudEZvcm1hdElkUHJpbWFyeQAOAAAAWyQtNDA3XSMsIyMwJQACTnVtYmVyRm9ybWF0SWRTZWNvbmRhcnkAJQAAADAwMDAwMDAwLTAwMDAtMDAwMC0wMDAwLTAwMDAwMDAwMDAwMAACTnVtYmVyRm9ybWF0SWRQcmltYXJ5Q2F0ZWdvcnkAJQAAADAwMDAwMDAwLTAwMDAtMDAwMC0wMDAwLTAwMDAwMDAwMDAwMAACUGVyY2VudEZvcm1hdElkUHJpbWFyeUNhdGVnb3J5AA4AAABbJC00MDddIywjIzAlAAAAAk5hbWUADgAAAE51bWJlckZvcm1hdHMAEFZlcnNpb24AAQAAAAlMYXN0V3JpdGUA8cpQNZcBAAAAAgD/////kQCRAAAABV9pZAAQAAAABFu1ARj5vUJHhbiQdDbuuKsDRGF0YQA4AAAABE9uVG9wU2VyaWVzSW5kaXplcwAFAAAAAARIaWRkZW5TZXJpZXNJbmRpemVzAAUAAAAAAAJOYW1lAAoAAABXYXRlcmZhbGwAEFZlcnNpb24AAQAAAAlMYXN0V3JpdGUABXZQNZcBAAAAAwD/////egF6AQAABV9pZAAQAAAABJ837R5cm/VFi+QjLG27iqgDRGF0YQAMAQAABFBvaW50Q29sb3JzU3R5bGUABQAAAAADU2VyaWVzQ29sb3JzU3R5bGUA3QAAAAMxANUAAAAQU2VyaWVzSW5kZXgAAQAAAANQcmltYXJ5Q29sb3JTdHlsZQCsAAAAAkNvbG9yUHJvcGVydHlUYXJnZXQACAAAAFByaW1hcnkAA0NvbG9yT3JUaGVtZUNvbG9yAHMAAAAQVGhlbWVDb2xvcgAFAAAAAVRpbnRBbmRTaGFkZQAAAAAAAAAAABBUaW50SW5kZXgA/////xBTY2hlbWVDb2xvcgAAAAAAA0NvbG9yACEAAAAQQQD/AAAAEFIAxwAAABBHACoAAAAQQgA0AAAAAAAAAAAAAk5hbWUAHwAAAFBvaW50QW5kU2VyaWVzU3R5bGVEZWZpbml0aW9ucwAQVmVyc2lvbgABAAAACUxhc3RXcml0ZQBMhFA1lwEAAAAEAP////96AXoBAAAFX2lkABAAAAAEKvMXI/R260yzxP7OFrTpgwNEYXRhAAwBAAAEUG9pbnRDb2xvcnNTdHlsZQAFAAAAAANTZXJpZXNDb2xvcnNTdHlsZQDdAAAAAzEA1QAAABBTZXJpZXNJbmRleAABAAAAA1ByaW1hcnlDb2xvclN0eWxlAKwAAAACQ29sb3JQcm9wZXJ0eVRhcmdldAAIAAAAUHJpbWFyeQADQ29sb3JPclRoZW1lQ29sb3IAcwAAABBUaGVtZUNvbG9yAAUAAAABVGludEFuZFNoYWRlAAAAAAAAAAAAEFRpbnRJbmRleAD/////EFNjaGVtZUNvbG9yAAAAAAADQ29sb3IAIQAAABBBAP8AAAAQUgDHAAAAEEcAKgAAABBCADQAAAAAAAAAAAACTmFtZQAfAAAAUG9pbnRBbmRTZXJpZXNTdHlsZURlZmluaXRpb25zABBWZXJzaW9uAAAAAAAJTGFzdFdyaXRlAESEUDWXAQAAAAUA/////3sAewAAAAVfaWQAEAAAAAQb4e4m5+eKQa2aG3Oq94AMA0RhdGEAHQAAAAhEb05vdFNob3dGdWxsRW1mQWdhaW4AAAACTmFtZQAPAAAAQ29tbW9uU2V0dGluZ3MAEFZlcnNpb24AAAAAAAlMYXN0V3JpdGUA1tg6YIoBAAAABgD/////mgCaAAAABV9pZAAQAAAABGh19SnVOHpGuCjoXcGJjS4DRGF0YQA4AAAACEFyZU5lZ2F0aXZlU3Vtc0F0T3RoZXJFbmQAAAhBcmVDb2x1bW5TdW1zVmlzaWJsZQAAAAJOYW1lABMAAABDb2x1bW5TdW1zU2V0dGluZ3MAEFZlcnNpb24AAAAAAAlMYXN0V3JpdGUADpXCfm4BAAAABwD/////yQDJAAAABV9pZAAQAAAABErJHy+eAeNGt8PzTe0xNckERGF0YQBvAAAAAzAAZwAAABBTZXJpZXNJbmRleAABAAAABFhWYWx1ZXMASAAAAAIwAA0AAABLZWluZSBBbmdhYmUAAjEAFQAAAFRlaWwgZWluZXMgVmVyYnVuZGVzAAIyAAwAAABTdGFuZC1BbG9uZQAAAAACTmFtZQALAAAAU2VyaWVzRGF0YQAQVmVyc2lvbgAAAAAACUxhc3RXcml0ZQAM4EBgi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OAAAABf////8PAAAA5w8AAAAAAAAAAAAAuUcAAAVfaWQAEAAAAATkTuQVVR9qRq53GZ8wZgjuA0RhdGEAX0cAAANEYXRhTGFiZWxzUGVyQXhpcwAoRwAAA1ByaW1hcnkA6UQAAAREYXRhTGFiZWxzAMhCAAADMAA+FgAAEFBvaW50SW5kZXgAAQAAAAJBbGlnbm1lbnQABwAAAENlbnRlcgAQU2VyaWVzSW5kZXgAAQAAAAhSZXF1aXJlRm9udENvbG9yTWlncmF0aW9uAAAITWFudWFsRGF0YUxhYmVsQmFja2dyb3VuZFZpc2libGUAAAhIYXNXaXNoQ29sb3IAAANUZXh0Qm94AL4GAAAFTWFuYWdlZElkABAAAAAESH9aaIxMOkGs39Bs5jKnqA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UAAAAzMCA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QAAADMwICUAAUhlaWdodAAAAACgIp4qQAFXaWR0aAAAAADgp7g5QAFUb3AAAAAAIMOrGkABTGVmdAAAAAAgeTVh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FSmgy7WeRVNqgwANxP3ick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QUjwryEYMkRYeqYeT/TGGvCEhhc0NoYW5nZXMAAQhVc2VOYW1lSW5zdGVhZE9mVGFnQXNJZAABCFNoYXBlUHJldmlvdXNseUNyZWF0ZWQAAANGaWxsQ29sb3IAVQAAABBBAAAAAAAQUgAAAAAAEEcAAAAAABBCAAAAAAABU2NBAAAAAAAAAPC/AVNjUgAAAAAAAADwvwFTY0cADwAAAAUOAAAAEAAAAOcPAAAAAAAAAAAA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QAAAABBHAEAAAAAQQgBAAAAAAVNjQQAAAAAAAADwPwFTY1IAAAAAgP0/qj8BU2NHAAAAAID9P6o/AVNjQgAAAACA/T+q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J4D0WJAAVkAAAAAQNHbKEAACEhhc0xlYWRlckxpbmUAAAhJc0NlbnRlckF1dG9tYXRpY0FkanVzdGVkAAAISXNVc2VyUG9zaXRpb24AAAhBZGRQcmVmaXhTcGFjZQAACEFkZFBvc3RmaXhTcGFjZQABAlBvc3RmaXgAAgAAACUAAlNlcGFyYXRvcgACAAAACgACVGV4dAADAAAAMzAACFJlcXVpcmVSZWxhdGl2ZVBvc2l0aW9uVXBncmFkZQABCElzR2VvbWV0cnlPdXRPZkJvdW5kcwAACElzTGVhZGVyTGluZUluQXV0b01vZGUAAQhEZWxldGVkAAAAAzEAPhYAABBQb2ludEluZGV4AAIAAAACQWxpZ25tZW50AAcAAABDZW50ZXIAEFNlcmllc0luZGV4AAEAAAAIUmVxdWlyZUZvbnRDb2xvck1pZ3JhdGlvbgAACE1hbnVhbERhdGFMYWJlbEJhY2tncm91bmRWaXNpYmxlAAAISGFzV2lzaENvbG9yAAADVGV4dEJveAC+BgAABU1hbmFnZWRJZAAQAAAABEBGdP3fQDpIhk0GnPy68I8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FAAAANjAg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UAAAA2MCAlAAFIZWlnaHQAAAAAoCKeKkABV2lkdGgAAAAA4Ke4OUABVG9wAAAAAEDvp0BAAUxlZnQAAAAAYKX6Zk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DVpZEABWQAAAACgevZKQAADRW5kABsAAAABWAAAAACgDAZlQAFZAAAAAKB69kpAAAJTdGFydEFycm93SGVhZAARAAAAbXNvQXJyb3doZWFkTm9uZQACRW5kQXJyb3dIZWFkABEAAABtc29BcnJvd2hlYWROb25lAAVNYW5hZ2VkSWQAEAAAAASZNggbEBbaQb7vB34gXhdp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BAAAAAFDwAAABEAAADnDwAAAAAAAAAA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D0mhNAAVRvcAAAAACgevZKQAFMZWZ0AAAAAAA1aWR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CgDGZlQAFZAAAAAKB69kpAAANFbmQAGwAAAAFYAAAAAKAMBmVAAVkAAAAAoHr2SkAAAlN0YXJ0QXJyb3dIZWFkABEAAABtc29BcnJvd2hlYWROb25lAAJFbmRBcnJvd0hlYWQAEQAAAG1zb0Fycm93aGVhZE5vbmUABU1hbmFnZWRJZAAQAAAABHMoiVIOHepFmGHWyQ+zal4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IQAFUb3AAAAAAoHr2SkABTGVmdAAAAACgDAZlQAhGbGlwSG9yaXpvbnRhbGx5AAEIRmxpcEhvcml6b250YWxseUFwcGxpZWQAAAhGbGlwVmVydGljYWxseQAACEZsaXBWZXJ0aWNhbGx5QXBwbGllZAAAAVJvdGF0aW9uAAAAAAAAAAAAAVpPcmRlcgAAAAAAAAAAAANCb3JkZXJDb2xvcgBVAAAAEEEA/wAAABBSAEAAAAAQRwBAAAAAEEIAQAAAAAFTY0EAAAAAAAAA8D8BU2NSAAAAAMD9P6o/AVNjRwAAAADA/T+qPwFTY0IAAAAAwP0/qj8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DeL5ZoQAFZAAAAACxriUNAAAhIYXNMZWFkZXJMaW5lAAAISXNDZW50ZXJBdXRvbWF0aWNBZGp1c3RlZAAACElzVXNlclBvc2l0aW9uAAAIQWRkUHJlZml4U3BhY2UAAAhBZGRQb3N0Zml4U3BhY2UAAQJQb3N0Zml4AAIAAAAlAAJTZXBhcmF0b3IAAgAAAAoAAlRleHQAAwAAADYwAAhSZXF1aXJlUmVsYXRpdmVQb3NpdGlvblVwZ3JhZGUAAQhJc0dlb21ldHJ5T3V0T2ZCb3VuZHMAAAhJc0xlYWRlckxpbmVJbkF1dG9Nb2RlAAEIRGVsZXRlZAAAAAMyAD4WAAAQUG9pbnRJbmRleAADAAAAAkFsaWdubWVudAAHAAAAQ2VudGVyABBTZXJpZXNJbmRleAABAAAACFJlcXVpcmVGb250Q29sb3JNaWdyYXRpb24AAAhNYW51YWxEYXRhTGFiZWxCYWNrZ3JvdW5kVmlzaWJsZQAACEhhc1dpc2hDb2xvcgAAA1RleHRCb3gAvgYAAAVNYW5hZ2VkSWQAEAAAAAQ7uIHHa9ifQJNAfHA3VzTr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QAAADEwICUAAlRleHRIb3Jpem9udGFsQWxpZ25tZW50ABAAAABtc29BbmNob3JDZW50ZXIAAlBhcmFncmFwaEFsaWdubWVudAAPAAAAbXNvQWxpZ25DZW50ZXIAAlRleHRWZXIRAAAABRAAAAASAAAA5w8AAAAAAAAAAAAA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QAAADEwICUAAUhlaWdodAAAAACgIp4qQAFXaWR0aAAAAADgp7g5QAFUb3AAAAAAIGb6TUABTGVmdAAAAADAYbla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Bgwf5jQAFZAAAAABhwxlZAAANFbmQAGwAAAAFYAAAAACAq/WVAAVkAAAAAGHDGVkAAAlN0YXJ0QXJyb3dIZWFkABEAAABtc29BcnJvd2hlYWROb25lAAJFbmRBcnJvd0hlYWQAEQAAAG1zb0Fycm93aGVhZE5vbmUABU1hbmFnZWRJZAAQAAAABDWqJFeWRkpEqYbC4jhjDa4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jOYvQAFUb3AAAAAAIHDGVkABTGVmdAAAAABgwf5j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ICpdZkABWQAAAAAYcMZWQAADRW5kABsAAAABWAAAAAAgKv1lQAFZAAAAABhwxlZAAAJTdGFydEFycm93SGVhZAARAAAAbXNvQXJyb3doZWFkTm9uZQACRW5kQXJyb3dIZWFkABEAAABtc29BcnJvd2hlYWROb25lAAVNYW5hZ2VkSWQAEAAAAAScybIFAkDYTYzPdM1Gm2/x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EgAAAAURAAAA/////x0IygcAAAAAAAAAAAAAAAAAAAAAAAABSGVpZ2h0AAAAAAAAAAAAAVdpZHRoAAAAAAAAAAhAAVRvcAAAAAAgcMZWQAFMZWZ0AAAAACAq/WVACEZsaXBIb3Jpem9udGFsbHkAAQhGbGlwSG9yaXpvbnRhbGx5QXBwbGllZAAACEZsaXBWZXJ0aWNhbGx5AAAIRmxpcFZlcnRpY2FsbHlBcHBsaWVkAAABUm90YXRpb24AAAAAAAAAAAABWk9yZGVyAAAAAAAAAAAAA0JvcmRlckNvbG9yAFUAAAAQQQD/AAAAEFIAQAAAABBHAEAAAAAQQgBAAAAAAVNjQQAAAAAAAADwPwFTY1IAAAAAwP0/qj8BU2NHAAAAAMD9P6o/AVNjQgAAAADA/T+q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Lx28F1AAVkAAAAABvFtUEAACEhhc0xlYWRlckxpbmUAAAhJc0NlbnRlckF1dG9tYXRpY0FkanVzdGVkAAAISXNVc2VyUG9zaXRpb24AAAhBZGRQcmVmaXhTcGFjZQAACEFkZFBvc3RmaXhTcGFjZQABAlBvc3RmaXgAAgAAACUAAlNlcGFyYXRvcgACAAAACgACVGV4dAADAAAAMTAACFJlcXVpcmVSZWxhdGl2ZVBvc2l0aW9uVXBncmFkZQABCElzR2VvbWV0cnlPdXRPZkJvdW5kcwAACElzTGVhZGVyTGluZUluQXV0b01vZGUAAQhEZWxldGVk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MYWJlbHNWaXNpYmxlAAEIQXV0b21hdGljTGFiZWxCYWNrZ3JvdW5kc0VuYWJsZWQAAQADU2Vjb25kYXJ5ACYCAAAERGF0YUxhYmVscwAF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MYWJlbHNWaXNpYmxlAAAIQXV0b21hdGljTGFiZWxCYWNrZ3JvdW5kc0VuYWJsZWQAAQAACERpc2FibGVBdXRvbWF0aWNEZWFjdGl2YXRpb24AAAACTmFtZQALAAAARGF0YUxhYmVscwAQVmVyc2lvbgAGAAAACUxhc3RXcml0ZQD7ylA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MAAAAE//////////8EACYBAAAAAAAAAAAAAP////9wAHAAAAAFX2lkABAAAAAE5c/ZNSLMkUewfqHRn1u7TANEYXRhABYAAAACUGVyc29uYWxJZAABAAAAAAACTmFtZQALAAAAUGVyc29uYWxJZAAQVmVyc2lvbgAAAAAACUxhc3RXcml0ZQBI2BR5fAEAAAABAP////95AHkAAAAFX2lkABAAAAAEidt8Op2oXEm1snZSAvbCrQNEYXRhABUAAAAIU2hhcGVzUmVtb3ZlZAAAAAJOYW1lABUAAABHZW5lcmFsRXhjZWxTZXR0aW5ncwAQVmVyc2lvbgAAAAAACUxhc3RXcml0ZQDD2DpgigEAAAACAP////9zAHMAAAAFX2lkABAAAAAEedmKO2WXtUiZeCFUePqfmANEYXRhAAUAAAAAAk5hbWUAHwAAAEF6dXJlSW5mb3JtYXRpb25Qcm90ZWN0aW9uRGF0YQAQVmVyc2lvbgAAAAAACUxhc3RXcml0ZQC+2DpgigEAAAADAP////9FDUUNAAAFX2lkABAAAAAEdx1pQmrd602VpZvYlq7fbgNEYXRhANsMAAAIRXhjZWxDb2xvck1vZGVBY3RpdmUAAAhDb2xvckNhY2hlUmVwYWlyZWRGb3JMaW5rZWRDaGFydHMAAARDb2xvckNhY2hlAI8MAAADMACIAAAAA0NlbGxBZGRyZXNzABoAAAAQUm93AAEAAAAQQ29sdW1uAAEAAAAAA0NvbG9yAFUAAAAQQQAAAAAAEFIA/wAAABBHAP8AAAAQQgD/AAAAAVNjQQAAAAAAAAAAAAFTY1IAAAAAAAAA8D8BU2NHAAAAAAAAAPA/AVNjQgAAAAAAAADwPwAAAzEAiAAAAANDZWxsQWRkcmVzcwAaAAAAEFJvdwABAAAAEENvbHVtbgACAAAAAANDb2xvcgBVAAAAEEEAAAAAABBSAP8AAAAQRwD/AAAAEEIA/wAAAAFTY0EAAAAAAAAAAAABU2NSAAAAAAAAAPA/AVNjRwAAAAAAAADwPwFTY0IAAAAAAAAA8D8AAAMyAIgAAAADQ2VsbEFkZHJlc3MAGgAAABBSb3cAAQAAABBDb2x1bW4AAwAAAAADQ29sb3IAVQAAABBBAAAAAAAQUgD/AAAAEEcA/wAAABBCAP8AAAABU2NBAAAAAAAAAAAAAVNjUgAAAAAAAADwPwFTY0cAAAAAAAAA8D8BU2NCAAAAAAAAAPA/AAADMwCIAAAAA0NlbGxBZGRyZXNzABoAAAAQUm93AAEAAAAQQ29sdW1uAAQAAAAAA0NvbG9yAFUAAAAQQQAAAAAAEFIA/wAAABBHAP8AAAAQQgD/AAAAAVNjQQAAAAAAAAAAAAFTY1IAAAAAAAAA8D8BU2NHAAAAAAAAAPA/AVNjQgAAAAAAAADwPwAAAzQAiAAAAANDZWxsQWRkcmVzcwAaAAAAEFJvdwABAAAAEENvbHVtbgAFAAAAAANDb2xvcgBVAAAAEEEAAAAAABBSAP8AAAAQRwD/AAAAEEIA/wAAAAFTY0EAAAAAAAAAAAABU2NSAAAAAAAAAPA/AVNjRwAAAAAAAADwPwFTY0IAAAAAAAAA8D8AAAM1AIgAAAADQ2VsbEFkZHJlc3MAGgAAABBSb3cAAQAAABBDb2x1bW4ABgAAAAADQ29sb3IAVQAAABBBAP8AAAAQUgCmAAAAEEcApgAAABBCAKYAAAABU2NBAAAAAAAAAPA/AVNjUgAAAABgpWfYPwFTY0cAAAAAYKVn2D8BU2NCAAAAAGClZ9g/AAADNgCIAAAAA0NlbGxBZGRyZXNzABoAAAAQUm93AAIAAAAQQ29sdW1uAAEAAAAAA0NvbG9yAFUAAAAQQQD/AAAAEFIA3QAAABBHAN0AAAAQQgDdAAAAAVNjQQAAAAAAAADwPwFTY1IAAAAAgEQj5z8BU2NHAAAAAIBEI+c/AVNjQgAAAACARCPnPwAAAzcAiAAAAANDZWxsQWRkcmVzcwAaAAAAEFJvdwACAAAAEENvbHVtbgACAAAAAANDb2xvcgBVAAAAEEEAAAAAABBSAP8AAAAQRwD/AAAAEEIA/wAAAAFTY0EAAAAAAAAAAAABU2NSAAAAAAAAAPA/AVNjRwAAAAAAAADwPwFTY0IAAAAAAAAA8D8AAAM4AIgAAAADQ2VsbEFkZHJlc3MAGgAAABBSb3cAAgAAABBDb2x1bW4AAwAAAAADQ29sb3IAVQAAABBBAAAAAAAQUgD/AAAAEEcA/wAAABBCAP8AAAABU2NBAAAAAAAAAAAAAVNjUgAAAAAAAADwPwFTY0cAAAAAAAAA8D8BU2NCAAAAAAAAAPA/AAADOQCIAAAAA0NlbGxBZGRyZXNzABoAAAAQUm93AAIAAAAQQ29sdW1uAAQAAAAAA0NvbG9yAFUAAAAQQQAAAAAAEFIA/wAAABBHAP8AAAAQQgD/AAAAAVNjQQAAAAAAAAAAAAFTY1IAAAAAAAAA8D8BU2NHAAAAAAAAAPA/AVNjQgAAAAAAAADwPwAAAzEwAIgAAAADQ2VsbEFkZHJlc3MAGgAAABBSb3cAAgAAABBDb2x1bW4ABQAAAAADQ29sb3IAVQAAABBBAAAAAAAQUgD/AAAAEEcA/wAAABBCAP8AAAABU2NBAAAAAAAAAAAAAVNjUgAAAAAAAADwPwFTY0cAAAAAAAAA8D8BU2NCAAAAAAAAAPA/AAADMTEAiAAAAANDZWxsQWRkcmVzcwAaAAAAEFJvdwACAAAAEENvbHVtbgAGAAAAAANDb2xvcgBVAAAAEEEAAAAAABBSAP8AAAAQRwD/AAAAEEIA/wAAAAFTY0EAAAAAAAAAAAABU2NSAAAAAAAAAPA/AVNjRwAAAAAAAADwPwFTY0IAAAAAAAAA8D8AAAMxMgCIAAAAA0NlbGxBZGRyZXNzABoAAAAQUm93AAEAAAAQQ29sdW1uAAcAAAAAA0NvbG9yAFUAAAAQQQD/AAAAEFIApgAAABBHAKYAAAAQQgCmAAAAAVNjQQAAAAAAAADwPwFTY1IAAAAAYKVn2D8BU2NHAAAAAGClZ9g/AVNjQgAAAABgpWfYPwAAAzEzAIgAAAADQ2VsbEFkZHJlc3MAGgAAABBSb3cAAgAAABBDb2x1bW4ABwAAAAADQ29sb3IAVQAAABBBAAAAAAAQUgD/AAAAEEcA/wAAABBCAP8AAAABU2NBAAAAAAAAAAAAAVNjUgAAAAAAAADwPwFTY0cAAAAAAAAA8D8BU2NCAAAAAAAAAPA/AAADMTQAiAAAAANDZWxsQWRkcmVzcwAaAAAAEFJvdwABAAAAEENvbHVtbgAIAAAAAANDb2xvcgBVAAAAEEEA/wAAABBSAKYAAAAQRwCmAAAAEEIApgAAAAFTY0EAAAAAAAAA8D8BU2NSAAAAAGClZ9g/AVNjRwAAAABgpWfYPwFTY0IAAAAAYKVn2D8AAAMxNQCIAAAAA0NlbGxBZGRyZXNzABoAAAAQUm93AAIAAAAQQ29sdW1uAAgAAAAAA0NvbG9yAFUAAAAQQQAAAAAAEFIA/wAAABBHAP8AAAAQQgD/AAAAAVNjQQAAAAAAAAAAAAFTY1IAAAAAAAAA8D8BU2NHAAAAAAAAAPA/AVNjQgAAAAAAAADwPwAAAzE2AIgAAAADQ2VsbEFkZHJlc3MAGgAAABBSb3cAAAAAABBDb2x1bW4AAAAAAAADQ29sb3IAVQAAABBBAP8AAAAQUgCmAAAAEEcApgAAABBCAKYAAAABU2NBAAAAAAAAAPA/AVNjUgAAAABgpWfYPwFTY0cAAAAAYKVn2D8BU2NCAAAAAGClZ9g/AAADMTcAiAAAAANDZWxsQWRkcmVzcwAaAAAAEFJvdwAAAAAAEENvbHVtbgABAAAAAANDb2xvcgBVAAAAEEEA/wAAABBSAKYAAAAQRwCmAAAAEEIApgAAAAFTY0EAAAAAAAAA8D8BU2NSAAAAAGClZ9g/AVNjRwAAAABgpWfYPwFTY0IAAAAAYKVn2D8AAAMxOACIAAAAA0NlbGxBZGRyZXNzABoAAAAQUm93AAAAAAAQQ29sdW1uAAIAAAAAA0NvbG9yAFUAAAAQQQD/AAAAEFIApgAAABBHAKYAAAAQQgCmAAAAAVNjQQAAAAAAAADwPwFTY1IAAAAAYKVn2D8BU2NHAAAAAGClZ9g/AVNjQgAAAABgpWfYPwAAAzE5AIgAAAADQ2VsbEFkZHJlc3MAGgAAABBSb3cAAAAAABBDb2x1bW4AAwAAAAADQ29sb3IAVQAAABBBAP8AAAAQUgCmAAAAEEcApgAAABBCAKYAAAABU2NBAAAAAAAAAPA/AVNjUgAAAABgpWfYPwFTY0cAAAAAYKVn2D8BU2NCAAAAAGClZ9g/AAADMjAAiAAAAANDZWxsQWRkcmVzcwAaAAAAEFJvdwAAAAAAEENvbHVtbgAEAAAAAANDb2xvcgBVAAAAEEEA/wAAABBSAKYAAAAQRwCmAAAAEEIApgAAAAFTY0EAAAAAAAAA8D8BU2NSAAAAAGClZ9g/AVNjRwAAAABgpWfYPwFTY0IAAAAAYKVn2D8AAAMyMQCIAAAAA0NlbGxBZGRyZXNzABoAAAAQUm93AAAAAAAQQ29sdW1uAAUAAAAAA0NvbG9yAFUAAAAQQQD/AAAAEFIApgAAABBHAKYAAAAQQgCmAAAAAVNjQQAAAAAAAADwPwFTY1IAAAAAYKVn2D8BU2NHAAAAAGClZ9g/AVNjQgAAAABgpWfYPwAAAzIyAIgAAAADQ2VsbEFkZHJlc3MAGgAAABBSb3cAAQAAABBDb2x1bW4AAAAAAAADQ29sb3IAVQAAABBBAP8AAAAQUgDdAAAAEEcA3QAAABBCAN0AAAABU2NBAAAAAAAAAPA/AVNjUgAAAACARCPnPwFTY0cAAAAAgEQj5z8BU2NCAAAAAIBEI+c/AAAAAAJOYW1lABsAAABFeGNlbENvbG9yTW9kZURhdGFQcm9wZXJ0eQAQVmVyc2lvbgABAAAACUxhc3RXcml0ZQBvLDtgi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UAAAABP//////////AgAOBgAAAAAAAAAAAAAVAAAAAAABAP/////JCckJAAAFX2lkABAAAAAEr8aMU8zNMkqVa6OOcxIFPQNEYXRhAGYJAAAIQXV0b21hdGljTGF5b3V0QWN0aXZlAAEEQWRkaXRpb25hbENoYXJ0TWFyZ2luRGF0YXMABQAAAAACRGF0YVJlZmVyZW5jZURpcmVjdGlvbgANAAAAU2VyaWVzQnlSb3dzAAJTZXJpZXNPcmRlcgAKAAAAQXNJbkV4Y2VsAAJQb2ludE9yZGVyAAoAAABBc0luRXhjZWwAAlByaW1hcnlBeGlzQ3Jvc3NUeXBlABkAAABDcm9zc2VzQmV0d2VlbkNhdGVnb3JpZXMAAlNlY29uZGFyeUF4aXNDcm9zc1R5cGUACAAAAEludmFsaWQACElzQ2hhcnRUaXRsZVZpc2libGUAAANDaGFydFRpdGxlRGF0YQDiBgAACFdhbnRUb0JlVmlzaWJsZQAAA1RleHRCb3hEYXRhAGwGAAAFTWFuYWdlZElkABAAAAAEh9+tEUR8rEKvA82P0vD/HQ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AAAIRm9udFN0cmlrZXRocm91Z2gAAAhGb250U3Vic2NyaXB0AAAIRm9udFN1cGVyc2NyaXB0AAAIRm9udFVuZGVybGluZQAAAAhTaXplVG9UZXh0V2lkdGgAAQhTaXplVG9UZXh0SGVpZ2h0AAE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PZmZzZXRGcm9tSG9tZQBCAAAAAVgAAAAAAAAAAAABWQAAAAAAAAAAAAFMZW5ndGgAAAAAAAAAAAABTGVuZ3RoU3F1YXJlZAAAAAAAAAAAAAAAAVBsb3RUb0NoYXJ0QXJlYVJhdGlvAAAAAAAAAAAAAlJlbmRlck1vZGUACwAAAEh5YnJpZFRleHQAA0N1c3RvbWl6aW5nRGVzY3JpcHRpb25EYXRhAJEAAAACTmFtZQAXAAAARGVmYXVsdEZsZXhDdXN0b21pemluZwAQVmVyc2lvbgABAAAAEE1pbm9yVmVyc2lvbgAAAAAAAkN1c3RvbWl6aW5nVHlwZQAIAAAARGVmYXVsdAACTWlvQ2RJZAABAAAAAAJGbGV4Q3VzdG9taXppbmdUeXBlAAgAAABEZWZhdWx0AAABTGFzdFNlZW5XaWR0aAAAAABgRBByQAFMYXN0U2VlbkhlaWdodAAAAAAAs/tTQAhNaWdyYXRpb25Ub1BlcmZvcm1hbmNlTW9kZURvbmUAAQVMYXN0U2VlblNsaWRlQ29sb3JUaGVtZU1kNUhhc2gAEAAAAADCZAk1JOntz300feOG59EeAAJOYW1lABQAAABHbG9iYWxDaGFydFNldHRpbmdzABBWZXJzaW9uAAUAAAAJTGFzdFdyaXRlAEWFU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QAAAAX/////FgAAAOcPAAAAAAAAAAAAAHUYAAAFX2lkABAAAAAE8LHXQoF0vkO0Cgd+arot/gREYXRhAB0YAAADMAAFCAAABV9pZAAQAAAABFcyFOa9aPFMpZF8PZr1QpQCX3R5cGUAVwAAAGVtcG93ZXIuQ2hhcnRzLkRhdGEuRGF0YUNoYXJ0cy5PdmVybGF5cy5EYXRhLkNvbHVtblN1bU92ZXJsYXlEYXRhLCBlbXBvd2VyLkNoYXJ0cy5EYXRhABBDb2x1bW4AAQAAABBTZXJpZXMA/////wNUZXh0RWxlbWVudADrBgAAAkF1dG9TaGFwZVR5cGUACgAAAFJlY3RhbmdsZQAEQWRqdXN0bWVudHMABQAAAAAFTWFuYWdlZElkABAAAAAEzqoCoe0WH0yuEVhv+WbS2w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gBQuLUABV2lkdGgAAAAAQInzOk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wKi7KkAAAkNvbHVtblN1bVBvc2l0aW9uAAwAAABEZWZhdWx0RG9jawAIRGVsZXRlZAABA051bWJlckZvcm1hdAAfAAAABV9pZAAQAAAABAAAAAAAAAAAAAAAAAAAAAAACElzTmV3AAEBRm9udFNpemUAAAAAAAAAKEAAAzEABQgAAAVfaWQAEAAAAAT0mzJomiT5SITQ1dGTZjt/Al90eXBlAFcAAABlbXBvd2VyLkNoYXJ0cy5EYXRhLkRhdGFDaGFydHMuT3ZlcmxheXMuRGF0YS5Db2x1bW5TdW1PdmVybGF5RGF0YSwgZW1wb3dlci5DaGFydHMuRGF0YQAQQ29sdW1uAAIAAAAQU2VyaWVzAP////8DVGV4dEVsZW1lbnQA6wYAAAJBdXRvU2hhcGVUeXBlAAoAAABSZWN0YW5nbGUABEFkanVzdG1lbnRzAAUAAAAABU1hbmFnZWRJZAAQAAAABJE/bt0yZjtNuYwPwMEF9jw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IAULi1AAVdpZHRoAAAAAECJ8zp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MCouypAAAJDb2x1bW5TdW1Qb3NpdGlvbgAMAAAARGVmYXVsdERvY2sACBYAAAAFFQAAAP////+OCFkHAAAAAAAAAABEZWxldGVkAAEDTnVtYmVyRm9ybWF0AB8AAAAFX2lkABAAAAAEAAAAAAAAAAAAAAAAAAAAAAAISXNOZXcAAQFGb250U2l6ZQAAAAAAAAAoQAADMgAFCAAABV9pZAAQAAAABIMt0NYwN4VOrXT8LELlpC8CX3R5cGUAVwAAAGVtcG93ZXIuQ2hhcnRzLkRhdGEuRGF0YUNoYXJ0cy5PdmVybGF5cy5EYXRhLkNvbHVtblN1bU92ZXJsYXlEYXRhLCBlbXBvd2VyLkNoYXJ0cy5EYXRhABBDb2x1bW4AAwAAABBTZXJpZXMA/////wNUZXh0RWxlbWVudADrBgAAAkF1dG9TaGFwZVR5cGUACgAAAFJlY3RhbmdsZQAEQWRqdXN0bWVudHMABQAAAAAFTWFuYWdlZElkABAAAAAEmxSZ2tstzEC0npDm95Dg0w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gBQuLUABV2lkdGgAAAAAQInzOk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wKi7KkAAAkNvbHVtblN1bVBvc2l0aW9uAAwAAABEZWZhdWx0RG9jawAIRGVsZXRlZAABA051bWJlckZvcm1hdAAfAAAABV9pZAAQAAAABAAAAAAAAAAAAAAAAAAAAAAACElzTmV3AAEBRm9udFNpemUAAAAAAAAAKEAAAAJOYW1lAAkAAABPdmVybGF5cwAQVmVyc2lvbgAFAAAACUxhc3RXcml0ZQBFhFA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XAAAABP//////////AgBYBgAAAAAAAAAAAAD/////7gbuBgAABV9pZAAQAAAABOTgcVxdw/JFhCTY+syi73gDRGF0YQCKBgAAA1dpZ2dsZVNoYXBlRGF0YQB0BgAAAkF1dG9TaGFwZVR5cGUACgAAAFJlY3RhbmdsZQAFTWFuYWdlZElkABAAAAAEDoRAX34c6kitVwH+qk+2GAhIYXNDaGFuZ2VzAAAIVXNlTmFtZUluc3RlYWRPZlRhZ0FzSWQAAQhTaGFwZVByZXZpb3VzbHlDcmVhdGVkAAEDRmlsbENvbG9yAFUAAAAQQQAAAAAAEFIA/wAAABBHAP8AAAAQQgD/AAAAAVNjQQAAAAAAAAAAAAFTY1IAAAAAAAAA8D8BU2NHAAAAAAAAAPA/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PA/AVdpZHRoAAAAAAAAAPA/AVRvcAAAAAAAPjAiQAFMZWZ0AAAAAAA+MCJ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TmFtZQAVAAAARGF0YUNoYXJ0Q29BdXRob3JpbmcAEFZlcnNpb24AAAAAAAlMYXN0V3JpdGUAMoZQNZcBAAAAAQD/////kQKRAgAABV9pZAAQAAAABPJ2u2Gt+xFFsnbJSwHxljwDRGF0YQA0AgAAA051bWJlckZvcm1hdFZhbHVlU3RyaW5ncwAVAgAAAk51bWJlckZvcm1hdElkUHJpbWFyeUNhdGVnb3J5ACUAAAAwMDAwMDAwMC0wMDAwLTAwMDAtMDAwMC0wMDAwMDAwMDAwMDAAAkFyaXRobWV0aWNPcGVyYXRpb25JZFByaW1hcnlDYXRlZ29yeQAlAAAAOWU4MWU0NDEtNTc1MC00YmZjLWJlNmEtMTFlMjQxODc3MjFmAAJQZXJjZW50Rm9ybWF0SWRQcmltYXJ5Q2F0ZWdvcnkAAwAAADAlAAJOdW1iZXJGb3JtYXRJZFByaW1hcnkAJQAAADJiYmM3MzhhLTc0M2UtNDA2Yi04ZDc1LTdkNjM1Y2EzMDZkZQACQXJpdGhtZXRpY09wZXJhdGlvbklkUHJpbWFyeQAlAAAAOWU4MWU0NDEtNTc1MC00YmZjLWJlNmEtMTFlMjQxODc3MjFmAAJQZXJjZW50Rm9ybWF0SWRQcmltYXJ5AAMAAAAwJQACTnVtYmVyRm9ybWF0SWRTZWNvbmRhcnkAJQAAADAwMDAwMDAwLTAwMDAtMDAwMC0wMDAwLTAwMDAwMDAwMDAwMAACQXJpdGhtZXRpY09wZXJhdGlvbklkU2Vjb25kYXJ5ACUAAAA5ZTgxZTQ0MS01NzUwLTRiZmMtYmU2YS0xMWUyNDE4NzcyMWYAAlBlcmNlbnRGb3JtYXRJZFNlY29uZGFyeQADAAAAMCUAAAACTmFtZQAOAAAATnVtYmVyRm9ybWF0cwAQVmVyc2lvbgACAAAACUxhc3RXcml0ZQD8ylA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AAAAAT//////////wYAwgMAAAAAAAAAAAAA/////2sAawAAAAVfaWQAEAAAAASiIHVwnM96Q6NxyzQ2sEzoA0RhdGEAEgAAAAhJc1JldmVyc2VkAAAAAk5hbWUACgAAAFdhdGVyZmFsbAAQVmVyc2lvbgAAAAAACUxhc3RXcml0ZQB4jTDTYgEAAAABAP/////gAOAAAAAFX2lkABAAAAAEHRpcc62+MUa/mvdjXBSr4ANEYXRhAGwAAAAEUG9pbnRNYXJrZXJTdHlsZXMABQAAAAADU2VyaWVzTWFya2VyU3R5bGVzAAUAAAAACFN1cHByZXNzTWFya2VycwAACE1hcmtlcnNTdXBwcmVzc2VkT25QcmV2aW91c0xheW91dAAAAAJOYW1lACUAAABQb2ludEFuZFNlcmllc01hcmtlclN0eWxlRGVmaW5pdGlvbnMAEFZlcnNpb24AAAAAAAlMYXN0V3JpdGUAqNg6YIoBAAAAAgD/////egF6AQAABV9pZAAQAAAABOpD/XbM+xhKjAqhkiEPctMDRGF0YQAMAQAABFBvaW50Q29sb3JzU3R5bGUABQAAAAADU2VyaWVzQ29sb3JzU3R5bGUA3QAAAAMxANUAAAAQU2VyaWVzSW5kZXgAAQAAAANQcmltYXJ5Q29sb3JTdHlsZQCsAAAAAkNvbG9yUHJvcGVydHlUYXJnZXQACAAAAFByaW1hcnkAA0NvbG9yT3JUaGVtZUNvbG9yAHMAAAAQVGhlbWVDb2xvcgAFAAAAAVRpbnRBbmRTaGFkZQAAAAAAAAAAABBUaW50SW5kZXgA/////xBTY2hlbWVDb2xvcgAAAAAAA0NvbG9yACEAAAAQQQD/AAAAEFIAxwAAABBHACoAAAAQQgA0AAAAAAAAAAAAAk5hbWUAHwAAAFBvaW50QW5kU2VyaWVzU3R5bGVEZWZpbml0aW9ucwAQVmVyc2lvbgACAAAACUxhc3RXcml0ZQBMhFA1lwEAAAADABkAAAAAAAQA/////80AzQAAAAVfaWQAEAAAAARQOzB7KYrrQKOsZEw6vXasA0RhdGEAYQAAAAhIYXNTdHlsZVJlcG9zaXRvcnlCZWVuTWlncmF0ZWQAAQhIYXNCb3JkZXJTdHlsZUJlZW5NaWdyYXRlZAABCEhhc0NoYXJ0QmVlbkxheW91dGVkRm9yRmxleAABAAJOYW1lAB0AAABDaGFydFN0eWxlU3RhdHVzSW5mb3JtYXRpb25zABBWZXJzaW9uAAAAAAAJTGFzdFdyaXRlAECEUDWXAQAAAAUA/////2MIYwgAAAVfaWQAEAAAAATBHKR+6yNYT6aonVrUaMW8A0RhdGEABwgAAARQb2ludENvbG9ySW5kaWNlcwDNBgAAAzAA9QAAABBTZXJpZXNJbmRleAABAAAAEFBvaW50SW5kZXgAAQAAAANDb2xvcgBVAAAAEEEA/wAAABBSAPsAAAAQRwC6AAAAEEIAuQAAAAFTY0EAAAAAAAAA8D8BU2NSAAAAAMC13u4/AVNjRwAAAADA4mzfPwFTY0IAAAAAYLIM3z8AA0NvbG9ySW5kZXhJbkN1c3RvbWl6aW5nAFoAAAAQVGhlbWVDb2xvclNjaGVtZUluZGV4AP////8CSW5kZXgABwAAAE5vVGludAAISXNEZWZhdWx0Q29sb3IAABBEZWZhdWx0Q29sb3JJbmRleAD/////AAADMQD1AAAAEFNlcmllc0luZGV4AAEAAAAQUG9pbnRJbmRleAACAAAAA0NvbG9yAFUAAAAQQQD/AAAAEFIA+wAAABBHALoAAAAQQgC5AAAAAVNjQQAAAAAAAADwPwFTY1IAAAAAwLXe7j8BU2NHAAAAAMDibN8/AVNjQgAAAABgsgzfPwADQ29sb3JJbmRleEluQ3VzdG9taXppbmcAWgAAABBUaGVtZUNvbG9yU2NoZW1lSW5kZXgA/////wJJbmRleAAHAAAATm9UaW50AAhJc0RlZmF1bHRDb2xvcgAAEERlZmF1bHRDb2xvckluZGV4AP////8AAAMyAPUAAAAQU2VyaWVzSW5kZXgAAQAAABBQb2ludEluZGV4AAMAAAADQ29sb3IAVQAAABBBAP8AAAAQUgD7AAAAEEcAugAAABBCALkAAAABU2NBAAAAAAAAAPA/AVNjUgAAAADAtd7uPwFTY0cAAAAAwOJs3z8BU2NCAAAAAGCyDN8/AANDb2xvckluZGV4SW5DdXN0b21pemluZwBaAAAAEFRoZW1lQ29sb3JTY2hlbWVJbmRleAD/////AkluZGV4AAcAAABOb1RpbnQACElzRGVmYXVsdENvbG9yAAAQRGVmYXVsdENvbG9ySW5kZXgA/////wAAAzMA9QAAABBTZXJpZXNJbmRleAABAAAAEFBvaW50SW5kZXgABAAAAANDb2xvcgBVAAAAEEEA/wAAABBSAPsAAAAQRwC6AAAAEEIAuQAAAAFTY0EAAAAAAAAA8D8BU2NSAAAAAMC13u4/AVNjRwAAAADA4mzfPwFTY0IAAAAAYLIM3z8AA0NvbG9ySW5kZXhJbkN1c3RvbWl6aW5nAFoAAAAQVGhlbWVDb2xvclNjaGVtZUluZGV4AP////8CSW5kZXgABwAAAE5vVGludAAISXNEZWZhdWx0Q29sb3IAABBEZWZhdWx0Q29sb3JJbmRleAD/////AAADNAD1AAAAEFNlcmllc0luZGV4AAEAAAAQUG9pbnRJbmRleAAFAAAAA0NvbG9yAFUAAAAQQQD/AAAAEFIA+wAAABBHALoAAAAQQgC5AAAAAVNjQQAAAAAAAADwPwFTY1IAAAAAwLXe7j8BU2NHAAAAAMDibN8/AVNjQgAAAABgsgzfPwADQ29sb3JJbmRleEluQ3VzdG9taXppbmcAWgAAABBUaGVtZUNvbG9yU2NoZW1lSW5kZXgA/////wJJbmRleAAHAAAATm9UaW50AAhJc0RlZmF1bHRDb2xvcgAAEERlZmF1bHRDb2xvckluZGV4AP////8AAAM1APUAAAAQU2VyaWVzSW5kZXgAAQAAABBQb2ludEluZGV4AAYAAAADQ29sb3IAVQAAABBBAP8AAAAQUgD7AAAAEEcAugAAABBCALkAAAABU2NBAAAAAAAAAPA/AVNjUgAAAADAtd7uPwFTY0cAAAAAwOJs3z8BU2NCAAAAAGCyDN8/AANDb2xvckluZGV4SW5DdXN0b21pemluZwBaAAAAEFRoZW1lQ29sb3JTY2hlbWVJbmRleAD/////AkluZGV4AAcAAABOb1RpbnQACElzRGVmYXVsdENvbG9yAAAQRGVmYXVsdENvbG9ySW5kZXgA/////wAAAzYA9QAAABBTZXJpZXNJbmRleAABAAAAEFBvaW50SW5kZXgABwAAAANDb2xvcgBVAAAAEEEA/wAAABBSAPsAAAAQRwC6AAAAEEIAuQAAAAFTY0EAAAAAAAAA8D8BU2NSAAAAAMC13u4/AVNjRwAAAADA4mzfPwFTY0IAAAAAYLIM3z8AA0NvbG9ySW5kZXhJbkN1c3RvbWl6aW5nAFoAAAAQVGhlbWVDb2xvclNjaGVtZUluZGV4AP////8CSW5kZXgABwAAAE5vVGludAAISXNEZWZhdWx0Q29sb3IAABBEZWZhdWx0Q29sb3JJbmRleAD/////AAAABFNlcmllc0NvbG9ySW5kaWNlcwDtAAAAAzAA5QAAABBTZXJpZXNJbmRleAABAAAAA0NvbG9yAFUAAAAQQQD/AAAAEFIA+wAAABBHALoAAAAQQgC5AAAAAVNjQQAAAAAAAADwPwFTY1IAAAAAwLXe7j8BU2NHAAAAAMDibN8/AVNjQgAAAABgsgzfPwADQ29sb3JJbmRleEluQ3VzdG9taXppbmcAWgAAABBUaGVtZUNvbG9yU2NoZW1lSW5kZXgA/////wJJbmRleAAHAAAATm9UaW50AAhJc0RlZmF1bHRDb2xvcgAAEERlZmF1bHRDb2xvckluZGV4AP////8AAAAETmVnYXRpdmVTZXJpZXNDb2xvckluZGljZXMABQAAAAAAAk5hbWUADQAAAENvbG9ySW5kaWNlcwAQVmVyc2lvbgACAAAACUxhc3RXcml0ZQCTUmjgh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kAAAAF/////xoAAADnDwAAAAAAAAAAAAADKwAABV9pZAAQAAAABEaRI3ePCFxFgY+PtXU2QbEDRGF0YQCoKgAABURhdGEAmCoAAABQSwMEFAAGAAgAAAAhADcxvZF7AQAAhAUAABMACAJbQ29udGVudF9UeXBlc10ueG1s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xUS2/CMAy+T9p/qHKdaGCHaZooHPY4bkiwHxAat41okyg2DP793PDQNAEVgkujJvH3sB0Px+umTlYQ0DibiUHaFwnY3Gljy0x8zz56zyJBUlar2lnIxAZQjEf3d8PZxgMmHG0xExWRf5ES8woahanzYPmkcKFRxL+hlF7lC1WCfOz3n2TuLIGlHrUYYjR8g0Ita0re17y9VTI3ViSv23stVSaU97XJFbFQubL6H0nPFYXJQbt82TB0ij6A0lgBUFOnPhhmDFMgYmMo5FHOADVeRrpzlXJkFIaV8fjA1k8wtCenXe3ivrgcwWhIJirQp2rYu1zX8seFxdy5RXoe5NLUxBSljTJ2r/sMf7yMMi6DGwtp/UXgDh3EPQYyfq+XEGE6CJE2NeCt0x5Bu5grFUBPibu3vLmAv9hdKVdzzoCkdrl12SPoOX5+0pPgPPLUCHB5FfZPtI3ueQaCQAYOj/RYsx8YeeRcXXZoZ5oGfYRbxhk6+gUAAP//AwBQSwMEFAAGAAgAAAAhALVVMCP0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k1PwzAMhu9I/IfI99XdkBBCS3dBSLshVH6ASdwPtY2jJBvdvyccEFQagwNHf71+/Mrb3TyN6sgh9uI0rIsSFDsjtnethpf6cXUHKiZylkZxrOHEEXbV9dX2mUdKeSh2vY8qq7iooUvJ3yNG0/FEsRDPLlcaCROlHIYWPZmBWsZNWd5i+K4B1UJT7a2GsLc3oOqTz5t/15am6Q0/iDlM7NKZFchzYmfZrnzIbCH1+RpVU2g5abBinnI6InlfZGzA80SbvxP9fC1OnMhSIjQS+DLPR8cloPV/WrQ08cudecQ3CcOryPDJgosfqN4BAAD//wMAUEsDBBQABgAIAAAAIQCzS5WNsgMAAFcIAAAPAAAAeGwvd29ya2Jvb2sueG1srFZdb+I4FH1faf9DxtvXNM5nIWoYAaFapO6oop2ZFyRkEodYTeys7RS6o/nvex0IpWUeujOLwI7t+Pgc33Ntrj/u6sp6olIxwRPkXmJkUZ6JnPFNgj4/3NgDZClNeE4qwWmCnqlCH0e//3a9FfJxLcSjBQBcJajUuokdR2UlrYm6FA3lMFIIWRMNTblxVCMpyVVJqa4rx8M4cmrCONojxPI9GKIoWEZTkbU15XoPImlFNNBXJWtUj1Zn74GriXxsGzsTdQMQa1Yx/dyBIqvO4vmGC0nWFcjeuaG1k/CN4OdiKLx+JRg6W6pmmRRKFPoSoJ096TP9LnZc99UW7M734H1IgSPpEzMxPLKS0U+yio5Y0QuYi38ZzQVrdV6JYfN+Ei08cvPQ6LpgFf2yt65FmuYTqU2kKmRVROlZzjTNE3QFTbGlLx2gSrbNpGUVjHqDyPORMzra+U5a4H66x0oZVXQs15RpVcMK1LwJxhhXmkpONJ0KrsGHB12/6rkOe1oKcLi1oH+3TFJILPAXaIWSZDFZqzuiS6uVVYKm8fKzAvnLrJRMacbJJWRfSyHjOF+OmyYlmixvRUaq5QOtmyXO10VYZGuch14QeOHQi/xiOCAY02FAsb88sTQ5z5//YGqSmZ1yYKv2cvbPb7cNVMm4N+6dlhY8z9NbCN49eYJQgmHyQ6bPIVauv+KZjN3VN3+AJ9OhP7Gjyc3QDiZpaI/TaWQHkY8nExxdRYPwO4iRUZwJ0ury4BIDnaAALHE29BfZ9SMujluWv9D4hg8f29Rvin7suxFszsMvjG7Vi59M01Kl2N6bc+8BAtjp2n1lPBfbBNle6EUg9Lnv8IfQ2najX1muywQNI3zs+pOyTQkawsD0abJemKMPmIcmWaVnmCfoFeN0z/gGPrYpXjF2Tih3JzNQ72qLd9k0502r4QYw5LsYQPLEZgk5z90uxv2snBaM09wkDmCctA5INROrrCRSqxXQruhKGiWrtdBa1CZHwabdHpllQFvJ8pyaKwmNOhIfLtIL79o5Af7RKpJvTOAWYnuc5scX/nvmmRSBiwRyumpr3k//YzG7+fBm+ikJ0ArEM3NsQLXnDk4QFb1n/1BwdJGgsRunntksc2AtaCbgvn2GGeBMcWgayfAC3elbpbsacpxBJN0Aj6/wMLDxzA/tYDD07EHge/Y0SL1ZeDVLZ5PO6uYSjv+Pq6g7auL+dje6TNAeJMke4T/BghYToiA398EHvpDaPWunnzX6FwAA//8DAFBLAwQUAAYACAAAACEAgT6Ul/MAAAC6Ag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FJNS8QwEL0L/ocwd5t2FRHZdC8i7FXrDwjJtCnbJiEzfvTfGyq6XVjWSy8Db4Z5783Hdvc1DuIDE/XBK6iKEgR6E2zvOwVvzfPNAwhi7a0egkcFExLs6uur7QsOmnMTuT6SyCyeFDjm+CglGYejpiJE9LnShjRqzjB1Mmpz0B3KTVney7TkgPqEU+ytgrS3tyCaKWbl/7lD2/YGn4J5H9HzGQlJPA15ANHo1CEr+MFF9gjyvPxmTXnOa8Gj+gzlHKtLHqo1PXyGdCCHyEcffymSc+WimbtV7+F0QvvKKb/b8izL9O9m5MnH1d8AAAD//wMAUEsDBBQABgAIAAAAIQCVi3n3bAMAAF0HAAAYAAAAeGwvd29ya3NoZWV0cy9zaGVldDEueG1snFPbjtowEH2v1H+w/E5usAgiwqpahMpLVXV7eTbOhFjYcWo7XFT13ztOSNgV2gptRIwznjnnjH28eDwpSQ5grNBVRuMgogQqrnNR7TL64/t6NKPEOlblTOoKMnoGSx+XHz8sjtrsbQngCCJUNqOlc3UahpaXoJgNdA0VrhTaKObw0+xCWxtgeVukZJhE0TRUTFS0Q0jNPRi6KASHleaNgsp1IAYkc6jflqK2PZri98ApZvZNPeJa1QixFVK4cwtKieLpZldpw7YS+z7FE8bJyeAvwXfc07TxGyYluNFWFy5A5LDTfNv+PJyHjA9It/3fBRNPQgMH4Q/wCpW8T1L8MGAlV7DxO8GmA5jfLpM2Is/on+jyjPA/9kN0Hfq1v3S5aH3y1RA0I3xhCs/g2dttU9WNo+FykQt0gO+aGCgy+ilOV4mPt3U/BRztizlxbPsMErgD1BBT4u271XrvEzcYijxjm+ARGXfiAE8gZUbXKN7+bjlwigThwPBy3rOtW8Oj7i2z8KTlL5G7EinxYuVQsEa6a3AeJA9D+Js+fgaxKx0mT4PZ/NVDCW+s02rIwA31jkzz8wosx6uALQStPK4lasGRKOGvNDqZnbqeL1ImQex5rTt7Z+NBd9i9Ut/jUI6rbTnmH7vyTvSlGPfmP8XTnns6nk3eAvA72mr+BwAA//8AAAD//5SR0Q6CIBSGX8XxACJqrhyylaz1GoxYdqE2Iau37yBNQa/iBvb/3872HahulDJcGMHo0L+ioUIERfohOg2vMof3lMinNn177odWmClo4EoBdcVF3W82geBNciHL64crLVUHWRJniFFpRx/t7ArBVMg1pCNLKB4ZxfJHnByx84g0JOotkYUE3xL5TGCwnFUaAAAABRkAAAAbAAAA5w8AAAAAAAAAAAAA01B1Miji/SE4/zraobAbz4CsHB1htzKybLWA2i+LVcn9kiylk8LLX34BAAD//wAAAP//dI5BDoJADEWvMukBBBRFDMPehYkJJxikwEScTkqJiad30BDc2FX//6/pL7zp8GK4s25UA7aiId5koNh2/bIL+Y97zNI42Wdp/p0DqJpE6PEn7NE0yHO4A9USySKispi/ViiTV9545Mq+UEMOitiiEyOWnAZPLGyshDYn22jgc5NAOBZTD3g1LKO60eRCzQR+3JXeznS04kE8ie9jjyjlGwAA//8DAFBLAwQUAAYACAAAACEAfrdOPmoEAACcDwAAEwAAAHhsL3RoZW1lL3RoZW1lMS54bWzMV1tvozgUfl9p/4PFOw13QtV0RCBoV5rVStsZ7bPLfWogwk4vGvW/z7FNAId0O9PtSJO8gPl8/PlcvmNffXhsCLrPe1p37UYzLwwN5W3aZXVbbrTPnxJ9rSHKcJth0rX5RnvKqfbh+vffrvAlq/ImRzC/pZd4o1WM7S9XK5rCMKYX3T5v4VvR9Q1m8NqXq6zHD2C3ISvLMLxVg+tWQy1uwOzfRVGnOfrETWrXR+M7Aq8to3wgJf0NN50rMwQ2uzM5gvblbUR6dI/JRjPET1tdX63w5QAgbIlLxG/ADYDszlrYcxzX8cLRngAQtsTt/J2380Z7AoDTFHaxXNtxfCtyBuwMJB/P2I792DYV/My+veAcuvyv4AVI2ncW+CSJwGsKXoAk3l3g3W2wjVX7AiTx3gLvG2Hs+Ip9AapI3d4tI+h6dnTc7QgpOvLHWXjgOolvDcYnFER/zBy+RNG1TMmjm7zsZMo1+EvXJ/Cd4whmdYvY0z4vcAoJKmDo85/oY11WjC+DL3M8A8ihlJ4MwfqK3aZuX1/kx8xPFmGxaX9it426WVlmomiKmpAb9kTyj1RsmHakzhIYFIEQlTYW076Cx8G1Cq7ssZiD+o79W7PqpsJ7cJYpVijpYLqkaN9RqEkxLAQiP7EtXH5o/uoyWb6myetX+oFiNo0b7jgOAWIS7flT3o7mReWXQjuOBPjcHyExW0wlYZ8h4R8HIQr/RULs7F1YBGdYrLn5Y6iOURxdAdTGqEAVIcxV3nWkViKaYpJnPE5SNo/R5cF510i/5EwyzwADmsSQAVOkA871xe3x3clU+45IKyRm6aaSmKVhhbN8yM55c3nPWAdTSBV63BXHapho+OufEWsuIifaQNq5UpAWPWw0z3bhrJDi/UYrQCzhsdlD7tC21BAmJRwmUtbLgn+Lsux7ymJMK+lwITpSDZqa5T0idbPR+PbHbCCt0BDBzbRAEH5ZcgHIyq9GDoKuBjkvijxl87DPRkTzEwBQeKkVZ7+K6W8H85ndAcJ9U2UP6JYc+n8wpJjrm9yBWU0ZtBrpzazuZ0I25d9JYxpk98xBka+Fyb7CQ0eZi7mECxEd6Yg3uWnR5cCBigvU96ER3pa8wf7vrvt6q+a7mYnm1DMVVeFd87yY/rwmP2M1NVGFlZRuccCik9YFR62DRD3bJV7put/REGbUpsUUapzxUoa5Zg+jKrV3PBDMPOG94LexR5z1xFs7P8w7zVreII7nSlEG4iI4v6t1t19APGI4Oh8Io/Ks/Mh6DIc+efaWsgEl88iG0oAndOjrjfbVcEMnstxIN9buTndsx9DXbmjroeva5s41jXhrPUNjYVVjuvISmuCmJk/DVVSML66jTZ32He0KdpF2zaoT182VIC6uo6b18nUU1SA6Xz0rCexg6+mBHSa6E2/XehB5Wz32Ij9O4shdB8mzhu4F2AntyPF2a90zo0h3PIPTXwe671hW6PjheueEz8MxBnYuxWTwBbhX8Lr+BgAA//8DAFBLAwQUAAYACAAAACEAUFHkqbEFAABzGgAADQAAAHhsL3N0eWxlcy54bWzsGdlu4zbwvUD/gdC7oyOSYhm2F7kELJCixcYL9JWWKJsNJRoUldgt9t87JCWLTuLE8R7YorEDhxqSw+HcMxp/WJcM3RNRU15NHP/EcxCpMp7TajFxPs/SwdBBtcRVjhmvyMTZkNr5MP31l3EtN4zcLgmRCFBU9cRZSrkauW6dLUmJ6xO+IhXMFFyUWMKjWLj1ShCc12pTydzA82K3xLRyDIZRmR2CpMTirlkNMl6usKRzyqjcaFwOKrPRx0XFBZ4zIHXthzhDaz8WAVoL+Eu6g/TMk7NKmgle80KeAG6XFwXNyFOSEzdxcdZjAuzHYfIj1wt27r8WR2IKXUHuqRLhli6RHIkr3uJKnOm44JWsUcabSk6cELArno7uKv5QpWoKVKZdNR3Xf6N7zADiO+50nHHGBZKgCyAKDalwScyKW7LgBH3+qNYVuKRsY+CBAmj9aReWFKSpgK4ixJAzHc/VqoMPOxcUs2dPOgipWMwnTpp6+qPQ9Nc4EPM3JFVTXAMfKGOWWAxgOgaDkERUKcyidjzbrID/FdiuYSNMvbp6IfDGD6LDN9Sc0VzpweJSS73l2ZX+KDTzdoJWOVmTfOLEocZuEaxkfAhxe846j9X3rWfpI4Gfcy5y8IGdoiudNqDpmJFCwg0EXSzVf8lX6j5cSvAR03FO8YJXmCkV7Xa0A0CbEcZulZ/8s9jBvS5Q1ZRpKT8CK8DjKuXuhsCDdmjwmQeF38ZmcFtoYyD57WjRutji37fbB/paok4dZBO13Y3wasU2yiEoU2+fYE//dM7ooiqJWTAd4+4RLbmgf8NG5Tg0jx0VjSTNFCCDDcTY/7rYfz+LwuD7UqiU4QgCgW8dC0HaB7PwRzHtO4v1SKaBKH8SvdOWB7ZmGfSOOW8NE6nYMHFudb4kcgiXrXmheUOZpFVr2VlTg/u4MLA2OvbmDefka8theGDaANhGPxMrPeXrqDWupaB3bdzUkxkHb1vVNoisJalyaxNvJKOVvaRe4pw/WEsaM+5CiLJOrZgGPMc1URh05P4GMdmO/n3U0sH/bU4DSbjsJy4hR1SZLdjdg8CrGQD1g4pEyhsB/C+QBi02N7iWN3ATDauXglZ3M55Ss0blrZAS/67ChFqg/LGWybtg3urN3wXzbjG6rjCJ/P/KhZkMd2+a/ji3fZQud1n0k/TafS6Pft5d7gnGP9IoTf6D2tCjvGmXUEOnAZLliSOX0BR4VEKagsEk3nay/e6F2zL25w2PXWFkhPeskHEjeZcIHS9j03OwcbVtA11Y7hjJI1u6TNV3b03a3aArTV5SVMgoINODtGHgnYRJkgzDs9A7C6Mg1u0Nt8MxHfe1z9fg67EcYxY7bRqT1+zh2W5H4bGrspj+iLV+cJrG19+EtbHF2gB4G8ZREsTeMPTPPN1iejNzX8d4GHuP17z0TH1fZc8LttP22F7Tu86s/mM6rNJsqIik6unqXopVeqGcFLhhcradnDj9+DeS06aEMrJd9Qe951KjmDj9+EY1dnzVPumPaOs4Uq74AxEoW2IhawetFAJdHlgNUZGMGgptnH9Mh9DzBp7n+/ADoxQ++qeb+7JzzDWD5mglkdQ9uoclZ0RTDxSbwjFRatGTtbt+CSUJEZ/4w3b58KXlBRW1hPZcU0KTuMWv1W4ffgb10AzqJ3YJXaztFt1ic/s94HMs0bQxG+RVikb3AlXR/HxP8Cn4VNG/A+59xw448M9OQ0OJdY6r18CBUOPd1NAthv+oERRkc31xllxdp8Fg6F0MB+EpiQZJdHE1iMLLi6urNPEC7/KL9XbgK94N6Bca0Kvyw1HN4A2CaJW2VcLbHgaNgv7BqKF2A0C2TbvycOeRD9p06vmDMMbDwTA+jQZp5AdXcXhxHaWRRXt0ZN/fc33fvI1QxEcjSUtd2O+SP7OhYGzw+MIl3E4Sbv+2aPovAAAA//8DAFBLAwQUAAYACAAAACEAykWnFQsBAACZAQAAFAAAAHhsL3NoYXJlZFN0cmluZ3MueG1sXFBNa8MwDL0P9h+M7q2TwsYocUoZ5LLLYN3uTqImBkfOLKes+/WTWwalxhK8D5lnVbufyasTRnaBDJTrAhRSF3pHg4HPQ7N6AcXJUm99IDRwRoZd/fhQMScls8QGxpTmrdbcjThZXocZSZRjiJNNAuOgeY5oex4R0+T1piie9WQdgerCQsnAE6iF3PeCr/+4rtjVVZT7Lq3Vgn/VyXrJWIKgLvgQVRxaA01TXE6mYxMoXX376KzP3NFOzp+v5CYT+vLmJf6WZ9vJtyQfYzwh1KrSKVukcoJcqf7A6JBVedVu+LyZ1T6v5l46oPMKHcnYF8Z2oR753vOWdbWnwbY381pWW/8BAAD//wMAUEsDBBQABgAIAAAAIQBBv/hg2QAAAMoBAAAjAAAAeGwvd29ya3NoZWV0cy9fcmVscy9zaGVldDEueG1sLnJlbHOskcFOwzAMQO9I/EPkO0m7A0Jo6S4IaVcYH+ClbhvROlFsEPt7gnah0yQunCzb8vOTvd19LbP5pCIxsYfWNmCIQ+ojjx7eDs93D2BEkXucE5OHEwnsutub7QvNqHVIppjFVAqLh0k1PzonYaIFxaZMXDtDKgtqTcvoMoZ3HMltmubeld8M6FZMs+89lH2/AXM45br5b3YahhjoKYWPhVivrHCKx5kqEMtI6sHac0XOobVVFtx1j/Y/PXKJrFReSbUeWlZGFz13kbf2GPlH0q0+0H0DAAD//wMAUEsDBBQABgAIAAAAIQBhruZHiAEAAAAoAAAnAAAAeGwvcHJpbnRlclNldHRpbmdzL3ByaW50ZXJTZXR0aW5nczEuYmlu7Jq/SsNQFMa/Y6JN6VAfQqiLoiWCuBV10y4iOGQpxkHwH1rEMe4ZnPtOzi7uvoAP4LmpCS1JhXhbm+J32vTShJx+95dz7p9DAwR4RIhzbGMT17jEbdYGOMYR2tjFjl7t4gB5ExfuO9ZazbdnR1DHoOF7IQQ1nC1BW8DRzw78gnttTxnv+iMT7eRwv0jyDJSkLo0iGgmMEqgTBwlMILA6IzLOQhB/wobq7OBeZ50eriw1D8feKIrUzwsHYuacIVAmDk5xg76GYl9D8UKXRPO2Lexh/PhJUdrTvG77XDBLuXbuVY6PW/GAtF2icsSZ0gNupn4k1CQUk4jZu3C9n5DP8IvZhXzbb56JqIMKWE01aD/GG/Pd98wWa9AY0bi84ianJdkNmYufrdePUmMfZwsSIAESIAESIAESIAESKEOAu59/Hy/zL5gwZRefgAwLuFPriH11WTzEcczYIoGUACc7xgIJkMAfEHCqUY0u21PBA+60bN/T/w1lts6IIQESqBaBLwAAAP//AwBQSwMEFAAGAAgAAAAhAAkwvHI8AgAAdwQAABQAAAB4bC90YWJsZXMvdGFibGUxLnhtbJxUXW+bMBR9n7T/gPzugvkwEJVWGINUqdpD2/0Al5jEmsHIOG2iaf99lyRLO9qHaS8IDr7n3HPvgevbfa+9F2knGwAAAAUaAAAA/////zULsgQAAAAAAAAAAGWGApGrAHlyaM1aDZsCfX9qcIa8yYlhLbQZZIEOckK3N1+/XDvxrKUH1cNUoK1z48r3p3YrezFdmVEO8KYzthcOHu3Gn0YrxXraSul67YdBQP1eqAGdGFZ9+y8kvbA/diNuTT8Kp56VVu5w5EJe367uNoOxc1cF2ltvb6M/5Hv7gbxXrTWT6dwVkPmm61QrP/RIYt/KFzWP5o0q+k8ueuGCvtQaZg2cdrWbb39GCQvKiiU4S9IYx3kQYxZQhnNWN2GYkrJm/BfyBtGDuSfxLLWWIfLWahq1OHxbwFZ2BSrJisORLUxd2gfzWpnd4AoE+3XGCT0B9Lg1r7B0gC6n+L67g4YSODVPkhkL1WcwRjenrVdG7/ph8toT5QJ/Mxed3XHKEh6XJaZRnOCYNWAsCylmJKh4lGdRw+uLu8dRaCdhOMueIuT/pX/UAYew6LNOmsaEpJRi0qQhjnla45yyEC5JHrKS0iSsFjrvJ3S2GX6mM2fpohPlPK+CoMGcNxXoRCHO4qTGpI54mNOU5FWz0IH6pR/ymQ59r8NTArGAQDSEERxDBnBe8hAnVUZreCqzkix0oH6pE8w6/nGd58Wdx/joDlreDZ15y5WWR/BebbYuhw8fAtIoO7lT4TEqM3YvPkBznJxVo4S/ASxvPnUquqDv+rj5DQAA//8DAFBLAwQUAAYACAAAACEAw7UWUlMBAABn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JJRS8MwFIXfBf9DybNd0naTEdoOnO7JgWBF8S0kd12wSUsS7fbvTdutdig+3txzP845JF0dVBV8gbGy1hmKZgQFoHktpC4z9FJswiUKrGNasKrWkKEjWLTKr69S3lBeG3gydQPGSbCBJ2lLeZOhvXMNxdjyPShmZ16h/XJXG8WcH02JG8Y/WAk4JuQWK3BMMMdwBwybkYhOSMFHZPNpqh4gOIYKFGhncTSL8I/WgVH2z4N+M1Eq6Y6Nz3SyO2ULPixH9cHKUdi27axNehvef4Tfto/PfdRQ6q4rDihPBafcAHO1yZWsUzyZu+4qZt3W17yTIO6O+YMuK+n7ugnWeyOtk5ql+LfMU/sQAxpE4G3RIcR585qs74sNymMSzcOIhAkpCKHxks7j987FxX1nc3hQJy//EuNFSG5DkhSRJ8Z0QSbEMyDvfV9+jfwbAAD//wMAUEsDBBQABgAIAAAAIQB3kc87xAEAAMI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STTW7bMBCF9wV6B4H7mHIaBIVBMUicFimQokasZD+mRjZRiiTIsWr3PL1JL1ZKgm2lKbJId/Onx4+PI3G1a0zWYoja2YJNJznL0CpXabsu2GP5+ewjyyKBrcA4iwXbY2RX8v07sQjOYyCNMUsSNhZsQ+RnnEe1wQbiJLVt6tQuNEApDWvu6lorvHVq26Alfp7nlxx3hLbC6swfBdmgOGvpraKVUx1ffCr3PgFLUToCU+oGZS74KRHX3hutgNLt5VetgouupuzTTqERfNwUiXqJahs07TuNcSqWCgzO04GyBhNR8FNB3CF0Zi5AhyhFS7MWFbmQRf0z2XnBshVE7DAL1kLQYCnhdmND0sfGRwryOqxQU1yZ37+IMAiepoZOH44/GMf6Qk77gRS8Ojho3aAFawmzGwyo01v+/zkd6HDrBPDcj1KTwfitXkCgf9hzPran5xvMGVC/WL+lMd7RkGDX9xDpwf14Qd+7nzj+OnnuGg92LxuoMNM2G1ZV8ENd3Gv7PT760t0C4eGdnxfFcgMBq7Qaxz04FsRdeuJgOpH5Buwaq8PMy0a3lU/DLymnl5P8Q54WblQT/PTzyT8AAAD//wMAUEsBAi0AFAAGAAgAAAAhADcxvZF7AQAAhAUAABMAAAAAAAAAAAAAAAAAAAAAAFtDb250ZW50X1R5cGVzXS54bWxQSwECLQAUAAYACAAAACEAtVUwI/QAAABMAgAACwAAAAAAAAAAAAAAAAC0AwAAX3JlbHMvLnJlbHNQSwECLQAUAAYACAAAACEAs0uVjbIDAABXCAAADwAAAAAAAAAAAAAAAADZBgAAeGwvd29ya2Jvb2sueG1sUEsBAi0AFAAGAAgAAAAhAIE+lJfzAAAAugIAABoAAAAAAAAAAAAAAAAAuAoAAHhsL19yZWxzL3dvcmtib29rLnhtbC5yZWxzUEsBAi0AFAAGAAgAAAAhAJWLefdsAwAAXQcAABgAAAAAAAAAAAAAAAAA6wwAAHhsL3dvcmtzaGVldHMvc2hlZXQxLnhtbFBLAQItABQABgAIAAAAIQB+t04+agQAAJwPAAATAAAAAAAAAAAAAAAAAI0QAAB4bC90aGVtZS90aGVtZTEueG1sUEsBAi0AFAAGAAgAAAAhAFBR5KmxBQAAcxoAAA0AAAAAAAAAAAAAAAAAKBUAAHhsL3N0eWxlcy54bWxQSwECLQAUAAYACAAAACEAykWnFQsBAACZAQAAFAAAAAAAAAAAAAAAAAAEGwAAeGwvc2hhcmVkU3RyaW5ncy54bWxQSwECLQAUAAYACAAAACEAQb/4YNkAAADKAQAAIwAAAAAAAAAAAAAAAABBHAAAeGwvd29ya3NoZWV0cy9fcmVscy9zaGVldDEueG1sLnJlbHNQSwECLQAUAAYACAAAACEAYa7mR4gBAAAAKAAAJwAAAAAAAAAAAAAAAABbHQAAeGwvcHJpbnRlclNldHRpbmdzL3ByaW50ZXJTZXR0aW5nczEuYmluUEsBAi0AFAAGAAgAAAAhAAkwvHI8AgAAdwQAABQAAAAAAAAAAAAAAAAAKB8AAHhsL3RhYmxlcy90YWJsZTEueG1sUEsBAi0AFAAGAAgAAAAhAMO1FlJTAQAAZwIAABEAAAAAAAAAAAAAAAAAliEAAGRvY1Byb3BzL2NvcmUueG1sUEsBAi0AFAAGAAgAAAAhAHeRzzvEAQAAwgMAABAAAAAAAAAAAAAAAAAAICQAAGRvY1Byb3BzL2FwcC54bWxQSwUGAAAAAA0ADQBoAwAAGicAAAAAAAJOYW1lAAwAAABFeGNlbE1pcnJvcgAQVmVyc2lvbgABAAAACUxhc3RXcml0ZQC3s1A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AAAAE//////////8BAJoCAAAAAAAAAAAAAP////9FDUUNAAAFX2lkABAAAAAECQ1Zd3VP4UW7qZ2U3TLySANEYXRhANsMAAAIRXhjZWxDb2xvck1vZGVBY3RpdmUAAAhDb2xvckNhY2hlUmVwYWlyZWRGb3JMaW5rZWRDaGFydHMAAARDb2xvckNhY2hlAI8MAAADMACIAAAAA0NlbGxBZGRyZXNzABoAAAAQUm93AAEAAAAQQ29sdW1uAAEAAAAAA0NvbG9yAFUAAAAQQQAAAAAAEFIA/wAAABBHAP8AAAAQQgD/AAAAAVNjQQAAAAAAAAAAAAFTY1IAAAAAAAAA8D8BU2NHAAAAAAAAAPA/AVNjQgAAAAAAAADwPwAAAzEAiAAAAANDZWxsQWRkcmVzcwAaAAAAEFJvdwABAAAAEENvbHVtbgACAAAAAANDb2xvcgBVAAAAEEEAAAAAABBSAP8AAAAQRwD/AAAAEEIA/wAAAAFTY0EAAAAAAAAAAAABU2NSAAAAAAAAAPA/AVNjRwAAAAAAAADwPwFTY0IAAAAAAAAA8D8AAAMyAIgAAAADQ2VsbEFkZHJlc3MAGgAAABBSb3cAAQAAABBDb2x1bW4AAwAAAAADQ29sb3IAVQAAABBBAAAAAAAQUgD/AAAAEEcA/wAAABBCAP8AAAABU2NBAAAAAAAAAAAAAVNjUgAAAAAAAADwPwFTY0cAAAAAAAAA8D8BU2NCAAAAAAAAAPA/AAADMwCIAAAAA0NlbGxBZGRyZXNzABoAAAAQUm93AAEAAAAQQ29sdW1uAAQAAAAAA0NvbG9yAFUAAAAQQQAAAAAAEFIA/wAAABBHAP8AAAAQQgD/AAAAAVNjQQAAAAAAAAAAAAFTY1IAAAAAAAAA8D8BU2NHAAAAAAAAAPA/AVNjQgAAAAAAAADwPwAAAzQAiAAAAANDZWxsQWRkcmVzcwAaAAAAEFJvdwABAAAAEENvbHVtbgAFAAAAAANDb2xvcgBVAAAAEEEAAAAAABBSAP8AAAAQRwD/AAAAEEIA/wAAAAFTY0EAAAAAAAAAAAABU2NSAAAAAAAAAPA/AVNjRwAAAAAAAADwPwFTY0IAAAAAAAAA8D8AAAM1AIgAAAADQ2VsbEFkZHJlc3MAGgAAABBSb3cAAQAAABBDb2x1bW4ABgAAAAADQ29sb3IAVQAAABBBAP8AAAAQUgCmAAAAEEcApgAAABBCAKYAAAABU2NBAAAAAAAAAPA/AVNjUgAAAABgpWfYPwFTY0cAAAAAYKVn2D8BU2NCAAAAAGClZ9g/AAADNgCIAAAAA0NlbGxBZGRyZXNzABoAAAAQUm93AAIAAAAQQ29sdW1uAAEAAAAAA0NvbG9yAFUAAAAQQQD/AAAAEFIA3QAAABBHAN0AAAAQQgDdAAAAAVNjQQAAAAAAAADwPwFTY1IAAAAAgEQj5z8BU2NHAAAAAIBEI+c/AVNjQgAAAACARCPnPwAAAzcAiAAAAANDZWxsQWRkcmVzcwAaAAAAEFJvdwACAAAAEENvbHVtbgACAAAAAANDb2xvcgBVAAAAEEEAAAAAABBSAP8AAAAQRwD/AAAAEEIA/wAAAAFTY0EAAAAAAAAAAAABU2NSAAAAAAAAAPA/AVNjRwAAAAAAAADwPwFTY0IAAAAAAAAA8D8AAAM4AIgAAAADQ2VsbEFkZHJlc3MAGgAAABBSb3cAAgAAABBDb2x1bW4AAwAAAAADQ29sb3IAVQAAABBBAAAAAAAQUgD/AAAAEEcA/wAAABBCAP8AAAABU2NBAAAAAAAAAAAAAVNjUgAAAAAAAADwPwFTY0cAAAAAAAAA8D8BU2NCAAAAAAAAAPA/AAADOQCIAAAAA0NlbGxBZGRyZXNzABoAAAAQUm93AAIAAAAQQ29sdW1uAAQAAAAAA0NvbG9yAFUAAAAQQQAAAAAAEFIA/wAAABBHAP8AAAAQQgD/AAAAAVNjQQAAAAAAAAAAAAFTY1IAAAAAAAAA8D8BU2NHAAAAAAAAAPA/AVNjQgAAAAAAAADwPwAAAzEwAIgAAAADQ2VsbEFkZHJlc3MAGgAAABBSb3cAAgAAABBDb2x1bW4ABQAAAAADQ29sb3IAVQAAABBBAAAAAAAQUgD/AAAAEEcA/wAAABBCAP8AAAABU2NBAAAAAAAAAAAAAVNjUgAAAAAAAADwPwFTY0cAAAAAAAAA8D8BU2NCAAAAAAAAAPA/AAADMTEAiAAAAANDZWxsQWRkcmVzcwAaAAAAEFJvdwACAAAAEENvbHVtbgAGAAAAAANDb2xvcgBVAAAAEEEAAAAAABBSAP8AAAAQRwD/AAAAEEIA/wAAAAFTY0EAAAAAAAAAAAABU2NSAAAAAAAAAPA/AVNjRwAAAAAAAADwPwFTY0IAAAAAAAAA8D8AAAMxMgCIAAAAA0NlbGxBZGRyZXNzABoAAAAQUm93AAEAAAAQQ29sdW1uAAcAAAAAA0NvbG9yAFUAAAAQQQD/AAAAEFIApgAAABBHAKYAAAAQQgCmAAAAAVNjQQAAAAAAAADwPwFTY1IAAAAAYKVn2D8BU2NHAAAAAGClZ9g/AVNjQgAAAABgpWfYPwAAAzEzAIgAAAADQ2VsbEFkZHJlc3MAGgAAABBSb3cAAgAAABBDb2x1bW4ABwAAAAADQ29sb3IAVQAAABBBAAAAAAAQUgD/AAAAEEcA/wAAABBCAP8AAAABU2NBAAAAAAAAAAAAAVNjUgAAAAAAAADwPwFTY0cAAAAAAAAA8D8BU2NCAAAAAAAAAPA/AAADMTQAiAAAAANDZWxsQWRkcmVzcwAaAAAAEFJvdwABAAAAEENvbHVtbgAIAAAAAANDb2xvcgBVAAAAEEEA/wAAABBSAKYAAAAQRwCmAAAAEEIApgAAAAFTY0EAAAAAAAAA8D8BU2NSAAAAAGClZ9g/AVNjRwAAAABgpWfYPwFTY0IAAAAAYKVn2D8AAAMxNQCIAAAAA0NlbGxBZGRyZXNzABoAAAAQUm93AAIAAAAQQ29sdW1uAAgAAAAAA0NvbG9yAFUAAAAQQQAAAAAAEFIA/wAAABBHAP8AAAAQQgD/AAAAAVNjQQAAAAAAAAAAAAFTY1IAAAAAAAAA8D8BU2NHAAAAAAAAAPA/AVNjQgAAAAAAAADwPwAAAzE2AIgAAAADQ2VsbEFkZHJlc3MAGgAAABBSb3cAAAAAABBDb2x1bW4AAAAAAAADQ29sb3IAVQAAABBBAP8AAAAQUgCmAAAAEEcApgAAABBCAKYAAAABU2NBAAAAAAAAAPA/AVNjUgAAAABgpWfYPwFTY0cAAAAAYKVn2D8BU2NCAAAAAGClZ9g/AAADMTcAiAAAAANDZWxsQWRkcmVzcwAaAAAAEFJvdwAAAAAAEENvbHVtbgABAAAAAANDb2xvcgBVAAAAEEEA/wAAABBSAKYAAAAQRwCmAAAAEEIApgAAAAFTY0EAAAAAAAAA8D8BU2NSAAAAAGClZ9g/AVNjRwAAAABgpWfYPwFTY0IAAAAAYKVn2D8AAAMxOACIAAAAA0NlbGxBZGRyZXNzABoAAAAQUm93AAAAAAAQQ29sdW1uAAIAAAAAA0NvbG9yAFUAAAAQQQD/AAAAEFIApgAAABBHAKYAAAAQQgCmAAAAAVNjQQAAAAAAAADwPwFTY1IAAAAAYKVn2D8BU2NHAAAAAGClZ9g/AVNjQgAAAABgpWfYPwAAAzE5AIgAAAADQ2VsbEFkZHJlc3MAGgAAABBSb3cAAAAAABBDb2x1bW4AAwAAAAADQ29sb3IAVQAAABBBAP8AAAAQUgCmAAAAEEcApgAAABBCAKYAAAABU2NBAAAAAAAAAPA/AVNjUgAAAABgpWfYPwFTY0cAAAAAYKVn2D8BU2NCAAAAAGClZ9g/AAADMjAAiAAAAANDZWxsQWRkcmVzcwAaAAAAEFJvdwAAAAAAEENvbHVtbgAEAAAAAANDb2xvcgBVAAAAEEEA/wAAABBSAKYAAAAQRwCmAAAAEEIApgAAAAFTY0EAAAAAAAAA8D8BU2NSAAAAAGClZ9g/AVNjRwAAAABgpWfYPwFTY0IAAAAAYKVn2D8AAAMyMQCIAAAAA0NlbGxBZGRyZXNzABoAAAAQUm93AAAAAAAQQ29sdW1uAAUAAAAAA0NvbG9yAFUAAAAQQQD/AAAAEFIApgAAABBHAKYAAAAQQgCmAAAAAVNjQQAAAAAAAADwPwFTY1IAAAAAYKVn2D8BU2NHAAAAAGClZ9g/AVNjQgAAAABgpWfYPwAAAzIyAIgAAAADQ2VsbEFkZHJlc3MAGgAAABBSb3cAAQAAABBDb2x1bW4AAAAAAAADQ29sb3IAVQAAABBBAP8AAAAQUgDdAAAAEEcA3QAAABBCAN0AAAABU2NBAAAAAAAAAPA/AVNjUgAAAACARCPnPwFTY0cAAAAAgEQj5z8BU2NCAAAAAIBEI+c/AAAAAAJOYW1lABsAAABFeGNlbENvbG9yTW9kZURhdGFQcm9wZXJ0eQAQVmVyc2lvbgACAAAACUxhc3RXcml0ZQAIdlA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AAAABP//////////BQA1BQAAAAAAAAAAAAD/////zQDNAAAABV9pZAAQAAAABNQV639/g5xKsxA1sTJidM4DRGF0YQBhAAAACEhhc1N0eWxlUmVwb3NpdG9yeUJlZW5NaWdyYXRlZAABCEhhc0JvcmRlclN0eWxlQmVlbk1pZ3JhdGVkAAEISGFzQ2hhcnRCZWVuTGF5b3V0ZWRGb3JGbGV4AAEAAk5hbWUAHQAAAENoYXJ0U3R5bGVTdGF0dXNJbmZvcm1hdGlvbnMAEFZlcnNpb24AAQAAAAlMYXN0V3JpdGUATIRQNZcBAAAAAQD/////ewB7AAAABV9pZAAQAAAABLv0noGU6gFOla47kIbtBTwDRGF0YQASAAAABFNlcmllcwAFAAAAAAACTmFtZQAaAAAAU2hhcGVDb25zdHJ1Y3RlZENoYXJ0RGF0YQAQVmVyc2lvbgAAAAAACUxhc3RXcml0ZQAKdlA1lwEAAAACAP////+AA4ADAAAFX2lkABAAAAAErs6hgodcUkONvPhmPnLKMQNEYXRhAB4DAAADQm91bmRzAG8BAAABWAAAAAAAAAAAAAFZAAAAAAAAAAAAAVdpZHRoAAAAAAAAAAAAAUhlaWdodAAAAAAAAAAAAAFMZWZ0AAAAAAAAAAAAAVRvcAAAAAAAAAAAAAFSaWdodAAAAAAAAAAAAAFCb3R0b20AAAAAAAAAAAADVG9wTGVmdAAbAAAAAVgAAAAAAAAAAAABWQAAAAAAAAAAAAADVG9wUmlnaHQAGwAAAAFYAAAAAAAAAAAAAVkAAAAAAAAAAAAAA0JvdHRvbUxlZnQAGwAAAAFYAAAAAAAAAAAAAVkAAAAAAAAAAAAAA0JvdHRvbVJpZ2h0ABsAAAABWAAAAAAAAAAAAAFZAAAAAAAAAAAAAANTaXplAC4AAAAISXNFbXB0eQAAAVdpZHRoAAAAAAAAAAAAAUhlaWdodAAAAAAAAAAAAAADTG9jYXRpb24AGwAAAAFYAAAAAAAAAAAAAVkAAAAAAAAAAAAACElzRW1wdHkAAAAISXNWaXNpYmxlAAAISXNSZXZlcnNlZAAACFNob3dHcmlkTGluZXMAAAFNYWpvclVuaXQAAAAAAAAAAAABTWF4aW11bVNjYWxlAAAAAAAAAAAAAU1pbmltdW1TY2FsZQAAAAAAAAAAAAhVc2VBdXRvbWF0aWNNYWpvclVuaXQAAQhVc2VBdXRvbWF0aWNNaW5pbXVtU2NhbGUAAQhVc2VBdXRvbWF0aWNNYXhpbXVtU2NhbGUAAQNBZGRpdGlvbmFsQXhpc1RpY2tMYWJlbHNEYXRhALcAAAAESXRlbURhdGEABQAAAAADRm9udENvbG9yAFUAAAAQQQAAAAAAEFIAAAAAABBHAAAAAAAQQgAAAAAAAVNjQQAAAAAAAAAAAAFTY1IAAAAAAAAAAAABU2NHAAAAAAAAAAAAAVNjQgAAAAAAAAAAAAAQRm9udFNjaGVtZUNvbG9yAAAAAAAQRm9udFRoZW1lQ29sb3IAAAAAAAFGb250VGludEFuZFNoYWRlAAAAAAAAAAAAAARHcmlkTGluZUl0ZW1EYXRhAAUAAAAAAAJOYW1lABMAAABBZGRpdGlvbmFsQXhpc0RhdGEAEFZlcnNpb24AAQAAAAlMYXN0V3JpdGUAKoNQNZcBAAAAAwD/////sgCyAAAABV9pZAAQAAAABP6WfY5VlnBBri507+lpNuIDRGF0YQBXAAAAA1NldHRpbmdzUGVyQXhpcwBBAAAAA1ByaW1hcnkAFAAAAAhJc0luQXV0b01vZGUAAQADU2Vjb25kYXJ5ABQAAAAISXNJbkF1dG9Nb2RlAAEAAAACTmFtZQAMAAAATGVhZGVyTGluZXMAEFZlcnNpb24AAAAAAAlMYXN0V3JpdGUAX9JFYIoBAAAABAD/////EAUQBQAABV9pZAAQAAAABN+Q2Zaw0HJCmMKOF1N7l3wDRGF0YQCwBAAAA0dyaWRMaW5lU3R5bGVzRGF0YQCXBAAAA1ByaW1hcnlWYWx1ZUF4aXNHcmlkTGluZVN0eWxlAB0CAAADTWFqb3JVbml0TGluZVN0eWxlAPgAAAADQ29sb3IAVQAAABBBAP8AAAAQUgCJAAAAEEcAiQAAABBCAIkAAAABU2NBAAAAAAAAAPA/AVNjUgAAAAAAmALQPwFTY0cAAAAAAJgC0D8BU2NCAAAAAACYAtA/AAJTY2hlbWVDb2xvckluZGV4ABEAAABwcE5vdFNjaGVtZUNvbG9yABBUaGVtZUNvbG9ySW5kZXgAAAAAAAFUaW50QW5kU2hhZGUAAAAAAAAA0D8BTGluZVdlaWdodAAAAAAAAADgPwJEYXNoU3R5bGUACgAAAExpbmVTb2xpZAAIVmlzaWJsZQABCElzQXV0b21hdGljAAEAA01pbm9yVW5pdExpbmVTdHlsZQD4AAAAA0NvbG9yAFUAAAAQQQD/AAAAEFIAvAAAABBHALwAAAAQQgC8AAAAAVNjQQAAAAAAAADwPwFTY1IAAAAAYKUX4D8BU2NHAAAAAGClF+A/AVNjQgAAAABgpRfgPwACU2NoZW1lQ29sb3JJbmRleAARAAAAcHBOb3RTY2hlbWVDb2xvcgAQVGhlbWVDb2xvckluZGV4AAoAAAABVGludEFuZFNoYWRlAAAAAKCZmdk/AUxpbmVXZWlnaHQAAAAAAAAA4D8CRGFzaFN0eWxlAAoAAABMaW5lU29saWQACFZpc2libGUAAAhJc0F1dG9tYXRpYwAAAAADUHJpbWFyeUNhdGVnb3J5QXhpc0dyaWRMaW5lU3R5bGUAHQIAAANNYWpvclVuaXRMaW5lU3R5bGUA+AAAAANDb2xvcgBVAAAAEEEA/wAAABBSAIkAAAAQRwCJAAAAEEIAiQAAAAFTY0EAAAAAAAAA8D8BU2NSAAAAAACYAtA/AVNjRwAAAAAAmALQPwFTY0IAAAAAAJgC0D8AAlNjaGVtZUNvbG9ySW5kZXgAEQAAAHBwTm90U2NoZW1lQ29sb3IAEFRoZW1lQ29sb3JJbmRleAAAAAAAAVRpbnRBbmRTaGFkZQAAAAAAAADQPwFMaW5lV2VpZ2h0AAAAAAAAAOA/AkRhc2hTdHlsZQAKAAAATGluZVNvbGlkAAhWaXNpYmxlAAEISXNBdXRvbWF0aWMAAAADTWlub3JVbml0TGluZVN0eWxlAPgAAAADQ29sb3IAVQAAABBBAP8AAAAQUgC8AAAAEEcAvAAAABBCALwAAAABU2NBAAAAAAAAAPA/AVNjUgAAAABgpRfgPwFTY0cAAAAAYKUX4D8BU2NCAAAAAGClF+A/AAJTY2hlbWVDb2xvckluZGV4ABEAAABwcE5vdFNjaGVtZUNvbG9yABBUaGVtZUNvbG9ySW5kZXgACgAAAAFUaW50QW5kU2hhZGUAAAAAoJmZ2T8BTGluZVdlaWdodAAAAAAAAADgPwJEYXNoU3R5bGUACgAAAExpbmVTb2xpZAAIVmlzaWJsZQAACElzQXV0b21hdGljAAAAAAhTaG93R3JpZGxpbmVzRGVmYXVsdAAAAAACTmFtZQARAAAAR3JpZGxpbmVTZXR0aW5ncwAQVmVyc2lvbgABAAAACUxhc3RXcml0ZQBKhFA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HgAAAAT//////////xAAigQAAAAAAAAAAAAA/////2EAYQAAAAVfaWQAEAAAAASq1KyY9WDXSZ9yXc4s059eBERhdGEABQAAAAACTmFtZQANAAAATGlua0RhdGFMaXN0ABBWZXJzaW9uAAEAAAAJTGFzdFdyaXRlAOmyQTWXAQAAAAEA/////3MAcwAAAAVfaWQAEAAAAASm7mWhG62FQZ1aTr/B4F46A0RhdGEAFwAAAARTZXJpZUxhYmVscwAFAAAAAAACTmFtZQANAAAAU2VyaWVzTGFiZWxzABBWZXJzaW9uAAQAAAAJTGFzdFdyaXRlANrYOmCKAQAAAAIAHwAAAAAAAwD/////cwBzAAAABV9pZAAQAAAABFb0O6b/7jZHmiZJsshtR/IDRGF0YQAXAAAABFNlcmllTGFiZWxzAAUAAAAAAAJOYW1lAA0AAABTZXJpZXNMYWJlbHMAEFZlcnNpb24ABQAAAAlMYXN0V3JpdGUAAXZQNZcBAAAABAD/////7QLtAgAABV9pZAAQAAAABBX2nanM9atMn/eWT6kdfd4DRGF0YQB2AgAABFBvaW50QWRkaXRpb25hbFN0eWxlcwBqAQAAAzAAdAAAAANQb2ludEFkZHJlc3MAMwAAABBTZXJpZXNJbmRleAABAAAAEFBvaW50SW5kZXgAAQAAAAhJc1BvaW50U3VtAAAAA0FkZGl0aW9uYWxTdHlsZXMAHAAAAAJGaWxsUGF0dGVybgAGAAAAVW5zZXQAAAADMQB0AAAAA1BvaW50QWRkcmVzcwAzAAAAEFNlcmllc0luZGV4AAEAAAAQUG9pbnRJbmRleAACAAAACElzUG9pbnRTdW0AAAADQWRkaXRpb25hbFN0eWxlcwAcAAAAAkZpbGxQYXR0ZXJuAAYAAABVbnNldAAAAAMyAHQAAAADUG9pbnRBZGRyZXNzADMAAAAQU2VyaWVzSW5kZXgAAQAAABBQb2ludEluZGV4AAMAAAAISXNQb2ludFN1bQAAAANBZGRpdGlvbmFsU3R5bGVzABwAAAACRmlsbFBhdHRlcm4ABgAAAFVuc2V0AAAAAANTZXJpZXNBZGRpdGlvbmFsU3R5bGVzANgAAAADMQDQAAAAEFNlcmllc0luZGV4AAEAAAADQWRkaXRpb25hbFN0eWxlcwCoAAAAAkZpbGxQYXR0ZXJuAAgAAABEZWZhdWx0AANGaWxsQ29sb3JPclRoZW1lQ29sb3IAcwAAABBUaGVtZUNvbG9yAAAAAAABVGludEFuZFNoYWRlAAAAAAAAAAAAEFRpbnRJbmRleAD/////EFNjaGVtZUNvbG9yAAAAAAADQ29sb3IAIQAAABBBAP8AAAAQUgAAAAAAEEcAAAAAABBCAAAAAAAAAAAAAAACTmFtZQAoAAAAUG9pbnRBbmRTZXJpZXNBZGRpdGlvblN0eWxlc0RlZmluaXRpb25zABBWZXJzaW9uAAAAAAAJTGFzdFdyaXRlAEBAO2CKAQAAAAUA/////3MAcwAAAAVfaWQAEAAAAASABd6pVhXFTpJeupStdsjKA0RhdGEAFwAAAARTZXJpZUxhYmVscwAFAAAAAAACTmFtZQANAAAAU2VyaWVzTGFiZWxzABBWZXJzaW9uAAMAAAAJTGFzdFdyaXRlAHnYOmCKAQAAAAYAIgAAAAAABwD/////UgBSAAAABV9pZAAQAAAABJK1/Li4i0lAkEX8ZS3DvE8CTmFtZQAJAAAARGF0YUxpbmsAEFZlcnNpb24AAQAAAAlMYXN0V3JpdGUAQ/IVeXwBAAAACAAkAAAAAAAJACYAAAAAAAoAKAAAAAAACwD/////YQBhAAAABV9pZAAQAAAABOKgEtJFIiZNk5FOObM3ZUAERGF0YQAFAAAAAAJOYW1lAA0AAABMaW5rRGF0YUxpc3QAEFZlcnNpb24AAAAAAAlMYXN0V3JpdGUASNgUeXwBAAAADAD/////gQCBAAAABV9pZAAQAAAABLTgMdhEk1dLnLk5pTrR95EDRGF0YQAgAAAAA1Nlcmllc05lZ2F0aXZlQ29sb3JzAAUAAAAAAAJOYW1lABIAAABDb2xvckRhdGFQcm9wZXJ0eQAQVmVyc2lvbgAAAAAACUxhc3RXcml0ZQAL9++PbwEAAAANAP////+1ALUAAAAFX2lkABAAAAAEErZx37gzV06RSGBUIMANTANEYXRhAFcAAAABTGVmdAAAAAAAAAAAAAFUb3AAAAAAAAAAAAABUmlnaHQAAAAAAAAAAAABQm90dG9tAAAAAAAAAAAAAU1hcmdpblRvTGVnZW5kAAAAAAAAAAAAAAJOYW1lAA8AAABQbG90QXJlYUJvcmRlcgAQVmVyc2lvbgAAAAAACUxhc3RXcml0ZQAIir/3YgEAAAAOAP////+7ALsAAAAFX2lkABAAAAAE7cdI4vVDj02dRagVlfqKKgNEYXRhAEoAAAAIU2hvd05hbWUAAAhTaG93VmFsdWUAAAhTaG93UGVyY2VudGFnZQAAEFBlcmNlbnRhZ2VEZWNpbWFsUGxhY2VzAAAAAAAAAk5hbWUAIgAAAENhdGVnb3J5TGFiZWxTZXR0aW5nc0RhdGFQcm9wZXJ0eQAQVmVyc2lvbgAAAAAACUxhc3RXcml0ZQBr46ZsdAEAAAAPAP////+SA5IDAAAFX2lkABAAAAAEjiz35K4XzkmCASxsjpvQpQNEYXRhADADAAADQm91bmRzAG8BAAABWAAAAAAAAAAAAAFZAAAAAAAAAAAAAVdpZHRoAAAAAAAAAAAAAUhlaWdodAAAAAAAAAAAAAFMZWZ0AAAAAAAAAAAAAVRvcAAAAAAAAAAAAAFSaWdodAAAAAAAAAAAAAFCb3R0b20AAAAAAAAAAAADVG9wTGVmdAAbAAAAAVgAAAAAAAAAAAABWQAAAAAAAAAAAAADVG9wUmlnaHQAGwAAAAFYAAAAAAAAAAAAAVkAAAAAAAAAAAAAA0JvdHRvbUxlZnQAGwAAAAFYAAAAAAAAAAAAAVkAAAAAAAAAAAAAA0JvdHRvbVJpZ2h0ABsAAAABWAAAAAAAAAAAAAFZAAAAAAAAAAAAAANTaXplAC4AAAAISXNFbXB0eQAAAVdpZHRoAAAAAAAAAAAAAUhlaWdodAAAAAAAAAAAAAADTG9jYXRpb24AGwAAAAFYAAAAAAAAAAAAAVkAAAAAAAAAAAAACElzRW1wdHkAAAAISXNWaXNpYmxlAAAISXNSZXZlcnNlZAAACFNob3dHcmlkbGluZXMAAAFNYW51YWxNYWpvclVuaXQAAAAAAAAAAAABTWFudWFsTWF4aW11bVNjYWxlAAAAAAAAAAAAAU1hbnVhbE1pbmltdW1TY2FsZQAAAAAAAAAAAAhVc2VBdXRvbWF0aWNNYWpvclVuaXQAAQhVc2VBdXRvbWF0aWNNaW5pbXVtU2NhbGUAAQhVc2VBdXRvbWF0aWNNYXhpbXVtU2NhbGUAAQNBZGRpdGlvbmFsQXhpc1RpY2tMYWJlbHNEYXRhALcAAAAESXRlbURhdGEABQAAAAADRm9udENvbG9yAFUAAAAQQQAAAAAAEFIAAAAAABBHAAAAAAAQQgAAAAAAAVNjQQAAAAAAAAAAAAFTY1IAAAAAAAAAAAABU2NHAAAAAAAAAAAAAVNjQgAAAAAAAAAAAAAQRm9udFNjaGVtZUNvbG9yAAAAAAAQRm9udFRoZW1lQ29sb3IAAAAAAAFGb250VGludEFuZFNoYWRlAAAAAAAAAAAAAARHcmlkbGluZUl0ZW1EYXRhAAUAAAAAAAJOYW1lABMAAABBZGRpdGlvbmFsQXhpc0RhdGEAEFZlcnNpb24AAAAAAAlMYXN0V3JpdGUABoNQ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8AAAAF/////yAAAADnDwAAAAAAAAAAAAAXKAAABV9pZAAQAAAABKQ5Q6Ti11xDpiKpeM5VISYDRGF0YQC/JwAABFNhdmVkQXhpc0xhYmVsRGF0YQCmJwAAAzAAtw0AAAJBeGlzVHlwZQAIAAAAeGxWYWx1ZQACQXhpc0dyb3VwAAoAAAB4bFByaW1hcnkACFNjaGVtZUNvbG9yQXBwbGllZAAACEZvbnRTdHlsZVVuZGVybGluZWQAAAhBcHBseU92ZXJhbGxGb250c2l6ZQABCElzVmlzaWJsZQAACFhsQXV0b21hdGljQ29sb3JJbmRleEFwcGxpZWQAAAhVc2VFeGNlbEZvcm1hdHNXaGVuRGF0ZUF4aXMAAANBeGlzVGl0bGVEYXRhAJQIAAADUG9zaXRpb24AOgAAAAJBbmNob3IACwAAAEF4aXNDZW50ZXIAAVJlbGF0aXZlQW5jaG9yT2Zmc2V0AAAAAAAAAAAAAAhXYW50VG9CZVZpc2libGUAAANUZXh0Qm94RGF0YQCvBgAABU1hbmFnZWRJZAAQAAAABNxO3GikDCBKnE23xk40D7Q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0AAABtc29BbGlnbkxlZnQAAlRleHRWZXJ0aWNhbEFsaWdubWVudAANAAAAbXNvQW5jaG9yVG9w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AAAAAAABQm90dG9tAAAAAAAAAAAAAAJEaXNwbGF5VGV4dAABAAAAAAFIZWlnaHQAAAAAwI5AA0ABV2lkdGgAAAAAoJmZuT8BVG9wAAAAAAAAABBAAUxlZnQAAAAAAAAAE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AMJzAkAAA1Bvc3NpYmxlQXJlYQ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AAhVc2VBdXRvbWF0aWNNYWpvclVuaXQAAQhVc2VBdXRvbWF0aWNNaW5pbXVtU2NhbGUAAQhVc2VBdXRvbWF0aWNNYXhpbXVtU2NhbGUAAQNGb250Q29sb3IAVQAAABBBAP8AAAAQUgBAAAAAEEcAQAAAABBCAEAAAAABU2NBAAAAAAAAAPA/AVNjUgAAAADA/T+qPwFTY0cAAAAAwP0/qj8BU2NCAAAAAMD9P6o/ABBGb250U2NoZW1lQ29sb3IAAgAAABBGb250VGhlbWVDb2xvcgAAAAAAAUZvbnRUaW50QW5kU2hhZGUAAAAAAAAAAAACTGFiZWxQb3NpdGlvbgAFAAAATm9uZQADQXhpc0xpbmVTdHlsZQAzAQAAAl90eXBlAHIAAABtaW8uQ29tbW9uLlBvd2VyUG9pbnQuTWFuYWdlZC5Db250cmFjdHMuQ3VzdG9taXppbmcuU3R5bGVzLkF4aXNMaW5lU3R5bGUsIG1pby5Db21tb24uUG93ZXJQb2ludC5NYW5hZ2VkLkNvbnRyYWN0cwABTGluZVdlaWdodAAAAAAAAADgPwJEYXNoU3R5bGUACgAAAExpbmVTb2xpZAAIVmlzaWJsZQABA0NvbG9yAHMAAAAQVGhlbWVDb2xvcgANAAAAAVRpbnRBbmRTaGFkZQAAAAAAAAAAABBUaW50SW5kZXgA/////xBTY2hlbWVDb2xvcgAAAAAAA0NvbG9yACEAAAAQQQAAAAAAEFIA/wAAABBHAP8AAAAQQgD/AAAAAAAAA051bWJlckZvcm1hdAAfAAAABV9pZAAQAAAABAAAAAAAAAAAAAAAAAA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AAMxACcMAAACQXhpc1R5cGUACAAAAHhsVmFsdWUAAkF4aXNHcm91cAAMAAAAeGxTZWNvbmRhcnkACFNjaGVtZUNvbG9yQXBwbGllZAAACEZvbnRTdHlsZVVuZGVybGluZWQAAAhBcHBseU92ZXJhbGxGb250c2l6ZQAACElzVmlzaWJsZQAACFhsQXV0b21hdGljQ29sb3JJbmRleEFwcGxpZWQAAAhVc2VFeGNlbEZvcm1hdHNXaGVuRGF0ZUF4aXMAAANBeGlzVGl0bGVEYXRhAEcIAAADUG9zaXRpb24AOgAAAAJBbmNob3IACwAAAEF4aXNDZW50ZXIAAVJlbGF0aXZlQW5jaG9yT2Zmc2V0AAAAAAAAAAAAAAhXYW50VG9CZVZpc2libGUAAANUZXh0Qm94RGF0YQBiBgAABU1hbmFnZWRJZAAQAAAABINjYrLYmERIhaGUpkBK23AISGFzQ2hhbmdlcwABCFVzZU5hbWVJbnN0ZWFkT2ZUYWdBc0lkAAEIU2hhcGVQcmV2aW91c2x5Q3JlYXRlZAAAA0ZpbGxDb2xvcgBVAAAAEEEAAAAAABBSAAAAAAAQRwAAAAAAEEIAAAAAAAFTY0EAAAAAAAAA8L8BU2NSAAAAAAAAAPC/AVNjRwAAAAAAAAAgAAAABR8AAAAhAAAA5w8AAAA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DQAAAG1zb0FsaWduTGVmdAACVGV4dFZlcnRpY2FsQWxpZ25tZW50AA0AAABtc29BbmNob3JUb3AAA0ZvbnRTdHlsZQAsAQAAEEZvbnRCYWNrZ3JvdW5kAAAAAAAIRm9udEJvbGQAAANGb250Q29sb3IAVQAAABBBAP8AAAAQUgAAAAAAEEcAAAAAABBCAAAAAAABU2NBAAAAAAAAAPA/AVNjUgAAAAAAAAAAAAFTY0cAAAAAAAAAAAABU2NCAAAAAAAAAAAAABBGb250VGhlbWVDb2xvcgAAAAAAAUZvbnRUaW50QW5kU2hhZGUAAAAAAAAAAAAQRm9udFNjaGVtZUNvbG9yAAAAAAAIRm9udEl0YWxpYwAAAUZvbnRTaXplAAAAAAAAAChACEZvbnRTdHJpa2V0aHJvdWdoAAAIRm9udFN1YnNjcmlwdAAACEZvbnRTdXBlcnNjcmlwdAAACEZvbnRVbmRlcmxpbmUAAAAIU2l6ZVRvVGV4dFdpZHRoAAEIU2l6ZVRvVGV4dEhlaWdodAABA1RleHRNYXJnaW4APwAAAAFMZWZ0AAAAAAAAAAAAAVRvcAAAAAAAAAAAAAFSaWdodAAAAAAAAAAAAAFCb3R0b20AAAAAAAAAAAAAAUhlaWdodAAAAAAAAAAAAAFXaWR0aAAAAAAAAAAAAAFUb3AAAAAAAAAAEEABTGVmdAAAAAAAAAAQ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G9zc2libGVBcmVhAG8BAAABWAAAAAAAAAAAAAFZAAAAAAAAAAAAAVdpZHRoAAAAAAAAAAAAAUhlaWdodAAAAAAAAAAAAAFMZWZ0AAAAAAAAAAAAAVRvcAAAAAAAAAAAAAFSaWdodAAAAAAAAAAAAAFCb3R0b20AAAAAAAAAAAADVG9wTGVmdAAbAAAAAVgAAAAAAAAAAAABWQAAAAAAAAAAAAADVG9wUmlnaHQAGwAAAAFYAAAAAAAAAAAAAVkAAAAAAAAAAAAAA0JvdHRvbUxlZnQAGwAAAAFYAAAAAAAAAAAAAVkAAAAAAAAAAAAAA0JvdHRvbVJpZ2h0ABsAAAABWAAAAAAAAAAAAAFZAAAAAAAAAAAAAANTaXplAC4AAAAISXNFbXB0eQAAAVdpZHRoAAAAAAAAAAAAAUhlaWdodAAAAAAAAAAAAAADTG9jYXRpb24AGwAAAAFYAAAAAAAAAAAAAVkAAAAAAAAAAAAACElzRW1wdHkAAAAACFVzZUF1dG9tYXRpY01ham9yVW5pdAABCFVzZUF1dG9tYXRpY01pbmltdW1TY2FsZQABCFVzZUF1dG9tYXRpY01heGltdW1TY2FsZQABA0ZvbnRDb2xvcgBVAAAAEEEAAAAAABBSAAAAAAAQRwAAAAAAEEIAAAAAAAFTY0EAAAAAAAAAAAABU2NSAAAAAAAAAAAAAVNjRwAAAAAAAAAAAAFTY0IAAAAAAAAAAAAAEEZvbnRTY2hlbWVDb2xvcgAAAAAAEEZvbnRUaGVtZUNvbG9yAAAAAAABRm9udFRpbnRBbmRTaGFkZQAAAAAAAAAAAAJMYWJlbFBvc2l0aW9uAAIAAAAw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DMgC6DQAAAkF4aXNUeXBlAAsAAAB4bENhdGVnb3J5AAJBeGlzR3JvdXAACgAAAHhsUHJpbWFyeQAIU2NoZW1lQ29sb3JBcHBsaWVkAAEIRm9udFN0eWxlVW5kZXJsaW5lZAAACEFwcGx5T3ZlcmFsbEZvbnRzaXplAAEISXNWaXNpYmxlAAEIWGxBdXRvbWF0aWNDb2xvckluZGV4QXBwbGllZAAACFVzZUV4Y2VsRm9ybWF0c1doZW5EYXRlQXhpcwABA0F4aXNUaXRsZURhdGEAlAgAAANQb3NpdGlvbgA6AAAAAkFuY2hvcgALAAAAQXhpc0NlbnRlcgABUmVsYXRpdmVBbmNob3JPZmZzZXQAAAAAAAAAAAAACFdhbnRUb0JlVmlzaWJsZQAAA1RleHRCb3hEYXRhAK8GAAAFTWFuYWdlZElkABAAAAAEGBwJczXWZ0qidLmRn9OEq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DQAAAG1zb0FsaWduTGVmdAACVGV4dFZlcnRpY2FsQWxpZ25tZW50AA0AAABtc29BbmNob3JUb3A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AAAAAAAAFCb3R0b20AAAAAAAAAAAAAAkRpc3BsYXlUZXh0AAEAAAAAAUhlaWdodAAAAADAjkADQAFXaWR0aAAAAACgmZm5PwFUb3AAAAAAAAAAEEABTGVmdAAAAAAAAAAQQAhGbGlwSG9yaXpvbnRhIQAAAAUgAAAA/////0kIngcAAAAAAAAAAGxseQAACEZsaXBIb3Jpem9udGFsbHlBcHBsaWVkAAAIRmxpcFZlcnRpY2FsbHkAAAhGbGlwVmVydGljYWxseUFwcGxpZWQAAAFSb3RhdGlvbgAAAAAAAOBwQ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AMJzAkAAA1Bvc3NpYmxlQXJlYQ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AAhVc2VBdXRvbWF0aWNNYWpvclVuaXQAAQhVc2VBdXRvbWF0aWNNaW5pbXVtU2NhbGUAAQhVc2VBdXRvbWF0aWNNYXhpbXVtU2NhbGUAAQNGb250Q29sb3IAVQAAABBBAP8AAAAQUgBAAAAAEEcAQAAAABBCAEAAAAABU2NBAAAAAAAAAPA/AVNjUgAAAADA/T+qPwFTY0cAAAAAwP0/qj8BU2NCAAAAAMD9P6o/ABBGb250U2NoZW1lQ29sb3IAAgAAABBGb250VGhlbWVDb2xvcgAAAAAAAUZvbnRUaW50QW5kU2hhZGUAAAAAAAAAAAACTGFiZWxQb3NpdGlvbgAFAAAATm9uZQADQXhpc0xpbmVTdHlsZQAzAQAAAl90eXBlAHIAAABtaW8uQ29tbW9uLlBvd2VyUG9pbnQuTWFuYWdlZC5Db250cmFjdHMuQ3VzdG9taXppbmcuU3R5bGVzLkF4aXNMaW5lU3R5bGUsIG1pby5Db21tb24uUG93ZXJQb2ludC5NYW5hZ2VkLkNvbnRyYWN0cwABTGluZVdlaWdodAAAAAAAAADgPwJEYXNoU3R5bGUACgAAAExpbmVTb2xpZAAIVmlzaWJsZQABA0NvbG9yAHMAAAAQVGhlbWVDb2xvcgANAAAAAVRpbnRBbmRTaGFkZQAAAAAAAAAAABBUaW50SW5kZXgA/////xBTY2hlbWVDb2xvcgAAAAAAA0NvbG9yACEAAAAQQQAAAAAAEFIA/wAAABBHAP8AAAAQQgD/AAAAAAAAA051bWJlckZvcm1hdAAfAAAABV9pZAAQAAAABAAAAAAAAAAAAAAAAAA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AAAAAk5hbWUACQAAAEF4ZXNEYXRhABBWZXJzaW9uAAUAAAAJTGFzdFdyaXRlAP7KU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IAAAAF/////yMAAADnDwAAAAAAAAAAAABXGAAABV9pZAAQAAAABNEYF6rt10tLpdOEdQ6kNZMERGF0YQD/FwAAAzAA+wcAAAVfaWQAEAAAAARXMhTmvWjxTKWRfD2a9UKUAl90eXBlAFcAAABlbXBvd2VyLkNoYXJ0cy5EYXRhLkRhdGFDaGFydHMuT3ZlcmxheXMuRGF0YS5Db2x1bW5TdW1PdmVybGF5RGF0YSwgZW1wb3dlci5DaGFydHMuRGF0YQAQQ29sdW1uAAEAAAAQU2VyaWVzAP////8DVGV4dEVsZW1lbnQA6wYAAAJBdXRvU2hhcGVUeXBlAAoAAABSZWN0YW5nbGUABEFkanVzdG1lbnRzAAUAAAAABU1hbmFnZWRJZAAQAAAABM6qAqHtFh9MrhFYb/lm0ts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IAULi1AAVdpZHRoAAAAAECJ8zp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MCouypAAAJDb2x1bW5TdW1Qb3NpdGlvbgAMAAAARGVmYXVsdERvY2sACEFkZFByZWZpeFNwYWNlAAAIQWRkUG9zdGZpeFNwYWNlAAAIRGVsZXRlZAABCElzTmV3AAEBRm9udFNpemUAAAAAAAAAKEAAAzEA+wcAAAVfaWQAEAAAAAT0mzJomiT5SITQ1dGTZjt/Al90eXBlAFcAAABlbXBvd2VyLkNoYXJ0cy5EYXRhLkRhdGFDaGFydHMuT3ZlcmxheXMuRGF0YS5Db2x1bW5TdW1PdmVybGF5RGF0YSwgZW1wb3dlci5DaGFydHMuRGF0YQAQQ29sdW1uAAIAAAAQU2VyaWVzAP////8DVGV4dEVsZW1lbnQA6wYAAAJBdXRvU2hhcGVUeXBlAAoAAABSZWN0YW5nbGUABEFkanVzdG1lbnRzAAUAAAAABU1hbmFnZWRJZAAQAAAABJE/bt0yZjtNuYwPwMEF9jw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IAULi1AAVdpZHRoAAAAAECJ8zp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MCouypAAAJDb2x1bW5TdW1Qb3NpdGlvbgAMAAAARGVmYXVsdERvY2sACEFkZFByZWZpeFMjAAAABSIAAAD/////cAh3BwAAAAAAAAAAcGFjZQAACEFkZFBvc3RmaXhTcGFjZQAACERlbGV0ZWQAAQhJc05ldwABAUZvbnRTaXplAAAAAAAAAChAAAMyAPsHAAAFX2lkABAAAAAEgy3Q1jA3hU6tdPwsQuWkLwJfdHlwZQBXAAAAZW1wb3dlci5DaGFydHMuRGF0YS5EYXRhQ2hhcnRzLk92ZXJsYXlzLkRhdGEuQ29sdW1uU3VtT3ZlcmxheURhdGEsIGVtcG93ZXIuQ2hhcnRzLkRhdGEAEENvbHVtbgADAAAAEFNlcmllcwD/////A1RleHRFbGVtZW50AOsGAAACQXV0b1NoYXBlVHlwZQAKAAAAUmVjdGFuZ2xlAARBZGp1c3RtZW50cwAFAAAAAAVNYW5hZ2VkSWQAEAAAAASbFJna2y3MQLSekOb3kODT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CAFC4tQAFXaWR0aAAAAABAifM6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DAqLsqQAACQ29sdW1uU3VtUG9zaXRpb24ADAAAAERlZmF1bHREb2NrAAhBZGRQcmVmaXhTcGFjZQAACEFkZFBvc3RmaXhTcGFjZQAACERlbGV0ZWQAAQhJc05ldwABAUZvbnRTaXplAAAAAAAAAChAAAACTmFtZQAJAAAAT3ZlcmxheXMAEFZlcnNpb24ABwAAAAlMYXN0V3JpdGUASoRQ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AAAAAX/////JQAAAOcPAAAAAAAAAAAAAAAeAAAFX2lkABAAAAAEH7ZYvWxyAUCDcg5DV0NO+QREYXRhAKgdAAADMADeCQAABV9pZAAQAAAABFcyFOa9aPFMpZF8PZr1QpQCX3R5cGUAVwAAAGVtcG93ZXIuQ2hhcnRzLkRhdGEuRGF0YUNoYXJ0cy5PdmVybGF5cy5EYXRhLkNvbHVtblN1bU92ZXJsYXlEYXRhLCBlbXBvd2VyLkNoYXJ0cy5EYXRhABBDb2x1bW4AAQAAABBTZXJpZXMA/////wNUZXh0RWxlbWVudADrBgAAAkF1dG9TaGFwZVR5cGUACgAAAFJlY3RhbmdsZQAEQWRqdXN0bWVudHMABQAAAAAFTWFuYWdlZElkABAAAAAEzqoCoe0WH0yuEVhv+WbS2w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gBQuLUABV2lkdGgAAAAAQInzOk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wKi7KkAAAkNvbHVtblN1bVBvc2l0aW9uAAwAAABEZWZhdWx0RG9jawAIRGVsZXRlZAABA051bWJlckZvcm1hdAAfAAAABV9pZAAQAAAABIpzvCs+dGtAjXV9Y1yjBt4AA1RleHRGb3JtYXQ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SXNOZXcAAQFGb250U2l6ZQAAAAAAAAAoQAADMQDeCQAABV9pZAAQAAAABPSbMmiaJPlIhNDV0ZNmO38CX3R5cGUAVwAAAGVtcG93ZXIuQ2hhcnRzLkRhdGEuRGF0YUNoYXJ0cy5PdmVybGF5cy5EYXRhLkNvbHVtblN1bU92ZXJsYXlEYXRhLCBlbXBvd2VyLkNoYXJ0cy5EYXRhABBDb2x1bW4AAgAAABBTZXJpZXMA/////wNUZXh0RWxlbWVudADrBgAAAkF1dG9TaGFwZVR5cGUACgAAAFJlY3RhbmdsZQAEQWRqdXN0bWVudHMABQAAAAAFTWFuYWdlZElkABAAAAAEkT9u3TJmO025jA/AwQX2PA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gBQuLUABV2lkdGgAAAAAQInzOkABVG9wAAAAAOBx5HZAAUxlZnQAAAAAYA4mgkAIRmxpcEhvcml6b250YWxseQAACEZsaXBIb3Jpem9udGFsbHlBcHBsaWVkAAAIRmxpcFZlcnRpY2FsbHkAAAhGbGlwVmVydGljYWxseUFwcGxpZWQAAAFSb3RhdGlvbgAAAAAAAAAAAAFaT3JkZXIAAAAAAAAAAAADQm9yZGVyQ29sb3IAVQAAABBBAAAAAAAQUgD/AAAAECUAAAAFJAAAAP////8ZDs4BAAAAAAAAAA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MCouypAAAJDb2x1bW5TdW1Qb3NpdGlvbgAMAAAARGVmYXVsdERvY2sACERlbGV0ZWQAAQNOdW1iZXJGb3JtYXQAHwAAAAVfaWQAEAAAAASKc7wrPnRrQI11fWNcowbeAANUZXh0Rm9ybWF0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lzTmV3AAEBRm9udFNpemUAAAAAAAAAKEAAAzIA3gkAAAVfaWQAEAAAAASDLdDWMDeFTq10/CxC5aQvAl90eXBlAFcAAABlbXBvd2VyLkNoYXJ0cy5EYXRhLkRhdGFDaGFydHMuT3ZlcmxheXMuRGF0YS5Db2x1bW5TdW1PdmVybGF5RGF0YSwgZW1wb3dlci5DaGFydHMuRGF0YQAQQ29sdW1uAAMAAAAQU2VyaWVzAP////8DVGV4dEVsZW1lbnQA6wYAAAJBdXRvU2hhcGVUeXBlAAoAAABSZWN0YW5nbGUABEFkanVzdG1lbnRzAAUAAAAABU1hbmFnZWRJZAAQAAAABJsUmdrbLcxAtJ6Q5veQ4NM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IAULi1AAVdpZHRoAAAAAECJ8zp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MCouypAAAJDb2x1bW5TdW1Qb3NpdGlvbgAMAAAARGVmYXVsdERvY2sACERlbGV0ZWQAAQNOdW1iZXJGb3JtYXQAHwAAAAVfaWQAEAAAAASKc7wrPnRrQI11fWNcowbeAANUZXh0Rm9ybWF0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lzTmV3AAEBRm9udFNpemUAAAAAAAAAKEAAAAJOYW1lAAkAAABPdmVybGF5cwAQVmVyc2lvbgAIAAAACUxhc3RXcml0ZQBKhFA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AAAABf////8nAAAA5w8AAAAAAAAAAAAALhUAAAVfaWQAEAAAAASmpbHFR/JzTIbS8vjPbzFwA0RhdGEA1BQAAARJdGVtRGF0YQATFAAAAzAACxQAABBJbmRleAABAAAACElzRGVsZXRlZAAAA1RleHRTaGFwZURhdGEAawYAAAVNYW5hZ2VkSWQAEAAAAASEwrkaa1zuSqaxmPsgkKUb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QA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GAAAAQXJpYWwAAUZvbnRTaXplAAAAAAAAAAAACEZvbnRTdHJpa2V0aHJvdWdoAAAIRm9udFN1YnNjcmlwdAAACEZvbnRTdXBlcnNjcmlwdAAACEZvbnRVbmRlcmxpbmUAAAAIU2l6ZVRvVGV4dFdpZHRoAAEIU2l6ZVRvVGV4dEhlaWdodAAB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WFya2VyU2hhcGVEYXRhAHQGAAACQXV0b1NoYXBlVHlwZQAKAAAAUmVjdGFuZ2xlAAVNYW5hZ2VkSWQAEAAAAAQgWicTVarUQ7ZBaz+VhmSv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JE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pbmVTaGFwZURhdGEA4QYAAANTdGFydAAbAAAAAVgAAAAAAAAAAAABWQAAAAAAAAAAAAADRW5kABsAAAABWAAAAAAAAAAAAAFZAAAAAAAAAAAAAAJTdGFydEFycm93SGVhZAARAAAAbXNvQXJyb3doZWFkTm9uZQACRW5kQXJyb3dIZWFkABEAAABtc29BcnJvd2hlYWROb25lAAVNYW5hZ2VkSWQAEAAAAAS8STldw85pQ6jpVrAoGNlY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JwAAAAUmAAAA/////0cFoAoAAAAAAAAA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kFsaWdubWVudAAHAAAASGlkZGVuAAhJc1VzZXJQb3NpdGlvbgAAA0N1c3RvbUNlbnRlclBvc2l0aW9uABsAAAABWAAAAAAAAAAAAAFZAAAAAAAAAAAAAAJJdGVtT3JkZXIACgAAAEFzY2VuZGluZwAQUm93Q291bnQAAAAAABBDb2x1bW5Db3VudAAAAAAAAkl0ZW1GbG93RGlyZWN0aW9uAAsAAABIb3Jpem9udGFsAAACTmFtZQALAAAATGVnZW5kRGF0YQAQVmVyc2lvbgACAAAACUxhc3RXcml0ZQBKhFA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gAAAAF/////ykAAADnDwAAAAAAAAAAAAB1GAAABV9pZAAQAAAABLoSDsbY/2tCihyHscHIhfMERGF0YQAdGAAAAzAABQgAAAVfaWQAEAAAAARXMhTmvWjxTKWRfD2a9UKUAl90eXBlAFcAAABlbXBvd2VyLkNoYXJ0cy5EYXRhLkRhdGFDaGFydHMuT3ZlcmxheXMuRGF0YS5Db2x1bW5TdW1PdmVybGF5RGF0YSwgZW1wb3dlci5DaGFydHMuRGF0YQAQQ29sdW1uAAEAAAAQU2VyaWVzAP////8DVGV4dEVsZW1lbnQA6wYAAAJBdXRvU2hhcGVUeXBlAAoAAABSZWN0YW5nbGUABEFkanVzdG1lbnRzAAUAAAAABU1hbmFnZWRJZAAQAAAABM6qAqHtFh9MrhFYb/lm0ts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IAULi1AAVdpZHRoAAAAAECJ8zp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MCouypAAAJDb2x1bW5TdW1Qb3NpdGlvbgAMAAAARGVmYXVsdERvY2sACERlbGV0ZWQAAQNOdW1iZXJGb3JtYXQAHwAAAAVfaWQAEAAAAAQAAAAAAAAAAAAAAAAAAAAAAAhJc05ldwABAUZvbnRTaXplAAAAAAAAAChAAAMxAAUIAAAFX2lkABAAAAAE9JsyaJok+UiE0NXRk2Y7fwJfdHlwZQBXAAAAZW1wb3dlci5DaGFydHMuRGF0YS5EYXRhQ2hhcnRzLk92ZXJsYXlzLkRhdGEuQ29sdW1uU3VtT3ZlcmxheURhdGEsIGVtcG93ZXIuQ2hhcnRzLkRhdGEAEENvbHVtbgACAAAAEFNlcmllcwD/////A1RleHRFbGVtZW50AOsGAAACQXV0b1NoYXBlVHlwZQAKAAAAUmVjdGFuZ2xlAARBZGp1c3RtZW50cwAFAAAAAAVNYW5hZ2VkSWQAEAAAAASRP27dMmY7TbmMD8DBBfY8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CAFC4tQAFXaWR0aAAAAABAifM6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DAqLsqQAACQ29sdW1uU3VtUG9zaXRpb24ADAAAAERlZmF1bHREb2NrAAgpAAAABSgAAAD/////jghZBwAAAAAAAAAARGVsZXRlZAABA051bWJlckZvcm1hdAAfAAAABV9pZAAQAAAABAAAAAAAAAAAAAAAAAAAAAAACElzTmV3AAEBRm9udFNpemUAAAAAAAAAKEAAAzIABQgAAAVfaWQAEAAAAASDLdDWMDeFTq10/CxC5aQvAl90eXBlAFcAAABlbXBvd2VyLkNoYXJ0cy5EYXRhLkRhdGFDaGFydHMuT3ZlcmxheXMuRGF0YS5Db2x1bW5TdW1PdmVybGF5RGF0YSwgZW1wb3dlci5DaGFydHMuRGF0YQAQQ29sdW1uAAMAAAAQU2VyaWVzAP////8DVGV4dEVsZW1lbnQA6wYAAAJBdXRvU2hhcGVUeXBlAAoAAABSZWN0YW5nbGUABEFkanVzdG1lbnRzAAUAAAAABU1hbmFnZWRJZAAQAAAABJsUmdrbLcxAtJ6Q5veQ4NM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IAULi1AAVdpZHRoAAAAAECJ8zp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MCouypAAAJDb2x1bW5TdW1Qb3NpdGlvbgAMAAAARGVmYXVsdERvY2sACERlbGV0ZWQAAQNOdW1iZXJGb3JtYXQAHwAAAAVfaWQAEAAAAAQAAAAAAAAAAAAAAAAAAAAAAAhJc05ldwABAUZvbnRTaXplAAAAAAAAAChAAAACTmFtZQAJAAAAT3ZlcmxheXMAEFZlcnNpb24ABgAAAAlMYXN0V3JpdGUASYRQ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gAAAAT//////////wEAFgYAAAAAAAAAAAAA/////8kJyQkAAAVfaWQAEAAAAAQgUtjmMsMnQKN4eUfR4h8xA0RhdGEAZgkAAAhBdXRvbWF0aWNMYXlvdXRBY3RpdmUAAQRBZGRpdGlvbmFsQ2hhcnRNYXJnaW5EYXRhcwAFAAAAAAJEYXRhUmVmZXJlbmNlRGlyZWN0aW9uAA0AAABTZXJpZXNCeVJvd3MAAlNlcmllc09yZGVyAAoAAABBc0luRXhjZWwAAlBvaW50T3JkZXIACgAAAEFzSW5FeGNlbAACUHJpbWFyeUF4aXNDcm9zc1R5cGUAGQAAAENyb3NzZXNCZXR3ZWVuQ2F0ZWdvcmllcwACU2Vjb25kYXJ5QXhpc0Nyb3NzVHlwZQAIAAAASW52YWxpZAAISXNDaGFydFRpdGxlVmlzaWJsZQAAA0NoYXJ0VGl0bGVEYXRhAOIGAAAIV2FudFRvQmVWaXNpYmxlAAADVGV4dEJveERhdGEAbAYAAAVNYW5hZ2VkSWQAEAAAAASH360RRHysQq8DzY/S8P8d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AAAhGb250U3RyaWtldGhyb3VnaAAACEZvbnRTdWJzY3JpcHQAAAhGb250U3VwZXJzY3JpcHQAAAhGb250VW5kZXJsaW5lAAAACFNpemVUb1RleHRXaWR0aAABCFNpemVUb1RleHRIZWlnaHQAAQ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9mZnNldEZyb21Ib21lAEIAAAABWAAAAAAAAAAAAAFZAAAAAAAAAAAAAUxlbmd0aAAAAAAAAAAAAAFMZW5ndGhTcXVhcmVkAAAAAAAAAAAAAAABUGxvdFRvQ2hhcnRBcmVhUmF0aW8AAAAAAAAAAAACUmVuZGVyTW9kZQALAAAASHlicmlkVGV4dAADQ3VzdG9taXppbmdEZXNjcmlwdGlvbkRhdGEAkQAAAAJOYW1lABcAAABEZWZhdWx0RmxleEN1c3RvbWl6aW5nABBWZXJzaW9uAAEAAAAQTWlub3JWZXJzaW9uAAAAAAACQ3VzdG9taXppbmdUeXBlAAgAAABEZWZhdWx0AAJNaW9DZElkAAEAAAAAAkZsZXhDdXN0b21pemluZ1R5cGUACAAAAERlZmF1bHQAAAFMYXN0U2VlbldpZHRoAAAAAGBEEHJAAUxhc3RTZWVuSGVpZ2h0AAAAAACz+1NACE1pZ3JhdGlvblRvUGVyZm9ybWFuY2VNb2RlRG9uZQABBUxhc3RTZWVuU2xpZGVDb2xvclRoZW1lTWQ1SGFzaAAQAAAAAMJkCTUk6e3PfTR944bn0R4AAk5hbWUAFAAAAEdsb2JhbENoYXJ0U2V0dGluZ3MAEFZlcnNpb24ABAAAAAlMYXN0V3JpdGUALYVQ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AAAAEAAAAAA0AAAAGAEIPAAAAAAAAAAAAACwAAAAAAAEA/////3UAdQAAAAVfaWQAEAAAAAThsrft+PUGS7tmoSuL4tTOA0RhdGEAEgAAAARCcmVha3MABQAAAAAAAk5hbWUAFAAAAEJyZWFrTWFuYWdlbWVudERhdGEAEFZlcnNpb24AAAAAAAlMYXN0V3JpdGUAcebDQ2IBAAAAAgAvAAAAAAADADIAAAAAAAQANwAAAAAABQA5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sAAAABf////8tAAAA5w8AAAAAAAAAAAAAHxYAAAVfaWQAEAAAAARqg6rqXghBS4IPSd/+cHSCA0RhdGEAtxUAAARDYXRlZ29yeUF4aXNMYWJlbERhdGEAahUAAAMwABgHAAADVGV4dEJveERhdGEAyQYAAAVNYW5hZ2VkSWQAEAAAAAS0YddBM6VOTbQkfYsK5Ywd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DAAAAFN0YW5kLUFsb25lAAJUZXh0SG9yaXpvbnRhbEFsaWdubWVudAAOAAAAbXNvQW5jaG9yTm9uZQACUGFyYWdyYXBoQWxpZ25tZW50AA4AAABtc29BbGlnblJpZ2h0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JEAIRm9udFN0cmlrZXRocm91Z2gAAAhGb250U3Vic2NyaXB0AAAIRm9udFN1cGVyc2NyaXB0AAAIRm9udFVuZGVybGluZQAAAAhTaXplVG9UZXh0V2lkdGgAAQhTaXplVG9UZXh0SGVpZ2h0AAEDVGV4dE1hcmdpbgA/AAAAAUxlZnQAAAAAAAAAAAABVG9wAAAAAAAAAAAAAVJpZ2h0AAAAAAAAAAAAAUJvdHRvbQAAAAAAAAAAAAACRGlzcGxheVRleHQADAAAAFN0YW5kLUFsb25lAAFIZWlnaHQAAAAAoJlZKEABV2lkdGgAAAAAwKOQS0ABVG9wAAAAACBM8BxAAUxlZnQAAAAAgLieQ0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k9yaWVudGF0aW9uAAUAAABOb25lAAhMYWJlbFZpc2libGUAAQJUZXh0QWxpZ25tZW50AAUAAABMZWZ0AAADMQAqBwAAA1RleHRCb3hEYXRhANsGAAAFTWFuYWdlZElkABAAAAAEuj7relVOf0uzyBK38DCc2g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BUAAABUZWlsIGVpbmVzIFZlcmJ1bmRlcwACVGV4dEhvcml6b250YWxBbGlnbm1lbnQADgAAAG1zb0FuY2hvck5vbmUAAlBhcmFncmFwaEFsaWdubWVudAAOAAAAbXNvQWxpZ25SaWdodA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RACEZvbnRTdHJpa2V0aHJvdWdoAAAIRm9udFN1YnNjcmlwdAAACEZvbnRTdXBlcnNjcmlwdAAACEZvbnRVbmRlcmxpbmUAAAAIU2l6ZVRvVGV4dFdpZHRoAAEIU2l6ZVRvVGV4dEhlaWdodAABA1RleHRNYXJnaW4APwAAAAFMZWZ0AAAAAAAAAAAAAVRvcAAAAAAAAAAAAAFSaWdodAAAAAAAAAAAAAFCb3R0b20AAAAAAAAAAAAAAkRpc3BsYXlUZXh0ABUAAABUZWlsIGVpbmVzIFZlcmJ1bmRlcwABSGVpZ2h0AAAAAKCZWShAAVdpZHRoAAAAAACuF1dAAVRvcAAAAABggPBAQAFMZWZ0AAAAAIACAAB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JPcmllbnRhdGlvbgAFAAAATm9uZQAITGFiZWxWaXNpYmxlAAECVGV4dEFsaWdubWVudAAFAAAATGVmdAAAAzIAGgcAAANUZXh0Qm94RGF0YQDLBgAABU1hbmFnZWRJZAAQAAAABO8pwzoHgaBNjuOi3B4WEoc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LQAAAAUsAAAA/////zgGrwkAAAAAAAAAAAAAAAAAAAABU2NHAAAAAAAAAAAAAVNjQgAAAAAAAAAAAAAQUGF0dGVyblRoZW1lQ29sb3IAAAAAAAFQYXR0ZXJuVGludEFuZFNoYWRlAAAAAAAAAAAACEZpbGxWaXNpYmxlAAAIVmlzaWJsZQABAkZpbGxQYXR0ZXJuABAAAABtc29QYXR0ZXJuTWl4ZWQAAlRleHQADQAAAEtlaW5lIEFuZ2FiZQACVGV4dEhvcml6b250YWxBbGlnbm1lbnQADgAAAG1zb0FuY2hvck5vbmUAAlBhcmFncmFwaEFsaWdubWVudAAOAAAAbXNvQWxpZ25SaWdodA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RACEZvbnRTdHJpa2V0aHJvdWdoAAAIRm9udFN1YnNjcmlwdAAACEZvbnRTdXBlcnNjcmlwdAAACEZvbnRVbmRlcmxpbmUAAAAIU2l6ZVRvVGV4dFdpZHRoAAEIU2l6ZVRvVGV4dEhlaWdodAABA1RleHRNYXJnaW4APwAAAAFMZWZ0AAAAAAAAAAAAAVRvcAAAAAAAAAAAAAFSaWdodAAAAAAAAAAAAAFCb3R0b20AAAAAAAAAAAAAAkRpc3BsYXlUZXh0AA0AAABLZWluZSBBbmdhYmUAAUhlaWdodAAAAACgmVkoQAFXaWR0aAAAAAAgXC9PQAFUb3AAAAAAQPdCTkABTGVmdAAAAAAgAABA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CT3JpZW50YXRpb24ABQAAAE5vbmUACExhYmVsVmlzaWJsZQABAlRleHRBbGlnbm1lbnQABQAAAExlZnQAAAAIV2FudHNUb0JlVmlzaWJsZQABAkxhYmVsVGV4dEFsaWdubWVudAAGAAAAUmlnaHQAAAJOYW1lABkAAABDYXRlZ29yeUF4aXNEYXRhUHJvcGVydHkAEFZlcnNpb24AAQAAAAlMYXN0V3JpdGUA34VQ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4AAAADAAAAAP////8GANQNAAAAAAAAAAAAAAEBBQAAADQA////////GAAGQ2F0ZWdvcnlBeGlzRGF0YVByb3BlcnR5KwAAAAAALgAAAAEABAAAADEAAQACAQUAAAA1AP///////xMABkJyZWFrTWFuYWdlbWVudERhdGErAAAAAQAEAAAAEQAuAAAAAAAEAAAAJQAEAAAAHQACAAEBBQAAADYA////////CAAGQXhlc0RhdGErAAAAAgAEAAAAJQAEAAAAEQADAAQBBQAAADcA////////CgAGRGF0YUxhYmVscysAAAADAAQAAAAHAC4AAAAFAAQAAAAHAC4AAAAFAAQAAAAHAC4AAAAFAAQAAAAAAC4AAAAFAAQACwEFAAAAOAD///////8KAAZMZWdlbmREYXRhKwAAAAQABAAAACwABAAAACMABAAAACwABAAAAC4ABAAAACwABAAAAC4ABAAAACEABAAAABYALgAAAAUABAAAACQALgAAAAUABAAAACQABAAAAAAA////////BAAAAAAA////////BAAAAAAA////////BAAAAAAA////////BAAAAAAA////////BQAGAQUAAAA5AP///////woABkRhdGFMYWJlbHMrAAAABQAuAAAAAwAEAAAAKgAuAAAAAwAEAAAAEgAuAAAAAwAEAAAAAwAuAAAAAwAEAAAAIQAEAAAAAAAuAAAABAAEAAAAA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vAAAABf////8wAAAA5w8AAAAAAAAAAAAAFygAAAVfaWQAEAAAAAQBSXHwJjauTbfcjDLW0xyVA0RhdGEAvycAAARTYXZlZEF4aXNMYWJlbERhdGEApicAAAMwALcNAAACQXhpc1R5cGUACAAAAHhsVmFsdWUAAkF4aXNHcm91cAAKAAAAeGxQcmltYXJ5AAhTY2hlbWVDb2xvckFwcGxpZWQAAAhGb250U3R5bGVVbmRlcmxpbmVkAAAIQXBwbHlPdmVyYWxsRm9udHNpemUAAQhJc1Zpc2libGUAAAhYbEF1dG9tYXRpY0NvbG9ySW5kZXhBcHBsaWVkAAAIVXNlRXhjZWxGb3JtYXRzV2hlbkRhdGVBeGlzAAADQXhpc1RpdGxlRGF0YQCUCAAAA1Bvc2l0aW9uADoAAAACQW5jaG9yAAsAAABBeGlzQ2VudGVyAAFSZWxhdGl2ZUFuY2hvck9mZnNldAAAAAAAAAAAAAAIV2FudFRvQmVWaXNpYmxlAAADVGV4dEJveERhdGEArwYAAAVNYW5hZ2VkSWQAEAAAAATcTtxopAwgSpxNt8ZONA+0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NAAAAbXNvQWxpZ25MZWZ0AAJUZXh0VmVydGljYWxBbGlnbm1lbnQADQAAAG1zb0FuY2hvclRvcA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AAAAAAAAUJvdHRvbQAAAAAAAAAAAAACRGlzcGxheVRleHQAAQAAAAABSGVpZ2h0AAAAAMCOQANAAVdpZHRoAAAAAKCZmbk/AVRvcAAAAAAAAAAQQAFMZWZ0AAAAAAAAABB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ADCcwJAAANQb3NzaWJsZUFyZWE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AIVXNlQXV0b21hdGljTWFqb3JVbml0AAEIVXNlQXV0b21hdGljTWluaW11bVNjYWxlAAEIVXNlQXV0b21hdGljTWF4aW11bVNjYWxlAAEDRm9udENvbG9yAFUAAAAQQQD/AAAAEFIAQAAAABBHAEAAAAAQQgBAAAAAAVNjQQAAAAAAAADwPwFTY1IAAAAAwP0/qj8BU2NHAAAAAMD9P6o/AVNjQgAAAADA/T+qPwAQRm9udFNjaGVtZUNvbG9yAAIAAAAQRm9udFRoZW1lQ29sb3IAAAAAAAFGb250VGludEFuZFNoYWRlAAAAAAAAAAAAAkxhYmVsUG9zaXRpb24ABQAAAE5vbmUAA0F4aXNMaW5lU3R5bGUAMwEAAAJfdHlwZQByAAAAbWlvLkNvbW1vbi5Qb3dlclBvaW50Lk1hbmFnZWQuQ29udHJhY3RzLkN1c3RvbWl6aW5nLlN0eWxlcy5BeGlzTGluZVN0eWxlLCBtaW8uQ29tbW9uLlBvd2VyUG9pbnQuTWFuYWdlZC5Db250cmFjdHMAAUxpbmVXZWlnaHQAAAAAAAAA4D8CRGFzaFN0eWxlAAoAAABMaW5lU29saWQACFZpc2libGUAAQNDb2xvcgBzAAAAEFRoZW1lQ29sb3IADQAAAAFUaW50QW5kU2hhZGUAAAAAAAAAAAAQVGludEluZGV4AP////8QU2NoZW1lQ29sb3IAAAAAAANDb2xvcgAhAAAAEEEAAAAAABBSAP8AAAAQRwD/AAAAEEIA/wAAAAAA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DMQAnDAAAAkF4aXNUeXBlAAgAAAB4bFZhbHVlAAJBeGlzR3JvdXAADAAAAHhsU2Vjb25kYXJ5AAhTY2hlbWVDb2xvckFwcGxpZWQAAAhGb250U3R5bGVVbmRlcmxpbmVkAAAIQXBwbHlPdmVyYWxsRm9udHNpemUAAAhJc1Zpc2libGUAAAhYbEF1dG9tYXRpY0NvbG9ySW5kZXhBcHBsaWVkAAAIVXNlRXhjZWxGb3JtYXRzV2hlbkRhdGVBeGlzAAADQXhpc1RpdGxlRGF0YQBHCAAAA1Bvc2l0aW9uADoAAAACQW5jaG9yAAsAAABBeGlzQ2VudGVyAAFSZWxhdGl2ZUFuY2hvck9mZnNldAAAAAAAAAAAAAAIV2FudFRvQmVWaXNpYmxlAAADVGV4dEJveERhdGEAYgYAAAVNYW5hZ2VkSWQAEAAAAASDY2Ky2JhESIWhlKZASttwCEhhc0NoYW5nZXMAAQhVc2VOYW1lSW5zdGVhZE9mVGFnQXNJZAABCFNoYXBlUHJldmlvdXNseUNyZWF0ZWQAAANGaWxsQ29sb3IAVQAAABBBAAAAAAAQUgAAAAAAEEcAAAAAABBCAAAAAAABU2NBAAAAAAAAAPC/AVNjUgAAAAAAAADwvwFTY0cAAAAAAAAAMAAAAAUvAAAAQAAAAOcPAAAA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0AAABtc29BbGlnbkxlZnQAAlRleHRWZXJ0aWNhbEFsaWdubWVudAANAAAAbXNvQW5jaG9yVG9wAANGb250U3R5bGUALAEAABBGb250QmFja2dyb3VuZAAAAAAACEZvbnRCb2xkAAADRm9udENvbG9yAFUAAAAQQQD/AAAAEFIAAAAAABBHAAAAAAAQQgAAAAAAAVNjQQAAAAAAAADwPwFTY1IAAAAAAAAAAAABU2NHAAAAAAAAAAAAAVNjQgAAAAAAAAAAAAAQRm9udFRoZW1lQ29sb3IAAAAAAAFGb250VGludEFuZFNoYWRlAAAAAAAAAAAAEEZvbnRTY2hlbWVDb2xvcgAAAAAACEZvbnRJdGFsaWMAAAFGb250U2l6ZQAAAAAAAAAoQAhGb250U3RyaWtldGhyb3VnaAAACEZvbnRTdWJzY3JpcHQAAAhGb250U3VwZXJzY3JpcHQAAAhGb250VW5kZXJsaW5lAAAACFNpemVUb1RleHRXaWR0aAABCFNpemVUb1RleHRIZWlnaHQAAQNUZXh0TWFyZ2luAD8AAAABTGVmdAAAAAAAAAAAAAFUb3AAAAAAAAAAAAABUmlnaHQAAAAAAAAAAAABQm90dG9tAAAAAAAAAAAAAAFIZWlnaHQAAAAAAAAAAAABV2lkdGgAAAAAAAAAAAABVG9wAAAAAAAAABBAAUxlZnQAAAAAAAAAE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Bvc3NpYmxlQXJlYQ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AAhVc2VBdXRvbWF0aWNNYWpvclVuaXQAAQhVc2VBdXRvbWF0aWNNaW5pbXVtU2NhbGUAAQhVc2VBdXRvbWF0aWNNYXhpbXVtU2NhbGUAAQNGb250Q29sb3IAVQAAABBBAAAAAAAQUgAAAAAAEEcAAAAAABBCAAAAAAABU2NBAAAAAAAAAAAAAVNjUgAAAAAAAAAAAAFTY0cAAAAAAAAAAAABU2NCAAAAAAAAAAAAABBGb250U2NoZW1lQ29sb3IAAAAAABBGb250VGhlbWVDb2xvcgAAAAAAAUZvbnRUaW50QW5kU2hhZGUAAAAAAAAAAAACTGFiZWxQb3NpdGlvbgACAAAAMAADTnVtYmVyRm9ybWF0AB8AAAAFX2lkABAAAAAEAAAAAAAAAAAAAAAAAAAA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AAzIAug0AAAJBeGlzVHlwZQALAAAAeGxDYXRlZ29yeQACQXhpc0dyb3VwAAoAAAB4bFByaW1hcnkACFNjaGVtZUNvbG9yQXBwbGllZAABCEZvbnRTdHlsZVVuZGVybGluZWQAAAhBcHBseU92ZXJhbGxGb250c2l6ZQABCElzVmlzaWJsZQABCFhsQXV0b21hdGljQ29sb3JJbmRleEFwcGxpZWQAAAhVc2VFeGNlbEZvcm1hdHNXaGVuRGF0ZUF4aXMAAQNBeGlzVGl0bGVEYXRhAJQIAAADUG9zaXRpb24AOgAAAAJBbmNob3IACwAAAEF4aXNDZW50ZXIAAVJlbGF0aXZlQW5jaG9yT2Zmc2V0AAAAAAAAAAAAAAhXYW50VG9CZVZpc2libGUAAANUZXh0Qm94RGF0YQCvBgAABU1hbmFnZWRJZAAQAAAABBgcCXM11mdKonS5kZ/ThKk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0AAABtc29BbGlnbkxlZnQAAlRleHRWZXJ0aWNhbEFsaWdubWVudAANAAAAbXNvQW5jaG9yVG9w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AAAAAAABQm90dG9tAAAAAAAAAAAAAAJEaXNwbGF5VGV4dAABAAAAAAFIZWlnaHQAAAAAwI5AA0ABV2lkdGgAAAAAoJmZuT8BVG9wAAAAAAAAABBAAUxlZnQAAAAAAAAAEEAIRmxpcEhvcml6b250YTEAAAADAAAAAP////8EANcOAAAAAAAAAAAAAAEA////////PwAAAAMAEAALAUlx8CY2rk233Iwy1tMclSsAAAACAAMAAAA1ADEAAAABAAEABQD///////8/AAAABAAQAAtKn6XyiLOMTb9j9ar41PGiKwAAAAMAMQAAAAAAMQAAAAIAAwAAADQAMQAAAAIAAwAAADAA////////AwAAACAA////////AwAAACAA////////AgACAP///////z8AAAAFABAAC204TPcUfpNNo5nJt4+YGosrAAAABAAxAAAAAQAxAAAAAwAxAAAAAQD///////8DAAEA////////PwAAAAYAEAALbHqc/ntWAUymiwHd7Kb5PSsAAAAFADE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yAAAABf////8zAAAA5w8AAAAAAAAAAAAAuUcAAAVfaWQAEAAAAARKn6XyiLOMTb9j9ar41PGiA0RhdGEAX0cAAANEYXRhTGFiZWxzUGVyQXhpcwAoRwAAA1ByaW1hcnkA6UQAAAREYXRhTGFiZWxzAMhCAAADMAA+FgAAEFBvaW50SW5kZXgAAQAAAAJBbGlnbm1lbnQABwAAAENlbnRlcgAQU2VyaWVzSW5kZXgAAQAAAAhSZXF1aXJlRm9udENvbG9yTWlncmF0aW9uAAAITWFudWFsRGF0YUxhYmVsQmFja2dyb3VuZFZpc2libGUAAAhIYXNXaXNoQ29sb3IAAANUZXh0Qm94AL4GAAAFTWFuYWdlZElkABAAAAAESH9aaIxMOkGs39Bs5jKnqA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UAAAAzMCA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QAAADMwICUAAUhlaWdodAAAAACgIp4qQAFXaWR0aAAAAADgp7g5QAFUb3AAAAAAIMOrGkABTGVmdAAAAAAgeTVh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FSmgy7WeRVNqgwANxP3ick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QUjwryEYMkRYeqYeT/TGGvCEhhc0NoYW5nZXMAAQhVc2VOYW1lSW5zdGVhZE9mVGFnQXNJZAABCFNoYXBlUHJldmlvdXNseUNyZWF0ZWQAAANGaWxsQ29sb3IAVQAAABBBAAAAAAAQUgAAAAAAEEcAAAAAABBCAAAAAAABU2NBAAAAAAAAAPC/AVNjUgAAAAAAAADwvwFTY0cAMwAAAAUyAAAANAAAAOcPAAAAAAAAAAAA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QAAAABBHAEAAAAAQQgBAAAAAAVNjQQAAAAAAAADwPwFTY1IAAAAAgP0/qj8BU2NHAAAAAID9P6o/AVNjQgAAAACA/T+q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J4D0WJAAVkAAAAAQNHbKEAACEhhc0xlYWRlckxpbmUAAAhJc0NlbnRlckF1dG9tYXRpY0FkanVzdGVkAAAISXNVc2VyUG9zaXRpb24AAAhBZGRQcmVmaXhTcGFjZQAACEFkZFBvc3RmaXhTcGFjZQABAlBvc3RmaXgAAgAAACUAAlNlcGFyYXRvcgACAAAACgACVGV4dAADAAAAMzAACFJlcXVpcmVSZWxhdGl2ZVBvc2l0aW9uVXBncmFkZQABCElzR2VvbWV0cnlPdXRPZkJvdW5kcwAACElzTGVhZGVyTGluZUluQXV0b01vZGUAAQhEZWxldGVkAAAAAzEAPhYAABBQb2ludEluZGV4AAIAAAACQWxpZ25tZW50AAcAAABDZW50ZXIAEFNlcmllc0luZGV4AAEAAAAIUmVxdWlyZUZvbnRDb2xvck1pZ3JhdGlvbgAACE1hbnVhbERhdGFMYWJlbEJhY2tncm91bmRWaXNpYmxlAAAISGFzV2lzaENvbG9yAAADVGV4dEJveAC+BgAABU1hbmFnZWRJZAAQAAAABEBGdP3fQDpIhk0GnPy68I8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FAAAANjAg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UAAAA2MCAlAAFIZWlnaHQAAAAAoCKeKkABV2lkdGgAAAAA4Ke4OUABVG9wAAAAAEDvp0BAAUxlZnQAAAAAYKX6Zk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DVpZEABWQAAAACgevZKQAADRW5kABsAAAABWAAAAACgDAZlQAFZAAAAAKB69kpAAAJTdGFydEFycm93SGVhZAARAAAAbXNvQXJyb3doZWFkTm9uZQACRW5kQXJyb3dIZWFkABEAAABtc29BcnJvd2hlYWROb25lAAVNYW5hZ2VkSWQAEAAAAASZNggbEBbaQb7vB34gXhdp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DQAAAAFMwAAADUAAADnDwAAAAAAAAAA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D0mhNAAVRvcAAAAACgevZKQAFMZWZ0AAAAAAA1aWR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CgDGZlQAFZAAAAAKB69kpAAANFbmQAGwAAAAFYAAAAAKAMBmVAAVkAAAAAoHr2SkAAAlN0YXJ0QXJyb3dIZWFkABEAAABtc29BcnJvd2hlYWROb25lAAJFbmRBcnJvd0hlYWQAEQAAAG1zb0Fycm93aGVhZE5vbmUABU1hbmFnZWRJZAAQAAAABHMoiVIOHepFmGHWyQ+zal4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IQAFUb3AAAAAAoHr2SkABTGVmdAAAAACgDAZlQAhGbGlwSG9yaXpvbnRhbGx5AAEIRmxpcEhvcml6b250YWxseUFwcGxpZWQAAAhGbGlwVmVydGljYWxseQAACEZsaXBWZXJ0aWNhbGx5QXBwbGllZAAAAVJvdGF0aW9uAAAAAAAAAAAAAVpPcmRlcgAAAAAAAAAAAANCb3JkZXJDb2xvcgBVAAAAEEEA/wAAABBSAEAAAAAQRwBAAAAAEEIAQAAAAAFTY0EAAAAAAAAA8D8BU2NSAAAAAMD9P6o/AVNjRwAAAADA/T+qPwFTY0IAAAAAwP0/qj8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DeL5ZoQAFZAAAAACxriUNAAAhIYXNMZWFkZXJMaW5lAAAISXNDZW50ZXJBdXRvbWF0aWNBZGp1c3RlZAAACElzVXNlclBvc2l0aW9uAAAIQWRkUHJlZml4U3BhY2UAAAhBZGRQb3N0Zml4U3BhY2UAAQJQb3N0Zml4AAIAAAAlAAJTZXBhcmF0b3IAAgAAAAoAAlRleHQAAwAAADYwAAhSZXF1aXJlUmVsYXRpdmVQb3NpdGlvblVwZ3JhZGUAAQhJc0dlb21ldHJ5T3V0T2ZCb3VuZHMAAAhJc0xlYWRlckxpbmVJbkF1dG9Nb2RlAAEIRGVsZXRlZAAAAAMyAD4WAAAQUG9pbnRJbmRleAADAAAAAkFsaWdubWVudAAHAAAAQ2VudGVyABBTZXJpZXNJbmRleAABAAAACFJlcXVpcmVGb250Q29sb3JNaWdyYXRpb24AAAhNYW51YWxEYXRhTGFiZWxCYWNrZ3JvdW5kVmlzaWJsZQAACEhhc1dpc2hDb2xvcgAAA1RleHRCb3gAvgYAAAVNYW5hZ2VkSWQAEAAAAAQ7uIHHa9ifQJNAfHA3VzTr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QAAADEwICUAAlRleHRIb3Jpem9udGFsQWxpZ25tZW50ABAAAABtc29BbmNob3JDZW50ZXIAAlBhcmFncmFwaEFsaWdubWVudAAPAAAAbXNvQWxpZ25DZW50ZXIAAlRleHRWZXI1AAAABTQAAAA2AAAA5w8AAAAAAAAAAAAA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QAAADEwICUAAUhlaWdodAAAAACgIp4qQAFXaWR0aAAAAADgp7g5QAFUb3AAAAAAIGb6TUABTGVmdAAAAADAYbla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Bgwf5jQAFZAAAAABhwxlZAAANFbmQAGwAAAAFYAAAAACAq/WVAAVkAAAAAGHDGVkAAAlN0YXJ0QXJyb3dIZWFkABEAAABtc29BcnJvd2hlYWROb25lAAJFbmRBcnJvd0hlYWQAEQAAAG1zb0Fycm93aGVhZE5vbmUABU1hbmFnZWRJZAAQAAAABDWqJFeWRkpEqYbC4jhjDa4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jOYvQAFUb3AAAAAAIHDGVkABTGVmdAAAAABgwf5j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ICpdZkABWQAAAAAYcMZWQAADRW5kABsAAAABWAAAAAAgKv1lQAFZAAAAABhwxlZAAAJTdGFydEFycm93SGVhZAARAAAAbXNvQXJyb3doZWFkTm9uZQACRW5kQXJyb3dIZWFkABEAAABtc29BcnJvd2hlYWROb25lAAVNYW5hZ2VkSWQAEAAAAAScybIFAkDYTYzPdM1Gm2/x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NgAAAAU1AAAA/////x0IygcAAAAAAAAAAAAAAAAAAAAAAAABSGVpZ2h0AAAAAAAAAAAAAVdpZHRoAAAAAAAAAAhAAVRvcAAAAAAgcMZWQAFMZWZ0AAAAACAq/WVACEZsaXBIb3Jpem9udGFsbHkAAQhGbGlwSG9yaXpvbnRhbGx5QXBwbGllZAAACEZsaXBWZXJ0aWNhbGx5AAAIRmxpcFZlcnRpY2FsbHlBcHBsaWVkAAABUm90YXRpb24AAAAAAAAAAAABWk9yZGVyAAAAAAAAAAAAA0JvcmRlckNvbG9yAFUAAAAQQQD/AAAAEFIAQAAAABBHAEAAAAAQQgBAAAAAAVNjQQAAAAAAAADwPwFTY1IAAAAAwP0/qj8BU2NHAAAAAMD9P6o/AVNjQgAAAADA/T+q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Lx28F1AAVkAAAAABvFtUEAACEhhc0xlYWRlckxpbmUAAAhJc0NlbnRlckF1dG9tYXRpY0FkanVzdGVkAAAISXNVc2VyUG9zaXRpb24AAAhBZGRQcmVmaXhTcGFjZQAACEFkZFBvc3RmaXhTcGFjZQABAlBvc3RmaXgAAgAAACUAAlNlcGFyYXRvcgACAAAACgACVGV4dAADAAAAMTAACFJlcXVpcmVSZWxhdGl2ZVBvc2l0aW9uVXBncmFkZQABCElzR2VvbWV0cnlPdXRPZkJvdW5kcwAACElzTGVhZGVyTGluZUluQXV0b01vZGUAAQhEZWxldGVk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MYWJlbHNWaXNpYmxlAAEIQXV0b21hdGljTGFiZWxCYWNrZ3JvdW5kc0VuYWJsZWQAAQADU2Vjb25kYXJ5ACYCAAAERGF0YUxhYmVscwAF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MYWJlbHNWaXNpYmxlAAAIQXV0b21hdGljTGFiZWxCYWNrZ3JvdW5kc0VuYWJsZWQAAQAACERpc2FibGVBdXRvbWF0aWNEZWFjdGl2YXRpb24AAAACTmFtZQALAAAARGF0YUxhYmVscwAQVmVyc2lvbgAIAAAACUxhc3RXcml0ZQD9ylA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cAAAAF/////zgAAADnDwAAAAAAAAAAAAAuFQAABV9pZAAQAAAABG04TPcUfpNNo5nJt4+YGosDRGF0YQDUFAAABEl0ZW1EYXRhABMUAAADMAALFAAAEEluZGV4AAEAAAAISXNEZWxldGVkAAADVGV4dFNoYXBlRGF0YQBrBgAABU1hbmFnZWRJZAAQAAAABITCuRprXO5KprGY+yCQpRs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BA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YAAABBcmlhbAABRm9udFNpemUAAAAAAAAAAAAIRm9udFN0cmlrZXRocm91Z2gAAAhGb250U3Vic2NyaXB0AAAIRm9udFN1cGVyc2NyaXB0AAAIRm9udFVuZGVybGluZQAAAAhTaXplVG9UZXh0V2lkdGgAAQhTaXplVG9UZXh0SGVpZ2h0AAE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NYXJrZXJTaGFwZURhdGEAdAYAAAJBdXRvU2hhcGVUeXBlAAoAAABSZWN0YW5nbGUABU1hbmFnZWRJZAAQAAAABCBaJxNVqtRDtkFrP5WGZK8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kQ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luZVNoYXBlRGF0YQDhBgAAA1N0YXJ0ABsAAAABWAAAAAAAAAAAAAFZAAAAAAAAAAAAAANFbmQAGwAAAAFYAAAAAAAAAAAAAVkAAAAAAAAAAAAAAlN0YXJ0QXJyb3dIZWFkABEAAABtc29BcnJvd2hlYWROb25lAAJFbmRBcnJvd0hlYWQAEQAAAG1zb0Fycm93aGVhZE5vbmUABU1hbmFnZWRJZAAQAAAABLxJOV3DzmlDqOlWsCgY2Vg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g4AAAABTcAAAD/////RwWgCgAAAAAAAAAA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CQWxpZ25tZW50AAcAAABIaWRkZW4ACElzVXNlclBvc2l0aW9uAAADQ3VzdG9tQ2VudGVyUG9zaXRpb24AGwAAAAFYAAAAAAAAAAAAAVkAAAAAAAAAAAAAAkl0ZW1PcmRlcgAKAAAAQXNjZW5kaW5nABBSb3dDb3VudAAAAAAAEENvbHVtbkNvdW50AAAAAAACSXRlbUZsb3dEaXJlY3Rpb24ACwAAAEhvcml6b250YWwAAAJOYW1lAAsAAABMZWdlbmREYXRhABBWZXJzaW9uAAEAAAAJTGFzdFdyaXRlADmEU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OQAAAAX/////OgAAAOcPAAAAAAAAAAAAAClKAAAFX2lkABAAAAAEbHqc/ntWAUymiwHd7Kb5PQNEYXRhAM9JAAADRGF0YUxhYmVsc1BlckF4aXMAmEkAAANQcmltYXJ5AIpJAAAERGF0YUxhYmVscwBGSQAAAzAAaBgAABBQb2ludEluZGV4AAEAAAACQWxpZ25tZW50AAcAAABDZW50ZXIAEFNlcmllc0luZGV4AAEAAAAIUmVxdWlyZUZvbnRDb2xvck1pZ3JhdGlvbgAACE1hbnVhbERhdGFMYWJlbEJhY2tncm91bmRWaXNpYmxlAAAISGFzV2lzaENvbG9y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DVmFsdWVBeGlzTnVtYmVyRm9ybWF0AB8AAAAFX2lkABAAAAAEAAAAAAAAAAAAAAAAAAAAAAADQ2F0ZWdvcnlBeGlzTnVtYmVyRm9ybWF0AB8AAAAFX2lkABAAAAAEAAAAAAAAAAAAAAAAAAAAAAADVGV4dEJveAC+BgAABU1hbmFnZWRJZAAQAAAABEh/WmiMTDpBrN/QbOYyp6g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FAAAAMzAg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UAAAAzMCAlAAFIZWlnaHQAAAAAoCKeKkABV2lkdGgAAAAA4Ke4OUABVG9wAAAAACDDqxpAAUxlZnQAAAAAIHk1Y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RUpoMu1nkVTaoMADcT94nJ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ToAAAAFOQAAADsAAADnDwAAAAAAAAAAAAB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BSPCvIRgyRFh6ph5P9MYa8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EAAAAAQRwBAAAAAEEIAQAAAAAFTY0EAAAAAAAAA8D8BU2NSAAAAAID9P6o/AVNjRwAAAACA/T+qPwFTY0IAAAAAgP0/qj8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CeA9FiQAFZAAAAAEDR2yhAAAhIYXNMZWFkZXJMaW5lAAAISXNDZW50ZXJBdXRvbWF0aWNBZGp1c3RlZAAACElzVXNlclBvc2l0aW9uAAACUG9zdGZpeAADAAAAICUAAlNlcGFyYXRvcgACAAAACgACVGV4dAADAAAAMzAACFJlcXVpcmVSZWxhdGl2ZVBvc2l0aW9uVXBncmFkZQABCElzR2VvbWV0cnlPdXRPZkJvdW5kcwAACElzTGVhZGVyTGluZUluQXV0b01vZGUAAQhEZWxldGVkAAAAAzEAaBgAABBQb2ludEluZGV4AAIAAAACQWxpZ25tZW50AAcAAABDZW50ZXIAEFNlcmllc0luZGV4AAEAAAAIUmVxdWlyZUZvbnRDb2xvck1pZ3JhdGlvbgAACE1hbnVhbERhdGFMYWJlbEJhY2tncm91bmRWaXNpYmxlAAAISGFzV2lzaENvbG9y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DVmFsdWVBeGlzTnVtYmVyRm9ybWF0AB8AAAAFX2lkABAAAAAEAAAAAAAAAAAAAAAAAAAAAAADQ2F0ZWdvcnlBeGlzTnVtYmVyRm9ybWF0AB8AAAAFX2lkABAAAAAEAAAAAAAAAAAAAAAAAAAAAAADVGV4dEJveAC+BgAABU1hbmFnZWRJZAAQAAAABEBGdP3fQDpIhk0GnPy68I8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FAAAANjAg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A7AAAABToAAAA8AAAA5w8AAAAAAAAAAAAAbGF5VGV4dAAFAAAANjAgJQABSGVpZ2h0AAAAAKAinipAAVdpZHRoAAAAAOCnuDlAAVRvcAAAAABA76dAQAFMZWZ0AAAAAGCl+mZ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AA1aWRAAVkAAAAAoHr2SkAAA0VuZAAbAAAAAVgAAAAAoAwGZUABWQAAAACgevZKQAACU3RhcnRBcnJvd0hlYWQAEQAAAG1zb0Fycm93aGVhZE5vbmUAAkVuZEFycm93SGVhZAARAAAAbXNvQXJyb3doZWFkTm9uZQAFTWFuYWdlZElkABAAAAAEmTYIGxAW2kG+7wd+IF4XaQ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D0mhNAAVRvcAAAAACgevZKQAFMZWZ0AAAAAAA1aWR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CgDGZlQAFZAAAAAKB69kpAAANFbmQAGwAAAAFYAAAAAKAMBmVAAVkAAAAAoHr2SkAAAlN0YXJ0QXJyb3dIZWFkABEAAABtc29BcnJvd2hlYWROb25lAAJFbmRBcnJvd0hlYWQAEQAAAG1zb0Fycm93aGVhZE5vbmUABU1hbmFnZWRJZAAQAAAABHMoiVIOHepFmGHWyQ+zal4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IQAFUb3AAAAAAoHr2SkABTGVmdAAAAACgDAZlQAhGbGlwSG9yaXpvbnRhbGx5AAEIRmxpcEhvcml6b250YWxseUFwcGxpZWQAAAhGbGlwVmVydGljYWxseQAACEZsaXBWZXJ0aWNhbGx5QXBwbGllZAAAAVJvdGF0aW9uAAAAAAAAAAAAAVpPcmRlcgAAAAAAAAAAAANCb3JkZXJDb2xvcgBVAAAAEEEA/wAAABBSAEAAAAAQRwBAAAAAEEIAQAAAAAFTY0EAAAAAAAAA8D8BU2NSAAAAAMD9P6o/AVNjRwAAAADA/T+qPwFTY0IAAAAAwP0/qj8AEEJvcmRlclRoZW1lQ29sb3IAAAAAAAFCb3JkZXJUaW50QW5kU2hhZGUAAAAAAAAAAAAQQm9yZGVyU2NoZW1lQ29sb3IAAAAAAAFCb3JkZXJUaGlja25lc3MAAAAAAAAA0D8CTGluZURhc2hTdHlsZQAKAAAATGluZVNvbGlkAAFGaXJzdExpbmVJbmRlbnQAAAAAAAAAAAAISGFuZ2luZ1B1bmN0dWF0aW9uAAAQSW5kZW50TGV2ZWwAAAAAAAFMZWZ0SW5kPAAAAAU7AAAAPQAAAOcPAAAAAAAAAAAAAGVudAAAAAAAAAAAAAhMaW5lUnVsZUFmdGVyAAAITGluZVJ1bGVCZWZvcmUAAAhMaW5lUnVsZVdpdGhpbgAAAVJpZ2h0SW5kZW50AAAAAAAAAAAAAVNwYWNlQWZ0ZXIAAAAAAAAAAAABU3BhY2VCZWZvcmUAAAAAAAAAAAABU3BhY2VXaXRoaW4AAAAAAAAAAAAAA0NlbnRlcgAbAAAAAVgAAAAA3i+WaEABWQAAAAAsa4lDQAAISGFzTGVhZGVyTGluZQAACElzQ2VudGVyQXV0b21hdGljQWRqdXN0ZWQAAAhJc1VzZXJQb3NpdGlvbgAAAlBvc3RmaXgAAwAAACAlAAJTZXBhcmF0b3IAAgAAAAoAAlRleHQAAwAAADYwAAhSZXF1aXJlUmVsYXRpdmVQb3NpdGlvblVwZ3JhZGUAAQhJc0dlb21ldHJ5T3V0T2ZCb3VuZHMAAAhJc0xlYWRlckxpbmVJbkF1dG9Nb2RlAAEIRGVsZXRlZAAAAAMyAGgYAAAQUG9pbnRJbmRleAADAAAAAkFsaWdubWVudAAHAAAAQ2VudGVyABBTZXJpZXNJbmRleAABAAAACFJlcXVpcmVGb250Q29sb3JNaWdyYXRpb24AAAhNYW51YWxEYXRhTGFiZWxCYWNrZ3JvdW5kVmlzaWJsZQAACEhhc1dpc2hDb2xvcg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A1ZhbHVlQXhpc051bWJlckZvcm1hdAAfAAAABV9pZAAQAAAABAAAAAAAAAAAAAAAAAAAAAAAA0NhdGVnb3J5QXhpc051bWJlckZvcm1hdAAfAAAABV9pZAAQAAAABAAAAAAAAAAAAAAAAAAAAAAAA1RleHRCb3gAvgYAAAVNYW5hZ2VkSWQAEAAAAAQ7uIHHa9ifQJNAfHA3VzTr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QAAADEwICUAAlRleHRIb3Jpem9udGFsQWxpZ25tZW50ABAAAABtc29BbmNob3JDZW50ZXI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FAAAAMTAgJQABSGVpZ2h0AAAAAKAinipAAVdpZHRoAAAAAOCnuDlAAVRvcAAAAAAgZvpNQAFMZWZ0AAAAAMBhuVp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GDB/mNAAVkAAAAAGHDGVkAAA0VuZAAbAAAAAVgAAAAAICr9ZUABWQAAAAAYcMZWQAACU3RhcnRBcnJvd0hlYWQAEQAAAG1zb0Fycm93aGVhZE5vbmUAAkVuZEFycm93SGVhZAARAAAAbXNvQXJyb3doZWFkTm9uZQAFTWFuYWdlZElkABAAAAAENaokV5ZGSkSphsLiOGMNrg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CM5i9AAVRvcAAAAAAgcMZWQAFMZWZ0AAAAAGDB/mNACEZsaXBIb3Jpem9udGFsbD0AAAAFPAAAAP////+NCloFAAAAAAAAAAB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ICpdZkABWQAAAAAYcMZWQAADRW5kABsAAAABWAAAAAAgKv1lQAFZAAAAABhwxlZAAAJTdGFydEFycm93SGVhZAARAAAAbXNvQXJyb3doZWFkTm9uZQACRW5kQXJyb3dIZWFkABEAAABtc29BcnJvd2hlYWROb25lAAVNYW5hZ2VkSWQAEAAAAAScybIFAkDYTYzPdM1Gm2/x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CEABVG9wAAAAACBwxlZAAUxlZnQAAAAAICr9ZUAIRmxpcEhvcml6b250YWxseQABCEZsaXBIb3Jpem9udGFsbHlBcHBsaWVkAAAIRmxpcFZlcnRpY2FsbHkAAAhGbGlwVmVydGljYWxseUFwcGxpZWQAAAFSb3RhdGlvbgAAAAAAAAAAAAFaT3JkZXIAAAAAAAAAAAADQm9yZGVyQ29sb3IAVQAAABBBAP8AAAAQUgBAAAAAEEcAQAAAABBCAEAAAAABU2NBAAAAAAAAAPA/AVNjUgAAAADA/T+qPwFTY0cAAAAAwP0/qj8BU2NCAAAAAMD9P6o/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vHbwXUABWQAAAAAG8W1QQAAISGFzTGVhZGVyTGluZQAACElzQ2VudGVyQXV0b21hdGljQWRqdXN0ZWQAAAhJc1VzZXJQb3NpdGlvbgAAAlBvc3RmaXgAAwAAACAlAAJTZXBhcmF0b3IAAgAAAAoAAlRleHQAAwAAADEwAAhSZXF1aXJlUmVsYXRpdmVQb3NpdGlvblVwZ3JhZGUAAQhJc0dlb21ldHJ5T3V0T2ZCb3VuZHMAAAhJc0xlYWRlckxpbmVJbkF1dG9Nb2RlAAEIRGVsZXRlZAAAAAAITGFiZWxzVmlzaWJsZQABCEF1dG9tYXRpY0xhYmVsQmFja2dyb3VuZHNFbmFibGVkAAEAAAhEaXNhYmxlQXV0b21hdGljRGVhY3RpdmF0aW9uAAAAAk5hbWUACwAAAERhdGFMYWJlbHMAEFZlcnNpb24ACQAAAAlMYXN0V3JpdGUA/cpQ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wBHAAAAAAAAAAAAAAAgA////////////////wAAAP///////////////z4AAAAyAP///////z4AAAAyAP///////z4AAAAEAP///////z4AAAAEAP///////z4AAAAEAP///////z4AAAAEAP///////////////////////////////////////////////////////////////////////////////////////////////////////////////////////////////////////////////////////////////////////////////////////////////////////////////////////////////////////////////////////////////////////////////////////////////////////////////////////////////////////////////////////////////////////////////////////////////////////////////////////////////wEAIAP///////////////8AAA7///////8+AAAACQD///////////////////////////////////////////////////////////////////////////////////////////////////////////////////////////////////////////////////////////////////////////////////////////////////////////////////////////////////////////////////////////////////////////////////////////////////////////////////////////////////////////////////////////////////////////////////////////////////////////////////////////////////////////////////////////////////////////////////////////////////////////////////////8CAAIDAwAAAAIABQAAAAIADAAGRGF0YUxhYmVsc183BgAAAAAAPgAAAAcAPwAAAAQAPgAAAAwAPwAAAAQAAwACAwMAAAADAAUAAAADABIABkdyaWRsaW5lU2V0dGluZ3NfMAYAAAABAD4AAAAUAD4AAAAiAD8AAAAAAD4AAAAiAAQABgMDAAAABAAFAAAABAAcAAZBdXRvbWF0aWNCcmVha1NldHRpbmdzRGF0YV8wBgAAAAIAPgAAACAAPwAAAAMAPgAAACAAPgAAABEAPgAAAAAAPgAAABEAPgAAAAAAPgAAABEAPgAAAAAAPgAAABEAPgAAAAAA////////BQACAwMAAAAFAAUAAAAFACkABlBvaW50QW5kU2VyaWVzQWRkaXRpb25TdHlsZXNEZWZpbml0aW9uc18xBgAAAAMAPgAAACcAPgAAABgAPgAAAAYAPgAAAAsABgADAwMAAAAGAAUAAAAGAA0ABk1hcmtlcnNEYXRhXzEMAAAAAAA+AAAAIwA+AAAACAA+AAAALgA+AAAABQA+AAAAEAA+AAAAJAAHAAEDAwAAAAcABQAAAAcADAAGRGF0YUxhYmVsc182DQAAAAAAPgAAABUAPgAAAAIACAABAwMAAAAIAAUAAAAIAA8ABk51bWJlckZvcm1hdHNfMQ0AAAABAD4AAAAGAD4AAAAWAAkAAQMDAAAACQAFAAAACQALAAZXYXRlcmZhbGxfMQ0AAAACAD4AAAAXAD4AAAABAAoAAQMDAAAACgAFAAAACgAgAAZQb2ludEFuZFNlcmllc1N0eWxlRGVmaW5pdGlvbnNfMQ0AAAADAD4AAAALAD4AAAAZAAsAAgMDAAAACwAFAAAACwAgAAZQb2ludEFuZFNlcmllc1N0eWxlRGVmaW5pdGlvbnNfMA0AAAAEAD4AAAAYAD4AAAAKAD4AAAAFAD4AAAAZAAwAAgMDAAAADAAFAAAADAAQAAZDb21tb25TZXR0aW5nc18wDQAAAAUAPgAAAA0APgAAABUAPgAAAC8APgAAAAIADQABAwMAAAANAAUAAAANABQABkNvbHVtblN1bXNTZXR0aW5nc18wDQAAAAYAPgAAAB0APgAAAAwADgABAwMAAAAOAAUAAAAOAAwABlNlcmllc0RhdGFfMA0AAAAHAD4AAAAZAD4AAAAoAA8AAQMDAAAADwAFAAAADwAMAAZQZXJzb25hbElkXzATAAAAAAA+AAAAKwA+AAAAMAAQAAQDAwAAABAABQAAABAAFgAGR2VuZXJhbEV4Y2VsU2V0dGluZ3NfMBMAAAABAD4AAAAaAD8AAAAAAD4AAAAbAD8AAAAAAD4AAAAbAD4AAAAGAD4AAAAbAP///////xEABQMDAAAAEQAFAAAAEQAgAAZBenVyZUluZm9ybWF0aW9uUHJvdGVjdGlvbkRhdGFfMBMAAAACAD4AAAAlAD8AAAACAD4AAAAEAD4AAAAvAD4AAAAEAD8AAAAEAD4AAAAEAD4AAAAbAD4AAAAEAP///////xIAAwMDAAAAEgAFAAAAEgAcAAZFeGNlbENvbG9yTW9kZURhdGFQcm9wZXJ0eV8xEwAAAAMAPgAAACoAPgAAABsAPgAAACoAPgAAABsAPwAAAAQAPgAAABsAEwABAwMAAAATAAUAAAATAAoABk92ZXJsYXlzXzUUAAAAAAA+AAAAFgA+AAAALQAUAAEDAwAAABQABQAAABQAFQAGR2xvYmFsQ2hhcnRTZXR0aW5nc181FAAAAAEAPwAAAAAAPgAAAAMAFQABAwMAAAAVAAUAAAAVABYABkRhdGFDaGFydENvQXV0aG9yaW5nXzAXAAAAAAA+AAAADAA+AAAABwAWAAEDAwAAABYABQAAABYADwAGTnVtYmVyRm9ybWF0c18yFwAAAAEAPgAAAAgAPgAAABMAFwABAwMAAAAXAAUAAAAXAAsABldhdGVyZmFsbF8wGAAAAAAAPgAAAB8APgAAAAkAGAABAwMAAAAYAAUAAAAYACYABlBvaW50QW5kU2VyaWVzTWFya2VyU3R5bGVEZWZpbml0aW9uc18wGAAAAAEAPgAAAAUAPgAAAAsAGQACAwMAAAAZAAUAAAAZACAABlBvaW50QW5kU2VyaWVzU3R5bGVEZWZpbml0aW9uc18yGAAAAAIAPgAAAAoAPgAAAA4APgAAAAsAPgAAACgAGgABAwMAAAAaAAUAAAAaAA0ABkV4Y2VsTWlycm9yXzEYAAAAAwA+AAAAGwA+AAAAEAAbAAQDAwAAABsABQAAABsAHAAGRXhjZWxDb2xvck1vZGVEYXRhUHJvcGVydHlfMhwAAAAAAD4AAAASAD4AAAAaAD4AAAASAD4AAAAQAD4AAAASAD4AAAAQAD4AAAARAD4AAAAQABwAAQMDAAAAHAAFAAAAHAAeAAZDaGFydFN0eWxlU3RhdHVzSW5mb3JtYXRpb25zXzAYAAAABAA+AAAAMQA+AAAAHgAdAAEDAwAAAB0ABQAAAB0ADgAGQ29sb3JJbmRpY2VzXzIYAAAABQA+AAAALwA+AAAADQAeAAEDAwAAAB4ABQAAAB4AHgAGQ2hhcnRTdHlsZVN0YXR1c0luZm9ybWF0aW9uc18xHQAAAAAAPgAAABwAPgAAAC8AHwABAwMAAAAfAAUAAAAfABsABlNoYXBlQ29uc3RydWN0ZWRDaGFydERhdGFfMB0AAAABAD4AAAAmAD4AAAAXACAAAgMDAAAAIAAFAAAAIAAUAAZBZGRpdGlvbmFsQXhpc0RhdGFfMR0AAAACAD4AAAAyAD4AAAAEAD4AAAAyAD4AAAAEACEAAQMDAAAAIQAFAAAAIQANAAZMZWFkZXJMaW5lc18wHQAAAAMAPgAAACIAPwAAAAUAIgACAwMAAAAiAAUAAAAiABIABkdyaWRsaW5lU2V0dGluZ3NfMR0AAAAEAD4AAAADAD4AAAAhAD4AAAADAD8AAAAFACMAAQMDAAAAIwAFAAAAIwAOAAZMaW5rRGF0YUxpc3RfMR4AAAAAAD4AAAAuAD4AAAAGACQAAwMDAAAAJAAFAAAAJAAOAAZTZXJpZXNMYWJlbHNfNB4AAAABAD4AAAAoAD4AAAAmAD4AAAAoAP///////z4AAAAGAP///////yUAAQMDAAAAJQAFAAAAJQAKAAZBeGVzRGF0YV81HgAAAAIAPwAAAAMAPgAAABEAJgABAwMAAAAmAAUAAAAmAA4ABlNlcmllc0xhYmVsc181HgAAAAMAPgAAACQAPgAAAB8AJwABAwMAAAAnAAUAAAAnACkABlBvaW50QW5kU2VyaWVzQWRkaXRpb25TdHlsZXNEZWZpbml0aW9uc18wHgAAAAQAPgAAADAAPgAAAAUAKAACAwMAAAAoAAUAAAAoAA4ABlNlcmllc0xhYmVsc18zHgAAAAUAPgAAAA4APgAAACQAPgAAABkAPgAAACQAKQABAwMAAAApAAUAAAApAAoABk92ZXJsYXlzXzceAAAABgA+AAAALQA+AAAAKwAqAAIDAwAAACoABQAAACoACgAGRGF0YUxpbmtfMR4AAAAHAD8AAAAGAD4AAAASAD8AAAAGAD4AAAASACsAAQMDAAAAKwAFAAAAKwAKAAZPdmVybGF5c184HgAAAAgAPgAAACkAPgAAAA8ALAABAwMAAAAsAAUAAAAsAAwABkxlZ2VuZERhdGFfMh4AAAAJAD8AAAAFAD4AAAAuAC0AAQMDAAAALQAFAAAALQAKAAZPdmVybGF5c182HgAAAAoAPgAAABMAPgAAACkALgACAwMAAAAuAAUAAAAuAA4ABkxpbmtEYXRhTGlzdF8wHgAAAAsAPgAAACwAPgAAACMAPwAAAAUAPgAAAAYALwACAwMAAAAvAAUAAAAvABMABkNvbG9yRGF0YVByb3BlcnR5XzAeAAAADAA+AAAAHgA+AAAAHQA+AAAAEQA+AAAADAAwAAEDAwAAADAABQAAADAAEAAGUGxvdEFyZWFCb3JkZXJfMB4AAAANAD4AAAAPAD4AAAAnADEAAQMDAAAAMQAFAAAAMQAjAAZDYXRlZ29yeUxhYmVsU2V0dGluZ3NEYXRhUHJvcGVydHlfMB4AAAAOAD8AAAABAD4AAAAcADIAAgMDAAAAMgAFAAAAMgAUAAZBZGRpdGlvbmFsQXhpc0RhdGFfMB4AAAAPAD4AAAAAAD4AAAAgAD4AAAAAAD4AAAAgAAAAAAAAAAAAAAAAAAAAAAAAAAAAAAAAAAAAAAAAAAAAAAAAAAAAAAAAAAAAAAAAAAAAAAAAAAAAAAAAAAAAAAAAAAAAAAAAPwAAAAMAAAAA/////wcANg4AAAAAAAAAAAAAAgMDAAAAMwAFAAAAMwAVAAZHbG9iYWxDaGFydFNldHRpbmdzXzQqAAAAAAA+AAAAEAA+AAAAFAA+AAAAEAA+AAAAAwABAAEDAwAAADQABQAAADQAGgAGQ2F0ZWdvcnlBeGlzRGF0YVByb3BlcnR5XzErAAAAAAA/AAAAAgA+AAAAMQACAAEDAwAAADUABQAAADUAFQAGQnJlYWtNYW5hZ2VtZW50RGF0YV8wKwAAAAEAPgAAABEAPwAAAAEAAwABAzEAAAAAAAUAAAA2AAoABkF4ZXNEYXRhXzQrAAAAAgA+AAAABAA+AAAAJQAEAAMDMQAAAAEABQAAADcADAAGRGF0YUxhYmVsc184KwAAAAMAPgAAAAIAPwAAAAYAPgAAAAIAPwAAAAYAPgAAABEAPgAAABIABQACAzEAAAACAAUAAAA4AAwABkxlZ2VuZERhdGFfMSsAAAAEAD4AAAAhAD4AAAAsAD4AAAAiAD4AAAAuAAYAAgMxAAAAAwAFAAAAOQAMAAZEYXRhTGFiZWxzXzkrAAAABQA/AAAABAA+AAAAKgA/AAAABAA+AAAAK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AAAAAFMAAAAP////9JCJ4HAAAAAAAAAABsbHkAAAhGbGlwSG9yaXpvbnRhbGx5QXBwbGllZAAACEZsaXBWZXJ0aWNhbGx5AAAIRmxpcFZlcnRpY2FsbHlBcHBsaWVkAAABUm90YXRpb24AAAAAAADgcE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ADCcwJAAANQb3NzaWJsZUFyZWE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AIVXNlQXV0b21hdGljTWFqb3JVbml0AAEIVXNlQXV0b21hdGljTWluaW11bVNjYWxlAAEIVXNlQXV0b21hdGljTWF4aW11bVNjYWxlAAEDRm9udENvbG9yAFUAAAAQQQD/AAAAEFIAQAAAABBHAEAAAAAQQgBAAAAAAVNjQQAAAAAAAADwPwFTY1IAAAAAwP0/qj8BU2NHAAAAAMD9P6o/AVNjQgAAAADA/T+qPwAQRm9udFNjaGVtZUNvbG9yAAIAAAAQRm9udFRoZW1lQ29sb3IAAAAAAAFGb250VGludEFuZFNoYWRlAAAAAAAAAAAAAkxhYmVsUG9zaXRpb24ABQAAAE5vbmUAA0F4aXNMaW5lU3R5bGUAMwEAAAJfdHlwZQByAAAAbWlvLkNvbW1vbi5Qb3dlclBvaW50Lk1hbmFnZWQuQ29udHJhY3RzLkN1c3RvbWl6aW5nLlN0eWxlcy5BeGlzTGluZVN0eWxlLCBtaW8uQ29tbW9uLlBvd2VyUG9pbnQuTWFuYWdlZC5Db250cmFjdHMAAUxpbmVXZWlnaHQAAAAAAAAA4D8CRGFzaFN0eWxlAAoAAABMaW5lU29saWQACFZpc2libGUAAQNDb2xvcgBzAAAAEFRoZW1lQ29sb3IADQAAAAFUaW50QW5kU2hhZGUAAAAAAAAAAAAQVGludEluZGV4AP////8QU2NoZW1lQ29sb3IAAAAAAANDb2xvcgAhAAAAEEEAAAAAABBSAP8AAAAQRwD/AAAAEEIA/wAAAAAA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AAAJOYW1lAAkAAABBeGVzRGF0YQAQVmVyc2lvbgAEAAAACUxhc3RXcml0ZQD2ylA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29767913754"/>
  <p:tag name="EMPOWERCHARTSPROPERTIES_B_LENGTH" val="266240"/>
</p:tagLst>
</file>

<file path=ppt/tags/tag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qgsAAAAAAAAAAAAAIAD///////////////8AAAD///////////////8DAAAAAgD///////8DAAAAAgD///////8DAAAAAwD///////8DAAAAAwD///////8DAAAAAwD///////////////////////////////////////////////////////////////////////////////////////////////////////////////////////////////////////////////////////////////////////////////////////////////////////////////////////////////////////////////////////////////////////////////////////////////////////////////////////////////////////////////////////////////////////////////////////////////////////////////////////////////////////////////8BACAA////////////////AAAO////////AwAAAAQA////////////////////////////////////////////////////////////////////////////////////////////////////////////////////////////////////////////////////////////////////////////////////////////////////////////////////////////////////////////////////////////////////////////////////////////////////////////////////////////////////////////////////////////////////////////////////////////////////////////////////////////////////////////////////////////////////////////////////////////////////////////////////////AgACAP///////wUAAAACABAAC+X5cDzlN+dGifBKK2NzzVEEAAAAAAADAAAAAAADAAAAAwADAAAAAAADAAAAAwADAAUA////////BQAAAAMAEAAL9bqDdH7cwkWJ/MjiAoGK/QQAAAABAAMAAAACAAMAAAAEAAMAAAACAAMAAAAEAAMAAAAAAAMAAAAEAAMAAAAAAAMAAAAEAAMAAAAAAAMAAAAEAAQABQD///////8FAAAABAAQAAvz0bLjPC7SQ6TR6VaHjwRQBAAAAAIAAwAAAAMAAwAAAAEAAwAAAAMA////////AwAAAAM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5flwPOU350aJ8EorY3PNUQREYXRhAAUAAAAAAk5hbWUADQAAAExpbmtEYXRhTGlzdAAQVmVyc2lvbgABAAAACUxhc3RXcml0ZQBxwKE1lwEAAAABAP////9hAGEAAAAFX2lkABAAAAAE9bqDdH7cwkWJ/MjiAoGK/QREYXRhAAUAAAAAAk5hbWUADQAAAExpbmtEYXRhTGlzdAAQVmVyc2lvbgAAAAAACUxhc3RXcml0ZQBxwKE1lwEAAAACAP////9wAHAAAAAFX2lkABAAAAAE89Gy4zwu0kOk0elWh48EUANEYXRhABYAAAACUGVyc29uYWxJZAABAAAAAAACTmFtZQALAAAAUGVyc29uYWxJZAAQVmVyc2lvbgAAAAAACUxhc3RXcml0ZQCRwKE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UAAAADAP///////////////////////////////////////////////////////////////////////////////////////////////////////////////////////////////////////////////////////////////////////////////////////////////////////////////////////////////////////////////////////////////////////////////////////////////////////////////////////////////////////////////////////////////////////////////////////////////////////////////////////////////////////////////wEAIAH///////////////8AAA7///////8FAAAABAD///////////////////////////////////////////////////////////////////////////////////////////////////////////////////////////////////////////////////////////////////////////////////////////////////////////////////////////////////////////////////////////////////////////////////////////////////////////////////////////////////////////////////////////////////////////////////////////////////////////////////////////////////////////////////////////////////////////////////////////////////////////////////////8CAAIBAwAAAAIA////////DgAGTGlua0RhdGFMaXN0XzEEAAAAAAAFAAAAAwAFAAAABAAFAAAAAwD///////8DAAUBAwAAAAMA////////DgAGTGlua0RhdGFMaXN0XzAEAAAAAQAFAAAAAAAFAAAAAg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82825309097"/>
  <p:tag name="EMPOWERCHARTSPROPERTIES_B_LENGTH" val="24576"/>
  <p:tag name="DOWN_MIGRATION_INITIAL_LAYOUT_REQUIRED" val="9.2.99"/>
  <p:tag name="RUNTIME_ID" val="aa757304-a160-40cd-98d7-51f217a5e0fd"/>
</p:tagLst>
</file>

<file path=ppt/tags/tag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wD///////8DAAAAAwD///////////////////////////////////////////////////////////////////////////////////////////////////////////////////////////////////////////////////////////////////////////////////////////////////////////////////////////////////////////////////////////////////////////////////////////////////////////////////////////////////////////////////////////////////////////////////////////////////////////////////////////////////////////////////////////////8BACAA////////////////AAAO////////AwAAAAMA////////////////////////////////////////////////////////////////////////////////////////////////////////////////////////////////////////////////////////////////////////////////////////////////////////////////////////////////////////////////////////////////////////////////////////////////////////////////////////////////////////////////////////////////////////////////////////////////////////////////////////////////////////////////////////////////////////////////////////////////////////////////////////AgACAP///////wUAAAACABAAC2z8HTzVbMNBqTkMhtzrK7YEAAAAAAADAAAABAADAAAAAwADAAAAAAADAAAAAwADAAQA////////BQAAAAMAEAALPCvJr6riRECmq0tmu/bW3gQAAAABAAMAAAACAAMAAAABAAMAAAACAP///////wMAAAAAAP///////wMAAAAAAP///////wQAAQD///////8FAAAABAAQAAv62iseyaN9S4NuXImk6aOA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PwdPNVsw0GpOQyG3OsrtgREYXRhAAUAAAAAAk5hbWUADQAAAExpbmtEYXRhTGlzdAAQVmVyc2lvbgAAAAAACUxhc3RXcml0ZQBFM1g1lwEAAAABAP////9hAGEAAAAFX2lkABAAAAAEPCvJr6riRECmq0tmu/bW3gREYXRhAAUAAAAAAk5hbWUADQAAAExpbmtEYXRhTGlzdAAQVmVyc2lvbgABAAAACUxhc3RXcml0ZQBFM1g1lwEAAAACAP////9wAHAAAAAFX2lkABAAAAAE+torHsmjfUuDblyJpOmjgANEYXRhABYAAAACUGVyc29uYWxJZAABAAAAAAACTmFtZQALAAAAUGVyc29uYWxJZAAQVmVyc2lvbgAAAAAACUxhc3RXcml0ZQBaM1g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DAP///////wUAAAADAP///////////////////////////////////////////////////////////////////////////////////////////////////////////////////////////////////////////////////////////////////////////////////////////////////////////////////////////////////////////////////////////////////////////////////////////////////////////////////////////////////////////////////////////////////////////////////////////////////////////////////////////////////////////////////////////////wEAIAH///////////////8AAA7///////8FAAAABAD///////////////////////////////////////////////////////////////////////////////////////////////////////////////////////////////////////////////////////////////////////////////////////////////////////////////////////////////////////////////////////////////////////////////////////////////////////////////////////////////////////////////////////////////////////////////////////////////////////////////////////////////////////////////////////////////////////////////////////////////////////////////////////8CAAIBAwAAAAIA////////DgAGTGlua0RhdGFMaXN0XzAEAAAAAAAFAAAAAAAFAAAAAwAFAAAAAAAFAAAAAwADAAQBAwAAAAMA////////DgAGTGlua0RhdGFMaXN0XzEEAAAAAQAFAAAAAgAFAAAABAAFAAAAAg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34622619572"/>
  <p:tag name="EMPOWERCHARTSPROPERTIES_B_LENGTH" val="24576"/>
  <p:tag name="DOWN_MIGRATION_INITIAL_LAYOUT_REQUIRED" val="9.2.99"/>
  <p:tag name="RUNTIME_ID" val="4783a597-a2fd-4eb6-b246-798ad7bbf875"/>
</p:tagLst>
</file>

<file path=ppt/tags/tag4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gsAAAAAAAAAAAAAIAD///////////////8AAAD///////////////8DAAAABAD///////8DAAAABAD///////////////////////////////////////////////////////////////////////////////////////////////////////////////////////////////////////////////////////////////////////////////////////////////////////////////////////////////////////////////////////////////////////////////////////////////////////////////////////////////////////////////////////////////////////////////////////////////////////////////////////////////////////////////////////////////////////////////////////////////8BACAA////////////////AAAO////////AwAAAAMA////////////////////////////////////////////////////////////////////////////////////////////////////////////////////////////////////////////////////////////////////////////////////////////////////////////////////////////////////////////////////////////////////////////////////////////////////////////////////////////////////////////////////////////////////////////////////////////////////////////////////////////////////////////////////////////////////////////////////////////////////////////////////////AgABAP///////wUAAAACABAAC2dEsnWkZLZBmuIpNbi77A8EAAAAAAADAAAABAADAAAAAwADAAIA////////BQAAAAMAEAALaTKu+OF8b0eQawaDKj/ZFAQAAAABAAMAAAACAAMAAAABAAMAAAAEAP///////wQAAgD///////8FAAAABAAQAAs01MUkcKGTQLM2Usruu3zU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0SydaRktkGa4ik1uLvsDwREYXRhAAUAAAAAAk5hbWUADQAAAExpbmtEYXRhTGlzdAAQVmVyc2lvbgAAAAAACUxhc3RXcml0ZQD1Y1g1lwEAAAABAP////9hAGEAAAAFX2lkABAAAAAEaTKu+OF8b0eQawaDKj/ZFAREYXRhAAUAAAAAAk5hbWUADQAAAExpbmtEYXRhTGlzdAAQVmVyc2lvbgABAAAACUxhc3RXcml0ZQD1Y1g1lwEAAAACAP////9wAHAAAAAFX2lkABAAAAAENNTFJHChk0CzNlLK7rt81ANEYXRhABYAAAACUGVyc29uYWxJZAABAAAAAAACTmFtZQALAAAAUGVyc29uYWxJZAAQVmVyc2lvbgAAAAAACUxhc3RXcml0ZQAMZFg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DAP///////wUAAAAEAP///////wUAAAAEAP///////////////////////////////////////////////////////////////////////////////////////////////////////////////////////////////////////////////////////////////////////////////////////////////////////////////////////////////////////////////////////////////////////////////////////////////////////////////////////////////////////////////////////////////////////////////////////////////////////////////////////////////////////////////////////////////wEAIAH///////////////8AAA7///////8FAAAABAD///////////////////////////////////////////////////////////////////////////////////////////////////////////////////////////////////////////////////////////////////////////////////////////////////////////////////////////////////////////////////////////////////////////////////////////////////////////////////////////////////////////////////////////////////////////////////////////////////////////////////////////////////////////////////////////////////////////////////////////////////////////////////////8CAAEBAwAAAAIA////////DgAGTGlua0RhdGFMaXN0XzAEAAAAAAAFAAAAAAAFAAAAAwADAAIBAwAAAAMA////////DgAGTGlua0RhdGFMaXN0XzEEAAAAAQAFAAAAAgAFAAAABAAFAAAAAA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34747284158"/>
  <p:tag name="EMPOWERCHARTSPROPERTIES_B_LENGTH" val="24576"/>
  <p:tag name="DOWN_MIGRATION_INITIAL_LAYOUT_REQUIRED" val="9.2.99"/>
  <p:tag name="RUNTIME_ID" val="d5bf0e96-494d-466a-830f-19479db87f47"/>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MA////////////////////////////////////////////////////////////////////////////////////////////////////////////////////////////////////////////////////////////////////////////////////////////////////////////////////////////////////////////////////////////////////////////////////////////////////////////////////////////////////////////////////////////////////////////////////////////////////////////////////////////////////////////////////////////////////////////////////////////////////////////////////////AgACAP///////wUAAAACABAACyR4YgnlBHJIiI6ocHhNNasEAAAAAAADAAAAAAADAAAABAADAAAAAAADAAAABAADAAEA////////BQAAAAMAEAAL7w16f7suaky1IgJAHo/3cgQAAAABAAMAAAAEAAMAAAABAAQAAgD///////8FAAAABAAQAAvSyncXGt+MS5AC70uKMSb+BAAAAAIAAwAAAAI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HhiCeUEckiIjqhweE01qwREYXRhAAUAAAAAAk5hbWUADQAAAExpbmtEYXRhTGlzdAAQVmVyc2lvbgABAAAACUxhc3RXcml0ZQBCZFg1lwEAAAABAP////9hAGEAAAAFX2lkABAAAAAE7w16f7suaky1IgJAHo/3cgREYXRhAAUAAAAAAk5hbWUADQAAAExpbmtEYXRhTGlzdAAQVmVyc2lvbgAAAAAACUxhc3RXcml0ZQA1ZFg1lwEAAAACAP////9wAHAAAAAFX2lkABAAAAAE0sp3FxrfjEuQAu9LijEm/gNEYXRhABYAAAACUGVyc29uYWxJZAABAAAAAAACTmFtZQALAAAAUGVyc29uYWxJZAAQVmVyc2lvbgAAAAAACUxhc3RXcml0ZQBbZFg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34748109330"/>
  <p:tag name="EMPOWERCHARTSPROPERTIES_B_LENGTH" val="24576"/>
  <p:tag name="DOWN_MIGRATION_INITIAL_LAYOUT_REQUIRED" val="9.2.99"/>
  <p:tag name="RUNTIME_ID" val="c70fa095-f3d7-4568-978f-18340dcb3d6c"/>
</p:tagLst>
</file>

<file path=ppt/tags/tag5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wUAFgwAAAAAAAAAAAAAIAD///////////////8AAAD///////////////8DAAAAAgD///////////////////////////////////////////////////////////////////////////////////////////////////////////////////////////////////////////////////////////////////////////////////////////////////////////////////////////////////////////////////////////////////////////////////////////////////////////////////////////////////////////////////////////////////////////////////////////////////////////////////////////////////////////////////////////////////////////////////////////////////////////////8BACAA////////////////AAAO////////AwAAAAMA////////////////////////////////////////////////////////////////////////////////////////////////////////////////////////////////////////////////////////////////////////////////////////////////////////////////////////////////////////////////////////////////////////////////////////////////////////////////////////////////////////////////////////////////////////////////////////////////////////////////////////////////////////////////////////////////////////////////////////////////////////////////////////AgABAP///////wUAAAACABAACzFyIhuJwAFHiuHT/yZ0H+kEAAAAAAADAAAAAAADAAAABAADAAEA////////BQAAAAMAEAALo3Uboxk0D06d6DG4+rBQjAQAAAABAAMAAAAEAAMAAAABAAQAAQD///////8FAAAABAAQAAvjenk8l3WWTZsEnt0feBxO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XIiG4nAAUeK4dP/JnQf6QREYXRhAAUAAAAAAk5hbWUADQAAAExpbmtEYXRhTGlzdAAQVmVyc2lvbgAAAAAACUxhc3RXcml0ZQCfZFg1lwEAAAABAP////9hAGEAAAAFX2lkABAAAAAEo3Uboxk0D06d6DG4+rBQjAREYXRhAAUAAAAAAk5hbWUADQAAAExpbmtEYXRhTGlzdAAQVmVyc2lvbgABAAAACUxhc3RXcml0ZQCgZFg1lwEAAAACAP////9wAHAAAAAFX2lkABAAAAAE43p5PJd1lk2bBJ7dH3gcTgNEYXRhABYAAAACUGVyc29uYWxJZAABAAAAAAACTmFtZQALAAAAUGVyc29uYWxJZAAQVmVyc2lvbgAAAAAACUxhc3RXcml0ZQDBZFg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34749034898"/>
  <p:tag name="EMPOWERCHARTSPROPERTIES_B_LENGTH" val="24576"/>
  <p:tag name="DOWN_MIGRATION_INITIAL_LAYOUT_REQUIRED" val="9.2.99"/>
  <p:tag name="RUNTIME_ID" val="f8103f36-ecac-4f29-a1d8-dfb1655ae44b"/>
</p:tagLst>
</file>

<file path=ppt/tags/tag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QA////////////////////////////////////////////////////////////////////////////////////////////////////////////////////////////////////////////////////////////////////////////////////////////////////////////////////////////////////////////////////////////////////////////////////////////////////////////////////////////////////////////////////////////////////////////////////////////////////////////////////////////////////////////////////////////////////////////////////////////////////////////////////////AgAEAP///////wUAAAACABAACzKiKMrRFMJDkcIxj6eQtSkEAAAAAAADAAAAAAADAAAAAwADAAAAAAD///////8DAAAAAAD///////8DAAAAAAD///////8DAAEA////////BQAAAAMAEAALePbK0ow3YEeSpDahTk/rcAQAAAABAAMAAAACAAMAAAAEAAQAAQD///////8FAAAABAAQAAvPV6rfq7CvQLl8ij+OupnJ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qIoytEUwkORwjGPp5C1KQREYXRhAAUAAAAAAk5hbWUADQAAAExpbmtEYXRhTGlzdAAQVmVyc2lvbgABAAAACUxhc3RXcml0ZQDkZFg1lwEAAAABAP////9hAGEAAAAFX2lkABAAAAAEePbK0ow3YEeSpDahTk/rcAREYXRhAAUAAAAAAk5hbWUADQAAAExpbmtEYXRhTGlzdAAQVmVyc2lvbgAAAAAACUxhc3RXcml0ZQDkZFg1lwEAAAACAP////9wAHAAAAAFX2lkABAAAAAEz1eq36uwr0C5fIo/jrqZyQNEYXRhABYAAAACUGVyc29uYWxJZAABAAAAAAACTmFtZQALAAAAUGVyc29uYWxJZAAQVmVyc2lvbgAAAAAACUxhc3RXcml0ZQAEZVg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34749796754"/>
  <p:tag name="EMPOWERCHARTSPROPERTIES_B_LENGTH" val="24576"/>
  <p:tag name="DOWN_MIGRATION_INITIAL_LAYOUT_REQUIRED" val="9.2.99"/>
  <p:tag name="RUNTIME_ID" val="dabf958d-6446-41c8-82f2-fee063b63183"/>
</p:tagLst>
</file>

<file path=ppt/tags/tag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wgsAAAAAAAAAAAAAIAD///////////////8AAAD///////////////8DAAAAAgD///////8DAAAAAgD///////8DAAAABAD///////8DAAAABAD///////8DAAAABAD///////8DAAAABAD///////8DAAAABAD///////////////////////////////////////////////////////////////////////////////////////////////////////////////////////////////////////////////////////////////////////////////////////////////////////////////////////////////////////////////////////////////////////////////////////////////////////////////////////////////////////////////////////////////////////////////////////////////////////////////8BACAA////////////////AAAO////////AwAAAAMA////////////////////////////////////////////////////////////////////////////////////////////////////////////////////////////////////////////////////////////////////////////////////////////////////////////////////////////////////////////////////////////////////////////////////////////////////////////////////////////////////////////////////////////////////////////////////////////////////////////////////////////////////////////////////////////////////////////////////////////////////////////////////////AgACAP///////wUAAAACABAACzgnHwPc8GlNiRgVfl+lTc8EAAAAAAADAAAAAAADAAAABAADAAAAAAADAAAABAADAAEA////////BQAAAAMAEAAL8DI0pzv4/0+7gx3sM+rzVQQAAAABAAMAAAAEAAMAAAABAAQABwD///////8FAAAABAAQAAv7q5xz7IAHSok5ZCEpO5YQBAAAAAIAAwAAAAIAAwAAAAM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CcfA9zwaU2JGBV+X6VNzwREYXRhAAUAAAAAAk5hbWUADQAAAExpbmtEYXRhTGlzdAAQVmVyc2lvbgAAAAAACUxhc3RXcml0ZQA2ZVg1lwEAAAABAP////9hAGEAAAAFX2lkABAAAAAE8DI0pzv4/0+7gx3sM+rzVQREYXRhAAUAAAAAAk5hbWUADQAAAExpbmtEYXRhTGlzdAAQVmVyc2lvbgABAAAACUxhc3RXcml0ZQA2ZVg1lwEAAAACAP////9wAHAAAAAFX2lkABAAAAAE+6ucc+yAB0qJOWQhKTuWEANEYXRhABYAAAACUGVyc29uYWxJZAABAAAAAAACTmFtZQALAAAAUGVyc29uYWxJZAAQVmVyc2lvbgAAAAAACUxhc3RXcml0ZQBNZVg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34750434724"/>
  <p:tag name="EMPOWERCHARTSPROPERTIES_B_LENGTH" val="24576"/>
  <p:tag name="DOWN_MIGRATION_INITIAL_LAYOUT_REQUIRED" val="9.2.99"/>
  <p:tag name="RUNTIME_ID" val="d520bf7e-815d-43c4-8a28-584d69d91a64"/>
</p:tagLst>
</file>

<file path=ppt/tags/tag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UBAQEBAQEBAQEBAQEBAQMAAAAAAAAAAwAAAAMAAAAA/////wUA5gsAAAAAAAAAAAAAIAD///////////////8AAAD///////////////8DAAAABAD///////8DAAAABAD///////8DAAAABAD///////8DAAAABAD///////////////////////////////////////////////////////////////////////////////////////////////////////////////////////////////////////////////////////////////////////////////////////////////////////////////////////////////////////////////////////////////////////////////////////////////////////////////////////////////////////////////////////////////////////////////////////////////////////////////////////////////////////////////////////////////8BACAA////////////////AAAO////////AwAAAAMA////////////////////////////////////////////////////////////////////////////////////////////////////////////////////////////////////////////////////////////////////////////////////////////////////////////////////////////////////////////////////////////////////////////////////////////////////////////////////////////////////////////////////////////////////////////////////////////////////////////////////////////////////////////////////////////////////////////////////////////////////////////////////////AgABAP///////wUAAAACABAACxP9OpNcAlhCjpz2J/KE4sQEAAAAAAADAAAABAADAAAAAwADAAIA////////BQAAAAMAEAALEjj04Wke70qgLKzdfS0z2QQAAAABAAMAAAACAAMAAAABAAMAAAAEAP///////wQABAD///////8FAAAABAAQAAs63VQfSvjrTJySrwlVaHLHBAAAAAIAAwAAAAAAAwAAAAIAAwAAAAA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06k1wCWEKOnPYn8oTixAREYXRhAAUAAAAAAk5hbWUADQAAAExpbmtEYXRhTGlzdAAQVmVyc2lvbgABAAAACUxhc3RXcml0ZQCDZVg1lwEAAAABAP////9hAGEAAAAFX2lkABAAAAAEEjj04Wke70qgLKzdfS0z2QREYXRhAAUAAAAAAk5hbWUADQAAAExpbmtEYXRhTGlzdAAQVmVyc2lvbgAAAAAACUxhc3RXcml0ZQCCZVg1lwEAAAACAP////9wAHAAAAAFX2lkABAAAAAEOt1UH0r460yckq8JVWhyxwNEYXRhABYAAAACUGVyc29uYWxJZAABAAAAAAACTmFtZQALAAAAUGVyc29uYWxJZAAQVmVyc2lvbgAAAAAACUxhc3RXcml0ZQCYZVg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EAP///////wUAAAAEAP///////wUAAAAEAP///////////////////////////////////////////////////////////////////////////////////////////////////////////////////////////////////////////////////////////////////////////////////////////////////////////////////////////////////////////////////////////////////////////////////////////////////////////////////////////////////////////////////////////////////////////////////////////////////////////////////////////////////////////////wEAIAH///////////////8AAA7///////8FAAAABAD///////////////////////////////////////////////////////////////////////////////////////////////////////////////////////////////////////////////////////////////////////////////////////////////////////////////////////////////////////////////////////////////////////////////////////////////////////////////////////////////////////////////////////////////////////////////////////////////////////////////////////////////////////////////////////////////////////////////////////////////////////////////////////8CAAEBAwAAAAIA////////DgAGTGlua0RhdGFMaXN0XzEEAAAAAAAFAAAAAwAFAAAABAADAAIBAwAAAAMA////////DgAGTGlua0RhdGFMaXN0XzAEAAAAAQAFAAAAAAAFAAAAAgAFAAAAAAAFAAAABAAEAAUBAwAAAAQA////////DAAGUGVyc29uYWxJZF8wBAAAAAIABQAAAAIABQAAAAEABQAAAAM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34751195865"/>
  <p:tag name="EMPOWERCHARTSPROPERTIES_B_LENGTH" val="24576"/>
  <p:tag name="DOWN_MIGRATION_INITIAL_LAYOUT_REQUIRED" val="9.2.99"/>
  <p:tag name="RUNTIME_ID" val="85d6b1d2-de16-4997-95ae-9e0830ebe029"/>
</p:tagLst>
</file>

<file path=ppt/tags/tag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MA////////////////////////////////////////////////////////////////////////////////////////////////////////////////////////////////////////////////////////////////////////////////////////////////////////////////////////////////////////////////////////////////////////////////////////////////////////////////////////////////////////////////////////////////////////////////////////////////////////////////////////////////////////////////////////////////////////////////////////////////////////////////////////AgADAP///////wUAAAACABAAC3d8eBaXQg9Ph3B+knuTOXQEAAAAAAADAAAAAAADAAAABAADAAAAAAADAAAABAADAAAAAAADAAAABAADAAEA////////BQAAAAMAEAALNffJcZ/vd0aCde3fMldXYAQAAAABAAMAAAAEAAMAAAABAAQAAwD///////8FAAAABAAQAAvX1hhaz9fpQaErry6nRs8KBAAAAAIAAwAAAAIAAwAAAAM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3x4FpdCD0+HcH6Se5M5dAREYXRhAAUAAAAAAk5hbWUADQAAAExpbmtEYXRhTGlzdAAQVmVyc2lvbgABAAAACUxhc3RXcml0ZQDXZVg1lwEAAAABAP////9hAGEAAAAFX2lkABAAAAAENffJcZ/vd0aCde3fMldXYAREYXRhAAUAAAAAAk5hbWUADQAAAExpbmtEYXRhTGlzdAAQVmVyc2lvbgAAAAAACUxhc3RXcml0ZQC/ZVg1lwEAAAACAP////9wAHAAAAAFX2lkABAAAAAE19YYWs/X6UGhK68up0bPCgNEYXRhABYAAAACUGVyc29uYWxJZAABAAAAAAACTmFtZQALAAAAUGVyc29uYWxJZAAQVmVyc2lvbgAAAAAACUxhc3RXcml0ZQDsZVg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EAIAH///////////////8AAA7///////8FAAAABAD///////////////////////////////////////////////////////////////////////////////////////////////////////////////////////////////////////////////////////////////////////////////////////////////////////////////////////////////////////////////////////////////////////////////////////////////////////////////////////////////////////////////////////////////////////////////////////////////////////////////////////////////////////////////////////////////////////////////////////////////////////////////////////8CAAMBAwAAAAIA////////DgAGTGlua0RhdGFMaXN0XzEEAAAAAAAFAAAAAwAFAAAABAAFAAAAAAAFAAAABAAFAAAAAAD///////8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34752011095"/>
  <p:tag name="EMPOWERCHARTSPROPERTIES_B_LENGTH" val="24576"/>
  <p:tag name="DOWN_MIGRATION_INITIAL_LAYOUT_REQUIRED" val="9.2.99"/>
  <p:tag name="RUNTIME_ID" val="b837643c-afc1-4d6b-89b7-f6332401f84c"/>
</p:tagLst>
</file>

<file path=ppt/tags/tag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BAD///////8DAAAAAgD///////8DAAAAAgD///////8DAAAAAgD///////8DAAAAAgD///////////////////////////////////////////////////////////////////////////////////////////////////////////////////////////////////////////////////////////////////////////////////////////////////////////////////////////////////////////////////////////////////////////////////////////////////////////////////////////////////////////////////////////////////////////////////////////////////////////////////////////////////////////////8BACAA////////////////AAAO////////AwAAAAMA////////////////////////////////////////////////////////////////////////////////////////////////////////////////////////////////////////////////////////////////////////////////////////////////////////////////////////////////////////////////////////////////////////////////////////////////////////////////////////////////////////////////////////////////////////////////////////////////////////////////////////////////////////////////////////////////////////////////////////////////////////////////////////AgAFAP///////wUAAAACABAACyVjPNs/pedIkwiEviGvJR4EAAAAAAADAAAABAADAAAAAwADAAAAAAD///////8DAAAAAAD///////8DAAAAAAD///////8DAAAAAAD///////8DAAEA////////BQAAAAMAEAALbszo+rEGMEaXelj1kcZajgQAAAABAAMAAAACAAMAAAABAAQAAQD///////8FAAAABAAQAAuqSUFzl1CXSq0cFVZGUmLQ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WM82z+l50iTCIS+Ia8lHgREYXRhAAUAAAAAAk5hbWUADQAAAExpbmtEYXRhTGlzdAAQVmVyc2lvbgAAAAAACUxhc3RXcml0ZQBKoVg1lwEAAAABAP////9hAGEAAAAFX2lkABAAAAAEbszo+rEGMEaXelj1kcZajgREYXRhAAUAAAAAAk5hbWUADQAAAExpbmtEYXRhTGlzdAAQVmVyc2lvbgABAAAACUxhc3RXcml0ZQBKoVg1lwEAAAACAP////9wAHAAAAAFX2lkABAAAAAEqklBc5dQl0qtHBVWRlJi0ANEYXRhABYAAAACUGVyc29uYWxJZAABAAAAAAACTmFtZQALAAAAUGVyc29uYWxJZAAQVmVyc2lvbgAAAAAACUxhc3RXcml0ZQDLoVg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UAAAACAP///////wUAAAACAP///////////////////////////////////////////////////////////////////////////////////////////////////////////////////////////////////////////////////////////////////////////////////////////////////////////////////////////////////////////////////////////////////////////////////////////////////////////////////////////////////////////////////////////////////////////////////////////////////////////////////////////////////////////////wEAIAH///////////////8AAA7///////8FAAAABAD///////////////////////////////////////////////////////////////////////////////////////////////////////////////////////////////////////////////////////////////////////////////////////////////////////////////////////////////////////////////////////////////////////////////////////////////////////////////////////////////////////////////////////////////////////////////////////////////////////////////////////////////////////////////////////////////////////////////////////////////////////////////////////8CAAUBAwAAAAIA////////DgAGTGlua0RhdGFMaXN0XzAEAAAAAAAFAAAAAAAFAAAAAwAFAAAAAAD///////8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34905386419"/>
  <p:tag name="EMPOWERCHARTSPROPERTIES_B_LENGTH" val="24576"/>
  <p:tag name="DOWN_MIGRATION_INITIAL_LAYOUT_REQUIRED" val="9.2.99"/>
  <p:tag name="RUNTIME_ID" val="7d116900-925e-424d-b5a8-9ab17a54a460"/>
</p:tagLst>
</file>

<file path=ppt/tags/tag5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wD///////////////////////////////////////////////////////////////////////////////////////////////////////////////////////////////////////////////////////////////////////////////////////////////////////////////////////////////////////////////////////////////////////////////////////////////////////////////////////////////////////////////////////////////////////////////////////////////////////////////////////////////////////////////////////////////////////////////////////////////8BACAA////////////////AAAO////////AwAAAAMA////////////////////////////////////////////////////////////////////////////////////////////////////////////////////////////////////////////////////////////////////////////////////////////////////////////////////////////////////////////////////////////////////////////////////////////////////////////////////////////////////////////////////////////////////////////////////////////////////////////////////////////////////////////////////////////////////////////////////////////////////////////////////////AgABAP///////wUAAAACABAAC37UOSauCUdHvuvVY2BiL58EAAAAAAADAAAABAADAAAAAwADAAIA////////BQAAAAMAEAALDuj2QTlapUmoLLoIepUVvgQAAAABAAMAAAACAAMAAAABAAMAAAAAAP///////wQAAQD///////8FAAAABAAQAAv14dkQJIpgT4XTTJh5cVLi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tQ5Jq4JR0e+69VjYGIvnwREYXRhAAUAAAAAAk5hbWUADQAAAExpbmtEYXRhTGlzdAAQVmVyc2lvbgAAAAAACUxhc3RXcml0ZQDgMlg1lwEAAAABAP////9hAGEAAAAFX2lkABAAAAAEDuj2QTlapUmoLLoIepUVvgREYXRhAAUAAAAAAk5hbWUADQAAAExpbmtEYXRhTGlzdAAQVmVyc2lvbgABAAAACUxhc3RXcml0ZQDkMlg1lwEAAAACAP////9wAHAAAAAFX2lkABAAAAAE9eHZECSKYE+F00yYeXFS4gNEYXRhABYAAAACUGVyc29uYWxJZAABAAAAAAACTmFtZQALAAAAUGVyc29uYWxJZAAQVmVyc2lvbgAAAAAACUxhc3RXcml0ZQAAM1g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34621852453"/>
  <p:tag name="EMPOWERCHARTSPROPERTIES_B_LENGTH" val="24576"/>
  <p:tag name="DOWN_MIGRATION_INITIAL_LAYOUT_REQUIRED" val="9.2.99"/>
  <p:tag name="RUNTIME_ID" val="4b68f8df-01a5-41a6-9e12-4b100683cb56"/>
</p:tagLst>
</file>

<file path=ppt/tags/tag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1LgxipSjMhDklzDmlJF3CQEAAAAAAADAAAAAAADAAAABAADAAAAAAD///////8DAAEA////////BQAAAAMAEAALQJw47UK0B0G8RnzEDse0BwQAAAABAAMAAAAEAAMAAAABAAQAAQD///////8FAAAABAAQAAu96LVYnu39SZeXx9RF+aE+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uDGKlKMyEOSXMOaUkXcJAREYXRhAAUAAAAAAk5hbWUADQAAAExpbmtEYXRhTGlzdAAQVmVyc2lvbgABAAAACUxhc3RXcml0ZQAUZlg1lwEAAAABAP////9hAGEAAAAFX2lkABAAAAAEQJw47UK0B0G8RnzEDse0BwREYXRhAAUAAAAAAk5hbWUADQAAAExpbmtEYXRhTGlzdAAQVmVyc2lvbgAAAAAACUxhc3RXcml0ZQASZlg1lwEAAAACAP////9wAHAAAAAFX2lkABAAAAAEvei1WJ7t/UmXl8fURfmhPgNEYXRhABYAAAACUGVyc29uYWxJZAABAAAAAAACTmFtZQALAAAAUGVyc29uYWxJZAAQVmVyc2lvbgAAAAAACUxhc3RXcml0ZQAtZlg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EAIAH///////////////8AAA7///////8FAAAABAD///////////////////////////////////////////////////////////////////////////////////////////////////////////////////////////////////////////////////////////////////////////////////////////////////////////////////////////////////////////////////////////////////////////////////////////////////////////////////////////////////////////////////////////////////////////////////////////////////////////////////////////////////////////////////////////////////////////////////////////////////////////////////////8CAAIBAwAAAAIA////////DgAGTGlua0RhdGFMaXN0XzEEAAAAAAAFAAAAAwAFAAAABAAFAAAAAAAFAAAABAA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34752650173"/>
  <p:tag name="EMPOWERCHARTSPROPERTIES_B_LENGTH" val="24576"/>
  <p:tag name="DOWN_MIGRATION_INITIAL_LAYOUT_REQUIRED" val="9.2.99"/>
  <p:tag name="RUNTIME_ID" val="91de8dde-1c52-4cbb-bb13-9a203fb49af9"/>
</p:tagLst>
</file>

<file path=ppt/tags/tag5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CgwAAAAAAAAAAAAAIAD///////////////8AAAD///////////////8DAAAAAgD///////8DAAAABAD///////////////////////////////////////////////////////////////////////////////////////////////////////////////////////////////////////////////////////////////////////////////////////////////////////////////////////////////////////////////////////////////////////////////////////////////////////////////////////////////////////////////////////////////////////////////////////////////////////////////////////////////////////////////////////////////////////////////////////////////8BACAA////////////////AAAO////////AwAAAAMA////////////////////////////////////////////////////////////////////////////////////////////////////////////////////////////////////////////////////////////////////////////////////////////////////////////////////////////////////////////////////////////////////////////////////////////////////////////////////////////////////////////////////////////////////////////////////////////////////////////////////////////////////////////////////////////////////////////////////////////////////////////////////////AgABAP///////wUAAAACABAACwDMtwQKeOlOnDtWwgsDDfQEAAAAAAADAAAAAAADAAAABAADAAEA////////BQAAAAMAEAAL+7sTyG5ifUu9ruLZFHAzTgQAAAABAAMAAAAEAAMAAAABAAQAAgD///////8FAAAABAAQAAvVCCt/tvbmTJXmcMkrltND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My3BAp46U6cO1bCCwMN9AREYXRhAAUAAAAAAk5hbWUADQAAAExpbmtEYXRhTGlzdAAQVmVyc2lvbgABAAAACUxhc3RXcml0ZQCNalg1lwEAAAABAP////9hAGEAAAAFX2lkABAAAAAE+7sTyG5ifUu9ruLZFHAzTgREYXRhAAUAAAAAAk5hbWUADQAAAExpbmtEYXRhTGlzdAAQVmVyc2lvbgAAAAAACUxhc3RXcml0ZQCNalg1lwEAAAACAP////9wAHAAAAAFX2lkABAAAAAE1Qgrf7b25kyV5nDJK5bTQwNEYXRhABYAAAACUGVyc29uYWxJZAABAAAAAAACTmFtZQALAAAAUGVyc29uYWxJZAAQVmVyc2lvbgAAAAAACUxhc3RXcml0ZQCialg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EAP///////wUAAAAEAP///////wUAAAAEAP///////////////////////////////////////////////////////////////////////////////////////////////////////////////////////////////////////////////////////////////////////////////////////////////////////////////////////////////////////////////////////////////////////////////////////////////////////////////////////////////////////////////////////////////////////////////////////////////////////////////////////////////////////////////////////////////wEAIAH///////////////8AAA7///////8FAAAABAD///////////////////////////////////////////////////////////////////////////////////////////////////////////////////////////////////////////////////////////////////////////////////////////////////////////////////////////////////////////////////////////////////////////////////////////////////////////////////////////////////////////////////////////////////////////////////////////////////////////////////////////////////////////////////////////////////////////////////////////////////////////////////////8CAAEBAwAAAAIA////////DgAGTGlua0RhdGFMaXN0XzEEAAAAAAAFAAAAAwAFAAAABAADAAEBAwAAAAMA////////DgAGTGlua0RhdGFMaXN0XzAEAAAAAQAFAAAAAAAFAAAAAgAEAAQBAwAAAAQA////////DAAGUGVyc29uYWxJZF8wBAAAAAIABQAAAAIABQAAAAE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34764055807"/>
  <p:tag name="EMPOWERCHARTSPROPERTIES_B_LENGTH" val="24576"/>
  <p:tag name="DOWN_MIGRATION_INITIAL_LAYOUT_REQUIRED" val="9.2.99"/>
  <p:tag name="RUNTIME_ID" val="830dfe68-ea52-4e1b-8112-fdc325238768"/>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gD///////////////////////////////////////////////////////////////////////////////////////////////////////////////////////////////////////////////////////////////////////////////////////////////////////////////////////////////////////////////////////////////////////////////////////////////////////////////////////////////////////////////////////////////////////////////////////////////////////////////////////////////////////////////////////////////////////////////8BACAA////////////////AAAO////////AwAAAAMA////////////////////////////////////////////////////////////////////////////////////////////////////////////////////////////////////////////////////////////////////////////////////////////////////////////////////////////////////////////////////////////////////////////////////////////////////////////////////////////////////////////////////////////////////////////////////////////////////////////////////////////////////////////////////////////////////////////////////////////////////////////////////////AgADAP///////wUAAAACABAAC619WwNdJN5LvIOGuGoMLL8EAAAAAAADAAAAAAADAAAABAADAAAAAAADAAAAAwADAAAAAAD///////8DAAIA////////BQAAAAMAEAALjtYvZ/zhZEisLJRl4gu+LwQAAAABAAMAAAAEAAMAAAABAAMAAAACAP///////wQAAQD///////8FAAAABAAQAAssQelFu9syTKK9DR/q/uu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X1bA10k3ku8g4a4agwsvwREYXRhAAUAAAAAAk5hbWUADQAAAExpbmtEYXRhTGlzdAAQVmVyc2lvbgAAAAAACUxhc3RXcml0ZQBQZlg1lwEAAAABAP////9hAGEAAAAFX2lkABAAAAAEjtYvZ/zhZEisLJRl4gu+LwREYXRhAAUAAAAAAk5hbWUADQAAAExpbmtEYXRhTGlzdAAQVmVyc2lvbgABAAAACUxhc3RXcml0ZQBRZlg1lwEAAAACAP////9wAHAAAAAFX2lkABAAAAAELEHpRbvbMkyivQ0f6v7rgwNEYXRhABYAAAACUGVyc29uYWxJZAABAAAAAAACTmFtZQALAAAAUGVyc29uYWxJZAAQVmVyc2lvbgAAAAAACUxhc3RXcml0ZQBmZlg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EAIAH///////////////8AAA7///////8FAAAABAD///////////////////////////////////////////////////////////////////////////////////////////////////////////////////////////////////////////////////////////////////////////////////////////////////////////////////////////////////////////////////////////////////////////////////////////////////////////////////////////////////////////////////////////////////////////////////////////////////////////////////////////////////////////////////////////////////////////////////////////////////////////////////////8CAAMBAwAAAAIA////////DgAGTGlua0RhdGFMaXN0XzAEAAAAAAAFAAAAAAAFAAAAAwAFAAAAAAAFAAAAAwAFAAAAAAD///////8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34753221516"/>
  <p:tag name="EMPOWERCHARTSPROPERTIES_B_LENGTH" val="24576"/>
  <p:tag name="DOWN_MIGRATION_INITIAL_LAYOUT_REQUIRED" val="9.2.99"/>
  <p:tag name="RUNTIME_ID" val="b0ea2b84-7036-4c4a-94f9-f6f24571b446"/>
</p:tagLst>
</file>

<file path=ppt/tags/tag6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wUA2gsAAAAAAAAAAAAAIAD///////////////8AAAD///////////////8DAAAAAgD///////8DAAAAAgD///////8DAAAABAD///////8DAAAABAD///////////////////////////////////////////////////////////////////////////////////////////////////////////////////////////////////////////////////////////////////////////////////////////////////////////////////////////////////////////////////////////////////////////////////////////////////////////////////////////////////////////////////////////////////////////////////////////////////////////////////////////////////////////////////////////////8BACAA////////////////AAAO////////AwAAAAMA////////////////////////////////////////////////////////////////////////////////////////////////////////////////////////////////////////////////////////////////////////////////////////////////////////////////////////////////////////////////////////////////////////////////////////////////////////////////////////////////////////////////////////////////////////////////////////////////////////////////////////////////////////////////////////////////////////////////////////////////////////////////////////AgACAP///////wUAAAACABAACx8n4UM/i5dLgISYyzc/a54EAAAAAAADAAAAAAADAAAABAADAAAAAAADAAAABAADAAIA////////BQAAAAMAEAAL/oTmp1fm4ki81Olf+OITHAQAAAABAAMAAAAEAAMAAAABAAMAAAAEAP///////wQABAD///////8FAAAABAAQAAsjQKqeoys6T7Jzb7hXXtE0BAAAAAIAAwAAAAIAAwAAAAMAAwAAAAI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yfhQz+Ll0uAhJjLNz9rngREYXRhAAUAAAAAAk5hbWUADQAAAExpbmtEYXRhTGlzdAAQVmVyc2lvbgABAAAACUxhc3RXcml0ZQCNZlg1lwEAAAABAP////9hAGEAAAAFX2lkABAAAAAE/oTmp1fm4ki81Olf+OITHAREYXRhAAUAAAAAAk5hbWUADQAAAExpbmtEYXRhTGlzdAAQVmVyc2lvbgAAAAAACUxhc3RXcml0ZQCNZlg1lwEAAAACAP////9wAHAAAAAFX2lkABAAAAAEI0CqnqMrOk+yc2+4V17RNANEYXRhABYAAAACUGVyc29uYWxJZAABAAAAAAACTmFtZQALAAAAUGVyc29uYWxJZAAQVmVyc2lvbgAAAAAACUxhc3RXcml0ZQCiZlg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EAP///////////////////////////////////////////////////////////////////////////////////////////////////////////////////////////////////////////////////////////////////////////////////////////////////////////////////////////////////////////////////////////////////////////////////////////////////////////////////////////////////////////////////////////////////////////////////////////////////////////////////////////////////////////////////////////////////////////////wEAIAH///////////////8AAA7///////8FAAAABAD///////////////////////////////////////////////////////////////////////////////////////////////////////////////////////////////////////////////////////////////////////////////////////////////////////////////////////////////////////////////////////////////////////////////////////////////////////////////////////////////////////////////////////////////////////////////////////////////////////////////////////////////////////////////////////////////////////////////////////////////////////////////////////8CAAIBAwAAAAIA////////DgAGTGlua0RhdGFMaXN0XzEEAAAAAAAFAAAAAwAFAAAABAAFAAAAAwAFAAAABAADAAIBAwAAAAMA////////DgAGTGlua0RhdGFMaXN0XzAEAAAAAQAFAAAAAAAFAAAAAg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34753828434"/>
  <p:tag name="EMPOWERCHARTSPROPERTIES_B_LENGTH" val="24576"/>
  <p:tag name="DOWN_MIGRATION_INITIAL_LAYOUT_REQUIRED" val="9.2.99"/>
  <p:tag name="RUNTIME_ID" val="c780b4e7-392b-49f3-90ca-4edacf22594b"/>
</p:tagLst>
</file>

<file path=ppt/tags/tag6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wD///////8DAAAAAwD///////////////////////////////////////////////////////////////////////////////////////////////////////////////////////////////////////////////////////////////////////////////////////////////////////////////////////////////////////////////////////////////////////////////////////////////////////////////////////////////////////////////////////////////////////////////////////////////////////////////////////////////////////////////////////////////8BACAA////////////////AAAO////////AwAAAAMA////////////////////////////////////////////////////////////////////////////////////////////////////////////////////////////////////////////////////////////////////////////////////////////////////////////////////////////////////////////////////////////////////////////////////////////////////////////////////////////////////////////////////////////////////////////////////////////////////////////////////////////////////////////////////////////////////////////////////////////////////////////////////////AgACAP///////wUAAAACABAAC2z8HTzVbMNBqTkMhtzrK7YEAAAAAAADAAAABAADAAAAAwADAAAAAAADAAAAAwADAAQA////////BQAAAAMAEAALPCvJr6riRECmq0tmu/bW3gQAAAABAAMAAAACAAMAAAABAAMAAAACAP///////wMAAAAAAP///////wMAAAAAAP///////wQAAQD///////8FAAAABAAQAAv62iseyaN9S4NuXImk6aOA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PwdPNVsw0GpOQyG3OsrtgREYXRhAAUAAAAAAk5hbWUADQAAAExpbmtEYXRhTGlzdAAQVmVyc2lvbgAAAAAACUxhc3RXcml0ZQBFM1g1lwEAAAABAP////9hAGEAAAAFX2lkABAAAAAEPCvJr6riRECmq0tmu/bW3gREYXRhAAUAAAAAAk5hbWUADQAAAExpbmtEYXRhTGlzdAAQVmVyc2lvbgABAAAACUxhc3RXcml0ZQBFM1g1lwEAAAACAP////9wAHAAAAAFX2lkABAAAAAE+torHsmjfUuDblyJpOmjgANEYXRhABYAAAACUGVyc29uYWxJZAABAAAAAAACTmFtZQALAAAAUGVyc29uYWxJZAAQVmVyc2lvbgAAAAAACUxhc3RXcml0ZQBaM1g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DAP///////wUAAAADAP///////////////////////////////////////////////////////////////////////////////////////////////////////////////////////////////////////////////////////////////////////////////////////////////////////////////////////////////////////////////////////////////////////////////////////////////////////////////////////////////////////////////////////////////////////////////////////////////////////////////////////////////////////////////////////////////wEAIAH///////////////8AAA7///////8FAAAABAD///////////////////////////////////////////////////////////////////////////////////////////////////////////////////////////////////////////////////////////////////////////////////////////////////////////////////////////////////////////////////////////////////////////////////////////////////////////////////////////////////////////////////////////////////////////////////////////////////////////////////////////////////////////////////////////////////////////////////////////////////////////////////////8CAAIBAwAAAAIA////////DgAGTGlua0RhdGFMaXN0XzAEAAAAAAAFAAAAAAAFAAAAAwAFAAAAAAAFAAAAAwADAAQBAwAAAAMA////////DgAGTGlua0RhdGFMaXN0XzEEAAAAAQAFAAAAAgAFAAAABAAFAAAAAg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34622619572"/>
  <p:tag name="EMPOWERCHARTSPROPERTIES_B_LENGTH" val="24576"/>
  <p:tag name="DOWN_MIGRATION_INITIAL_LAYOUT_REQUIRED" val="9.2.99"/>
  <p:tag name="RUNTIME_ID" val="ff1b5838-6686-4538-8248-6f351b0e5614"/>
</p:tagLst>
</file>

<file path=ppt/tags/tag6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BAD///////8DAAAAAgD///////8DAAAAAgD///////8DAAAAAgD///////8DAAAAAgD///////////////////////////////////////////////////////////////////////////////////////////////////////////////////////////////////////////////////////////////////////////////////////////////////////////////////////////////////////////////////////////////////////////////////////////////////////////////////////////////////////////////////////////////////////////////////////////////////////////////////////////////////////////////8BACAA////////////////AAAO////////AwAAAAMA////////////////////////////////////////////////////////////////////////////////////////////////////////////////////////////////////////////////////////////////////////////////////////////////////////////////////////////////////////////////////////////////////////////////////////////////////////////////////////////////////////////////////////////////////////////////////////////////////////////////////////////////////////////////////////////////////////////////////////////////////////////////////////AgAFAP///////wUAAAACABAACyVjPNs/pedIkwiEviGvJR4EAAAAAAADAAAABAADAAAAAwADAAAAAAD///////8DAAAAAAD///////8DAAAAAAD///////8DAAAAAAD///////8DAAEA////////BQAAAAMAEAALbszo+rEGMEaXelj1kcZajgQAAAABAAMAAAACAAMAAAABAAQAAQD///////8FAAAABAAQAAuqSUFzl1CXSq0cFVZGUmLQ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WM82z+l50iTCIS+Ia8lHgREYXRhAAUAAAAAAk5hbWUADQAAAExpbmtEYXRhTGlzdAAQVmVyc2lvbgAAAAAACUxhc3RXcml0ZQBKoVg1lwEAAAABAP////9hAGEAAAAFX2lkABAAAAAEbszo+rEGMEaXelj1kcZajgREYXRhAAUAAAAAAk5hbWUADQAAAExpbmtEYXRhTGlzdAAQVmVyc2lvbgABAAAACUxhc3RXcml0ZQBKoVg1lwEAAAACAP////9wAHAAAAAFX2lkABAAAAAEqklBc5dQl0qtHBVWRlJi0ANEYXRhABYAAAACUGVyc29uYWxJZAABAAAAAAACTmFtZQALAAAAUGVyc29uYWxJZAAQVmVyc2lvbgAAAAAACUxhc3RXcml0ZQDLoVg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UAAAACAP///////wUAAAACAP///////////////////////////////////////////////////////////////////////////////////////////////////////////////////////////////////////////////////////////////////////////////////////////////////////////////////////////////////////////////////////////////////////////////////////////////////////////////////////////////////////////////////////////////////////////////////////////////////////////////////////////////////////////////wEAIAH///////////////8AAA7///////8FAAAABAD///////////////////////////////////////////////////////////////////////////////////////////////////////////////////////////////////////////////////////////////////////////////////////////////////////////////////////////////////////////////////////////////////////////////////////////////////////////////////////////////////////////////////////////////////////////////////////////////////////////////////////////////////////////////////////////////////////////////////////////////////////////////////////8CAAUBAwAAAAIA////////DgAGTGlua0RhdGFMaXN0XzAEAAAAAAAFAAAAAAAFAAAAAwAFAAAAAAD///////8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34905386419"/>
  <p:tag name="EMPOWERCHARTSPROPERTIES_B_LENGTH" val="24576"/>
  <p:tag name="DOWN_MIGRATION_INITIAL_LAYOUT_REQUIRED" val="9.2.99"/>
  <p:tag name="RUNTIME_ID" val="1e43e9b6-cb54-44b4-865f-5a6447dab124"/>
</p:tagLst>
</file>

<file path=ppt/tags/tag6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wD///////////////////////////////////////////////////////////////////////////////////////////////////////////////////////////////////////////////////////////////////////////////////////////////////////////////////////////////////////////////////////////////////////////////////////////////////////////////////////////////////////////////////////////////////////////////////////////////////////////////////////////////////////////////////////////////////////////////////////////////8BACAA////////////////AAAO////////AwAAAAMA////////////////////////////////////////////////////////////////////////////////////////////////////////////////////////////////////////////////////////////////////////////////////////////////////////////////////////////////////////////////////////////////////////////////////////////////////////////////////////////////////////////////////////////////////////////////////////////////////////////////////////////////////////////////////////////////////////////////////////////////////////////////////////AgABAP///////wUAAAACABAAC37UOSauCUdHvuvVY2BiL58EAAAAAAADAAAABAADAAAAAwADAAIA////////BQAAAAMAEAALDuj2QTlapUmoLLoIepUVvgQAAAABAAMAAAACAAMAAAABAAMAAAAAAP///////wQAAQD///////8FAAAABAAQAAv14dkQJIpgT4XTTJh5cVLi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tQ5Jq4JR0e+69VjYGIvnwREYXRhAAUAAAAAAk5hbWUADQAAAExpbmtEYXRhTGlzdAAQVmVyc2lvbgAAAAAACUxhc3RXcml0ZQDgMlg1lwEAAAABAP////9hAGEAAAAFX2lkABAAAAAEDuj2QTlapUmoLLoIepUVvgREYXRhAAUAAAAAAk5hbWUADQAAAExpbmtEYXRhTGlzdAAQVmVyc2lvbgABAAAACUxhc3RXcml0ZQDkMlg1lwEAAAACAP////9wAHAAAAAFX2lkABAAAAAE9eHZECSKYE+F00yYeXFS4gNEYXRhABYAAAACUGVyc29uYWxJZAABAAAAAAACTmFtZQALAAAAUGVyc29uYWxJZAAQVmVyc2lvbgAAAAAACUxhc3RXcml0ZQAAM1g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34621852453"/>
  <p:tag name="EMPOWERCHARTSPROPERTIES_B_LENGTH" val="24576"/>
  <p:tag name="DOWN_MIGRATION_INITIAL_LAYOUT_REQUIRED" val="9.2.99"/>
  <p:tag name="RUNTIME_ID" val="e2a5ac7a-3ce1-4739-9191-c53c80d5def5"/>
</p:tagLst>
</file>

<file path=ppt/tags/tag65.xml><?xml version="1.0" encoding="utf-8"?>
<p:tagLst xmlns:a="http://schemas.openxmlformats.org/drawingml/2006/main" xmlns:r="http://schemas.openxmlformats.org/officeDocument/2006/relationships" xmlns:p="http://schemas.openxmlformats.org/presentationml/2006/main">
  <p:tag name="MIO_SHAPETYPES_TEXTELEMENT" val="MIO_FOOTNOTE"/>
  <p:tag name="MIO_GUID" val="a157cc83-2741-44ad-8ec9-61ce4e2c7685"/>
  <p:tag name="MIO_EK" val="652"/>
  <p:tag name="MIO_EKGUID" val="8b0b4110-6ccd-4223-a904-7c58940fb73f"/>
  <p:tag name="MIO_UPDATE" val="True"/>
  <p:tag name="MIO_VERSION" val="08.02.2021 13:37:34"/>
  <p:tag name="MIO_DBID" val="F71ED0A2-672B-4E8B-BF42-C978919BF8E2"/>
  <p:tag name="MIO_LASTDOWNLOADED" val="12.04.2023 15:50:42.919"/>
  <p:tag name="MIO_OBJECTNAME" val="Fußnote_Quelle"/>
  <p:tag name="MIO_LASTEDITORNAME" val="Daniela Heisig"/>
</p:tagLst>
</file>

<file path=ppt/tags/tag6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qgsAAAAAAAAAAAAAIAD///////////////8AAAD///////////////8DAAAAAgD///////8DAAAAAgD///////8DAAAAAwD///////8DAAAAAwD///////8DAAAAAwD///////////////////////////////////////////////////////////////////////////////////////////////////////////////////////////////////////////////////////////////////////////////////////////////////////////////////////////////////////////////////////////////////////////////////////////////////////////////////////////////////////////////////////////////////////////////////////////////////////////////////////////////////////////////8BACAA////////////////AAAO////////AwAAAAQA////////////////////////////////////////////////////////////////////////////////////////////////////////////////////////////////////////////////////////////////////////////////////////////////////////////////////////////////////////////////////////////////////////////////////////////////////////////////////////////////////////////////////////////////////////////////////////////////////////////////////////////////////////////////////////////////////////////////////////////////////////////////////////AgACAP///////wUAAAACABAAC+X5cDzlN+dGifBKK2NzzVEEAAAAAAADAAAAAAADAAAAAwADAAAAAAADAAAAAwADAAUA////////BQAAAAMAEAAL9bqDdH7cwkWJ/MjiAoGK/QQAAAABAAMAAAACAAMAAAAEAAMAAAACAAMAAAAEAAMAAAAAAAMAAAAEAAMAAAAAAAMAAAAEAAMAAAAAAAMAAAAEAAQABQD///////8FAAAABAAQAAvz0bLjPC7SQ6TR6VaHjwRQBAAAAAIAAwAAAAMAAwAAAAEAAwAAAAMA////////AwAAAAM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5flwPOU350aJ8EorY3PNUQREYXRhAAUAAAAAAk5hbWUADQAAAExpbmtEYXRhTGlzdAAQVmVyc2lvbgABAAAACUxhc3RXcml0ZQBxwKE1lwEAAAABAP////9hAGEAAAAFX2lkABAAAAAE9bqDdH7cwkWJ/MjiAoGK/QREYXRhAAUAAAAAAk5hbWUADQAAAExpbmtEYXRhTGlzdAAQVmVyc2lvbgAAAAAACUxhc3RXcml0ZQBxwKE1lwEAAAACAP////9wAHAAAAAFX2lkABAAAAAE89Gy4zwu0kOk0elWh48EUANEYXRhABYAAAACUGVyc29uYWxJZAABAAAAAAACTmFtZQALAAAAUGVyc29uYWxJZAAQVmVyc2lvbgAAAAAACUxhc3RXcml0ZQCRwKE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UAAAADAP///////////////////////////////////////////////////////////////////////////////////////////////////////////////////////////////////////////////////////////////////////////////////////////////////////////////////////////////////////////////////////////////////////////////////////////////////////////////////////////////////////////////////////////////////////////////////////////////////////////////////////////////////////////////wEAIAH///////////////8AAA7///////8FAAAABAD///////////////////////////////////////////////////////////////////////////////////////////////////////////////////////////////////////////////////////////////////////////////////////////////////////////////////////////////////////////////////////////////////////////////////////////////////////////////////////////////////////////////////////////////////////////////////////////////////////////////////////////////////////////////////////////////////////////////////////////////////////////////////////8CAAIBAwAAAAIA////////DgAGTGlua0RhdGFMaXN0XzEEAAAAAAAFAAAAAwAFAAAABAAFAAAAAwD///////8DAAUBAwAAAAMA////////DgAGTGlua0RhdGFMaXN0XzAEAAAAAQAFAAAAAAAFAAAAAg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82825309097"/>
  <p:tag name="EMPOWERCHARTSPROPERTIES_B_LENGTH" val="24576"/>
  <p:tag name="DOWN_MIGRATION_INITIAL_LAYOUT_REQUIRED" val="9.2.99"/>
  <p:tag name="RUNTIME_ID" val="aa757304-a160-40cd-98d7-51f217a5e0fd"/>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 name="EMPOWER_OVERLAY_IGNORE" val="Yes please."/>
  <p:tag name="MIO_SELECTION_PROXY" val="000002a6-0007-0000-517e-96ff00000000"/>
</p:tagLst>
</file>

<file path=ppt/tags/tag68.xml><?xml version="1.0" encoding="utf-8"?>
<p:tagLst xmlns:a="http://schemas.openxmlformats.org/drawingml/2006/main" xmlns:r="http://schemas.openxmlformats.org/officeDocument/2006/relationships" xmlns:p="http://schemas.openxmlformats.org/presentationml/2006/main">
  <p:tag name="UNIQUEID" val="05fe673f-08d3-48e5-95fa-2084be3cb561"/>
  <p:tag name="DATALABELS - BACKGROUND" val="True"/>
  <p:tag name="DATALABELS - VALUE" val="True"/>
  <p:tag name="METADATA - EXCELNUMBERFORMAT" val="General"/>
  <p:tag name="COLUMNSUMS - VISIBLE" val="False"/>
  <p:tag name="MIO_CHART_TEMPLATE_TYPE" val="97C8B62E-1C85-4513-B77A-4D5A7A020048"/>
  <p:tag name="MIO_SKIP_CDCHECK" val="true"/>
  <p:tag name="NA_EXTENSION_LIST_ADDED" val="yes."/>
  <p:tag name="EMPOWER DO NOT TRANSLATE" val="true"/>
  <p:tag name="METADATA - EXACTFONTSIZE" val="10"/>
  <p:tag name="DOWN_MIGRATION_INITIAL_LAYOUT_REQUIRED" val="9.2.99"/>
  <p:tag name="LAST_TOUCHED_CHARTS_VERSION" val="9.5"/>
  <p:tag name="RUNTIME_ID" val="d7352e9d-5a1a-4f4f-94dc-241cf7416ac3"/>
  <p:tag name=" - MIN_VERSION_NEEDED" val="8.10.200.0"/>
  <p:tag name="EMPOWERCHARTSPROPERTIES_B_0" val="AAAAAAH//////////wEAAAAAAAAAAAAAACoqIFRoaXMgaXMgYSBMaXRlREIgZmlsZSAqKgdjAf////9Z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OAAAAAAAAABBAAAACQAAAF9pZD0kLl9pZAEDAAAAAAADAAAAAQBFAAAACwAAAE5hbWU9JC5OYW1lAAQAAAAAAAQAAAABAD8AAAARAAAAVmVyc2lvbj0kLlZlcnNpb24ABQAAAAAABQAAAAEABQAAACMAAABDb21iaUluZGV4PSQuTmFtZSArICdfJyArICQuVmVyc2lvbgFPAAAAAABPAAAAAQBQAAAAAAAAAAD///////8AAAAAAAD/////AAAAAAD///////8AAAAAAAD/////AAAAAAD///////8AAAAAAAD/////AAAAAAD///////8AAAAAAAD/////AAAAAAD///////8AAAAAAAD/////AAAAAAD///////8AAAAAAAD/////AAAAAAD///////8AAAAAAAD/////AAAAAAD///////8AAAAAAAD/////AAAAAAD///////8AAAAAAAD/////AAAAAAD///////8AAAAAAAD/////AAAAAAD///////8AAAAAAAD/////AAAAAAD///////8AAA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gFBQEBAQEBAQEBAQEBAV4AAAAAAAAAAwAAAAP//////////zQAJwAAAAAAAAAAAAAAIAD///////////////8AAAD///////////////8DAAAAAgD///////8DAAAAAgD///////8DAAAAAgD///////8DAAAACAD///////8DAAAAEQD///////8DAAAAEQD///////8DAAAAEQD///////////////////////////////////////////////////////////////////////////////////////////////////////////////////////////////////////////////////////////////////////////////////////////////////////////////////////////////////////////////////////////////////////////////////////////////////////////////////////////////////////////////////////////////////////////////////////////////////////////////8BACAA////////////////AAAO////////RQAAAAUA////////////////////////////////////////////////////////////////////////////////////////////////////////////////////////////////////////////////////////////////////////////////////////////////////////////////////////////////////////////////////////////////////////////////////////////////////////////////////////////////////////////////////////////////////////////////////////////////////////////////////////////////////////////////////////////////////////////////////////////////////////////////////////AgADAP///////08AAAACABAAC2sYTAPknbdOvKbbaTbV6EsGAAAAAAADAAAAAAADAAAAAwADAAAAAAADAAAAAwADAAAAAAADAAAAAwADAAMA////////TwAAAAMAEAALhOOBEWX5gUyRTT0XaFF4BQYAAAABAAMAAAACAAMAAAAEAAMAAAACAAMAAAAEAAMAAAACAAMAAAAHAAQAAgD///////9PAAAABAAQAAuR368Rik5HTKwdj33ocLYQBgAAAAIAAwAAAAMAAwAAAAUAAwAAAAMAAwAAAAcABQABAP///////08AAAAFABAAC3+S3xEfGylCke38gn1iX4YGAAAAAwADAAAABAADAAAABgAGAAEA////////TwAAAAYAEAAL30RiFIXFv0G+jaVvvq1B8AYAAAAEAAMAAAAFAAMAAAAHAAcAAwD///////9PAAAABwAQAAvHIOoYEUqERald4lOUwre1BgAAAAUAAwAAAAYAAwAAAAgAAwAAAAQAAwAAAAgAAwAAAAMAAwAAAAgACAAEAP///////08AAAAIABAAC9M5/xhz64xFnXu46+ZGHroHAAAAAAADAAAABwADAAAACQADAAAABwADAAAACwADAAAABwADAAAADgADAAAAAAADAAAAEQAJAAEA////////TwAAAAkAEAALNzQlH1RY/k2h4x5XuXFjsgYAAAAGAAMAAAAIAAMAAAAKAAoAAQD///////9PAAAACgAQAAtGiSAhWV6QR5s61ElC0NboCAAAAAAAAwAAAAkAAwAAAAsACwACAP///////08AAAALABAACxpPFyYT4LJKsSuQNVpnJo0IAAAAAQADAAAACgADAAAADAADAAAACAADAAAADAAMAAIA////////TwAAAAwAEAALrmGtKK+tV0its0FolE06hwgAAAACAAMAAAALAAMAAAANAAMAAAALAAMAAAANAA0AAgD///////9PAAAADQAQAAtZYI4twb4wSbpyv+nfxuOYEQAAAAAAAwAAAAwAAwAAAA4AAwAAAAwAAwAAAA4ADgADAP///////08AAAAOABAAC/7Api6dn19Hia+FcqGYVk0RAAAAAQADAAAADQADAAAADwADAAAADQADAAAADwADAAAACAADAAAAEAAPAAIA////////TwAAAA8AEAALs2khOegnqEiiYD5OOe12WBEAAAACAAMAAAAOAAMAAAAQAAMAAAAOAAMAAAAQABAAAwD///////9PAAAAEAAQAAt1Wec7/GaSRoJg1Df2GAPDEgAAAAAAAwAAAA8AAwAAABEAAwAAAA8AAwAAABEAAwAAAA4AAwAAABEAEQAHAP///////08AAAARABAACwjf0T3Gip1Km7iJ6TcqVrgSAAAAAQADAAAAEAADAAAAEgADAAAAEAADAAAAFQADAAAAEAADAAAAFgADAAAACAADAAAAFgADAAAAAAADAAAAIwADAAAAAAD///////8DAAAAAAD///////8SAAEA////////TwAAABIAEAALfyThSuoTIUiOSt2LSUHr6RIAAAACAAMAAAARAAMAAAATABMAAQD///////9PAAAAEwAQAAsdgNlQKzaKTYdyT7pSEx4yEgAAAAMAAwAAABIAAwAAABQAFAABAP///////08AAAAUABAAC60sfVGTxCpGj6j2xF2FwjUSAAAABAADAAAAEwADAAAAFQAVAAIA////////TwAAABUAEAALbnvKUvJ4HEWg4bOajmrH0hIAAAAFAAMAAAAUAAMAAAAWAAMAAAARAAMAAAAWABYABAD///////9PAAAAFgAQAAuo1JpTf78IRYZifBs8NTK6EgAAAAYAAwAAABUAAwAAABcAAwAAABUAAwAAABkAAwAAABEAAwAAABwAAwAAABEAAwAAABwAFwABAP///////08AAAAXABAAC6sIr1cisodNs/6Z08iYZ6cSAAAABwADAAAAFgADAAAAGAAYAAEA////////TwAAABgAEAAL4g/gaNZ7lU2Twiqw9SVZRxIAAAAIAAMAAAAXAAMAAAAZABkAAgD///////9PAAAAGQAQAAvOnXBq3YLPQYrZ9RGWhzHuEgAAAAkAAwAAABgAAwAAABoAAwAAABYAAwAAABsAGgABAP///////08AAAAaABAAC5OqiGymuthKgyexWCnKY0YSAAAACgADAAAAGQADAAAAGwAbAAIA////////TwAAABsAEAALAssDb5plt0CV12crL63/lBIAAAALAAMAAAAaAAMAAAAcAAMAAAAZAAMAAAAcABwABAD///////9PAAAAHAAQAAsWYPt0Wzf6RZUGCFIUJ1c5EgAAAAwAAwAAABsAAwAAAB0AAwAAABsAAwAAAB0AAwAAABYAAwAAACMAAwAAABYAAwAAACMAHQACAP///////08AAAAdABAACyiOkXzvJtpHpzCLGNV9TMUkAAAAAAADAAAAHAADAAAAHgADAAAAHAADAAAAIwAeAAEA////////TwAAAB4AEAALE+nvf7lx3USNwSkjXFjmGCQAAAABAAMAAAAdAAMAAAAfAB8AAQD///////9PAAAAHwAQAAteXfCEun39SpZUxRjrLmgCJAAAAAIAAwAAAB4AAwAAACAAIAABAP///////08AAAAgABAAC8u6wIVcqzFCtNy3Ohm6XpAkAAAAAwADAAAAHwADAAAAIQAhAAEA////////TwAAACEAEAAL05XiheUn+0G4vCWjJT8UJiQAAAAEAAMAAAAgAAMAAAAiACIAAQD///////9PAAAAIgAQAAuHaJWH7JGIQryIz9ZKY5I/JAAAAAUAAwAAACEAAwAAACMAIwAFAP///////08AAAAjABAACxV1gJRVsVVJst1qfj7EG0wkAAAABgADAAAAIgADAAAAJAADAAAAHQADAAAAJAADAAAAHAADAAAAJAADAAAAHAD///////8DAAAAEQD///////8kAAMA////////TwAAACQAEAAL0k0Tlcwe40+91EieNksWHCQAAAAHAAMAAAAjAAMAAAAlAAMAAAAjAAMAAAAlAAMAAAAjAAMAAAAzACUAAgD///////9PAAAAJQAQAAueQLyjXM1fSra1Xt0X+PayJAAAAAgAAwAAACQAAwAAACYAAwAAACQAAwAAACoAJgABAP///////08AAAAmABAAC+hoSKUwwdxKl+q9TD0UfM0nAAAAAAADAAAAJQADAAAAJwAnAAEA////////TwAAACcAEAALi50AqQtzuEGVqeJj65T/8ycAAAABAAMAAAAmAAMAAAAoACgAAQD///////9PAAAAKAAQAAv1ld2pxzsNT7o6mfVWWeh4JwAAAAIAAwAAACcAAwAAACkAKQABAP///////08AAAApABAAC91fWrIlbJxPpbVsPP4BItEnAAAAAwADAAAAKAADAAAAKgAqAAIA////////TwAAACoAEAALhe0BtZN2wUCR1JtiZ2I4uScAAAAEAAMAAAApAAMAAAArAAMAAAAlAAMAAAAvACsAAQD///////9PAAAAKwAQAAva5XS4raMkSZtIqb6s5HkLKwAAAAAAAwAAACoAAwAAACwALAABAP///////08AAAAsABAACz2gRroknOJHjdJMGp5iliMrAAAAAQADAAAAKwADAAAALQAtAAEA////////TwAAAC0AEAAL2Jhnw7fST0COkN7LNqt9USsAAAACAAMAAAAsAAMAAAAuAC4AAQD///////9PAAAALgAQAAs8YajIrfTWQ7IesrmcwqgaKwAAAAMAAwAAAC0AAwAAAC8ALwACAP///////08AAAAvABAAC6DwM8sZExlHrLLPNqdo6oorAAAABAADAAAALgADAAAAMAADAAAAKgADAAAAMAAwAAIA////////TwAAADAAEAALzH1wy2rHpE+PFa3JHfKskCsAAAAFAAMAAAAvAAMAAAAxAAMAAAAvAAMAAAAxADEAAgD///////9QAAAAAAAQAAvs+Z/Nudr2SaySXo4qiDt4QAAAAAAAAwAAADAAAwAAADIAAwAAADAAAwAAADMAMgABAP///////1AAAAABABAAC58Dc9dcDMpEkUzWS/RHphlBAAAAAAADAAAAMQADAAAAMwAzAAMA////////UAAAAAIAEAALBWst2oCqgEqesZL+EO6IJUEAAAABAAMAAAAyAEUAAAAAAAMAAAAxAEUAAAAAAAMAAAAkAEUAAAADAAAAAAAAAAAAAAAAAAAAAAAAAAAAAAAAAAAAAAAAAAAAAAAAAAAAAAQAAAAD//////////8vADIAAAAAAAAAAAAAACAB////////////////AAAA////////////////BAAAAB0A////////BAAAAB0A////////BAAAAB0A////////BAAAAB0A////////BAAAACwA////////BAAAABIA////////BAAAABIA////////BAAAAC0A////////////////////////////////////////////////////////////////////////////////////////////////////////////////////////////////////////////////////////////////////////////////////////////////////////////////////////////////////////////////////////////////////////////////////////////////////////////////////////////////////////////////////////////////////////////////////////////////AQAgAf///////////////wAADv///////wQAAAAkAP///////////////////////////////////////////////////////////////////////////////////////////////////////////////////////////////////////////////////////////////////////////////////////////////////////////////////////////////////////////////////////////////////////////////////////////////////////////////////////////////////////////////////////////////////////////////////////////////////////////////////////////////////////////////////////////////////////////////////////////////////////////////////////wIAAwEFAAAAAgD///////8aAAZFeGNlbENvbG9yTW9kZURhdGFQcm9wZXJ0eQYAAAAAAD8AAAAFAAQAAAAXAD8AAAAFAAQAAAAXAAQAAAAsAAQAAAASAAMAAQEFAAAAAwD///////8ZAAZTaGFwZUNvbnN0cnVjdGVkQ2hhcnREYXRhBgAAAAEAPwAAAAQABAAAACEABAAEAQUAAAAEAP///////x4ABkF6dXJlSW5mb3JtYXRpb25Qcm90ZWN0aW9uRGF0YQYAAAACAD8AAAAIAAQAAAAYAD8AAAAIAD8AAAAHAD8AAAAIAD8AAAAHAAQAAAAdAD8AAAAJAAUAAQEFAAAABQD///////8RAAZDb2xvckRhdGFQcm9wZXJ0eQYAAAADAAQAAAAqAAQAAAALAAYAAQEFAAAABgD///////8LAAZMZWFkZXJMaW5lcwYAAAAEAAQAAAAnAAQAAAARAAcAAQEFAAAABwD///////8nAAZQb2ludEFuZFNlcmllc0FkZGl0aW9uU3R5bGVzRGVmaW5pdGlvbnMGAAAABQAEAAAADQAEAAAACQAIAAEBBQAAAAgA////////CwAGTWFya2Vyc0RhdGEHAAAAAAA/AAAAAAAEAAAADAAJAAQBBQAAAAkA////////JwAGUG9pbnRBbmRTZXJpZXNBZGRpdGlvblN0eWxlc0RlZmluaXRpb25zBgAAAAYABAAAAAcABAAAABQABAAAACAABAAAABMABAAAACkABAAAACMABAAAABoABAAAACMACgACAQUAAAAKAP///////woABkRhdGFMYWJlbHMIAAAAAAAEAAAADgAEAAAAFQAEAAAADgAEAAAALAALAAEBBQAAAAsA////////DAAGQ29sb3JJbmRpY2VzCAAAAAEABAAAAAUABAAAAB4ADAABAQUAAAAMAP///////w0ABk51bWJlckZvcm1hdHMIAAAAAgAEAAAACAAEAAAADwANAAEBBQAAAA0A////////DgAGUGxvdEFyZWFCb3JkZXIRAAAAAAAEAAAAIAAEAAAABwAOAAIBBQAAAA4A////////FAAGRGF0YUNoYXJ0Q29BdXRob3JpbmcRAAAAAQAEAAAAEAAEAAAACgAEAAAAHgAEAAAACgAPAAEBBQAAAA8A////////DQAGTnVtYmVyRm9ybWF0cxEAAAACAAQAAAAMAAQAAAAaABAAAQEFAAAAEAD///////8OAAZDb21tb25TZXR0aW5ncxIAAAAAAAQAAAAeAAQAAAAOABEAAQEFAAAAEQD///////8KAAZMZWdlbmREYXRhEgAAAAEABAAAAAYABAAAAB8AEgAHAQUAAAASAP///////wsABkV4Y2VsTWlycm9yEgAAAAIABAAAABcABAAAACgABAAAABcABAAAACgABAAAAAIAPwAAAAEABAAAACwABAAAABoABAAAACwABAAAACYABAAAAAAABAAAAC0ABAAAAAAABAAAAC0AEwACAQUAAAATAP///////x4ABlBvaW50QW5kU2VyaWVzU3R5bGVEZWZpbml0aW9ucxIAAAADAAQAAAAUAAQAAAAjAAQAAAAJAAQAAAAjABQAAQEFAAAAFAD///////8kAAZQb2ludEFuZFNlcmllc01hcmtlclN0eWxlRGVmaW5pdGlvbnMSAAAABAAEAAAACQAEAAAAEwAVAAEBBQAAABUA////////CgAGRGF0YUxhYmVscxIAAAAFAAQAAAAKAAQAAAArABYAAQEFAAAAFgD///////8KAAZTZXJpZXNEYXRhEgAAAAYABAAAACYABAAAABkAFwACAQUAAAAXAP///////xoABkV4Y2VsQ29sb3JNb2RlRGF0YVByb3BlcnR5EgAAAAcABAAAAAIABAAAABIABAAAAAIABAAAABIAGAABAQUAAAAYAP///////xMABkJyZWFrTWFuYWdlbWVudERhdGESAAAACAAEAAAABAA/AAAABwAZAAEBBQAAABkA////////DAAGU2VyaWVzTGFiZWxzEgAAAAkABAAAABYABAAAAC0AGgAEAQUAAAAaAP///////wgABk92ZXJsYXlzEgAAAAoABAAAAA8ABAAAACkABAAAAB8ABAAAACkABAAAAB8ABAAAACkABAAAABIABAAAAAkAGwAEAQUAAAAbAP///////xwABkNoYXJ0U3R5bGVTdGF0dXNJbmZvcm1hdGlvbnMSAAAACwA/AAAACQAEAAAAKgA/AAAACQAEAAAAKgA/AAAACQAEAAAAHgA/AAAACQAEAAAAHgAcAAIBBQAAABwA////////EAAGR3JpZGxpbmVTZXR0aW5ncxIAAAAMAD8AAAACAAQAAAAnAD8AAAABAAQAAAAnAB0ABAEFAAAAHQD///////8SAAZBZGRpdGlvbmFsQXhpc0RhdGEkAAAAAAAEAAAAAAA/AAAABgAEAAAAAAA/AAAABgAEAAAAAAA/AAAACAAEAAAAAAAEAAAABAAeAAQBBQAAAB4A////////EgAGQ29sdW1uU3Vtc1NldHRpbmdzJAAAAAEABAAAAAsABAAAABAABAAAACoABAAAAA4ABAAAABsABAAAACwABAAAABsABAAAACwAHwADAQUAAAAfAP///////woABkxlZ2VuZERhdGEkAAAAAgAEAAAAEQAEAAAAJQAEAAAAJwAEAAAAGgAEAAAAJwAEAAAAGgAgAAIBBQAAACAA////////CgAGUGVyc29uYWxJZCQAAAADAD8AAAAKAAQAAAANAAQAAAAuAAQAAAAJACEAAQEFAAAAIQD///////8JAAZXYXRlcmZhbGwkAAAABAAEAAAAAwAEAAAAJAAiAAEBBQAAACIA////////GgAGQXV0b21hdGljQnJlYWtTZXR0aW5nc0RhdGEkAAAABQA/AAAABgA/AAAAAwAjAAQBBQAAACMA////////HgAGUG9pbnRBbmRTZXJpZXNTdHlsZURlZmluaXRpb25zJAAAAAYABAAAABMABAAAACYABAAAABMABAAAACYABAAAAAkABAAAACYABAAAAAkABAAAACYAJAAEAQUAAAAkAP///////wkABldhdGVyZmFsbCQAAAAHAAQAAAAhAAQAAAABAD8AAAAEAP///////z8AAAAEAP///////z8AAAAEAP///////yUAAQEFAAAAJQD///////8MAAZMaW5rRGF0YUxpc3QkAAAACAAEAAAAHwA/AAAAAAAmAAUBBQAAACYA////////HgAGUG9pbnRBbmRTZXJpZXNTdHlsZURlZmluaXRpb25zJwAAAAAABAAAACMABAAAABYABAAAACMABAAAAC0ABAAAACMABAAAAC0ABAAAACMABAAAAC0ABAAAABIABAAAAC0AJwADAQUAAAAnAP///////xAABkdyaWRsaW5lU2V0dGluZ3MnAAAAAQAEAAAAHAAEAAAABgAEAAAAHAAEAAAAHwA/AAAAAQAEAAAAHwAoAAIBBQAAACgA////////FAAGR2VuZXJhbEV4Y2VsU2V0dGluZ3MnAAAAAgAEAAAAEgA/AAAAAQAEAAAAEgA/AAAAAQApAAMBBQAAACkA////////CAAGT3ZlcmxheXMnAAAAAwAEAAAAGgAEAAAALgAEAAAAGgAEAAAALgAEAAAAGgAEAAAACQAqAAIBBQAAACoA////////HAAGQ2hhcnRTdHlsZVN0YXR1c0luZm9ybWF0aW9ucycAAAAEAAQAAAAbAAQAAAAFAAQAAAAbAAQAAAAeACsAAQEFAAAAKwD///////8KAAZEYXRhTGFiZWxzKwAAAAAABAAAABUABAAAACwALAAFAQUAAAAsAP///////woABkRhdGFMYWJlbHMrAAAAAQAEAAAAKwA/AAAABQAEAAAACgA/AAAABQAEAAAAHgAEAAAAAgAEAAAAHgAEAAAAEgAEAAAAAAAEAAAAEgAtAAgBBQAAAC0A////////DAAGU2VyaWVzTGFiZWxzKwAAAAIABAAAABkAPwAAAAQABAAAACYAPwAAAAQABAAAACYAPwAAAAQABAAAACYAPwAAAAQABAAAACYA////////BAAAABIA////////BAAAABIA////////BAAAAAAA////////LgACAQUAAAAuAP///////wgABk92ZXJsYXlzKwAAAAMABAAAACkAPwAAAAoABAAAACkABAAAACAAAAAAAAAAAAAAAAAAAAAAAAAAAAAAAAAAAAAAAAAAAAAAAAAAAAAAAAAAAAAAAAAAAAAFAAAAAwAAAAD/////OgBlAQAAAAAAAAAAAAAgAv///////////////wAAAP///////////////wUAAAADAP///////wUAAAAEAP///////wUAAAAEAP///////wUAAAAJAP///////wUAAAAJAP///////////////////////////////////////////////////////////////////////////////////////////////////////////////////////////////////////////////////////////////////////////////////////////////////////////////////////////////////////////////////////////////////////////////////////////////////////////////////////////////////////////////////////////////////////////////////////////////////////////////////////////////////////////////wEAIAL///////////////8AAA7///////8FAAAAKwD///////////////////////////////////////////////////////////////////////////////////////////////////////////////////////////////////////////////////////////////////////////////////////////////////////////////////////////////////////////////////////////////////////////////////////////////////////////////////////////////////////////////////////////////////////////////////////////////////////////////////////////////////////////////////////////////////////////////////////////////////////////////////////8CAAECTwAAAAIABAAAAAIABAACAgAAAAYAAAAAAAUAAAA2AAUAAAALAAMAAQJPAAAAAwAEAAAAAwAEAAIAAAAABgAAAAEABQAAAAAABQAAAAQABAADAk8AAAAEAAQAAAAEAAQAAgAAAAAGAAAAAgAFAAAAAwAFAAAABQAFAAAAAAAFAAAABQAFAAAAAAAFAAAABgAFAAICTwAAAAUABAAAAAUABAACAAAAAAYAAAADAAUAAAAEAAUAAAAGAAUAAAAEAAUAAAAGAAYAAwJPAAAABgAEAAAABgAEAAIAAAAABgAAAAQABQAAAAUABQAAAAkABQAAAAUABQAAAAkABQAAAAQABQAAAAkABwADAk8AAAAHAAQAAAAHAAQAAgEAAAAGAAAABQAFAAAAOAAFAAAACAAFAAAAOAAFAAAADwAFAAAAOAAFAAAADwAIAAECTwAAAAgABAAAAAgABAACAQAAAAcAAAAAAAUAAAAHAAUAAAAPAAkABQJPAAAACQAEAAAACQAEAAIAAAAABgAAAAYABQAAAAYABQAAAA0ABQAAAAYABQAAAA4ABQAAAAYABQAAAA4ABQAAAAAABQAAAA4ABQAAAAAABQAAABQACgACAk8AAAAKAAQAAAAKAAQAAgYAAAAIAAAAAAAFAAAAOQAFAAAAKQAFAAAAOQD///////8LAAECTwAAAAsABAAAAAsABAACAgAAAAgAAAABAAUAAAACAAUAAAAMAAwAAwJPAAAADAAEAAAADAAEAAICAAAACAAAAAIABQAAAAsABQAAABMABQAAAC8ABQAAAB8ABQAAAB0ABQAAADEADQABAk8AAAANAAQAAAANAAQAAgAAAAARAAAAAAAFAAAACQAFAAAADgAOAAQCTwAAAA4ABAAAAA4ABAACAAAAABEAAAABAAUAAAANAAUAAAAQAAUAAAAJAAUAAAAUAAUAAAAJAAUAAAAUAAUAAAAJAAUAAAAUAA8AAwJPAAAADwAEAAAADwAEAAIBAAAAEQAAAAIABQAAAAgABQAAABEABQAAAAcABQAAABEABQAAAAcABQAAAB0AEAABAk8AAAAQAAQAAAAQAAQAAgAAAAASAAAAAAAFAAAADgAFAAAAFAARAAICTwAAABEABAAAABEABAACAQAAABIAAAABAAUAAAAPAAUAAAASAAUAAAAPAAUAAAAXABIAAQJPAAAAEgAEAAAAEgAEAAIBAAAAEgAAAAIABQAAABEABQAAABcAEwABAk8AAAATAAQAAAATAAQAAgIAAAASAAAAAwAFAAAADAAFAAAAHwAUAAUCTwAAABQABAAAABQABAACAAAAABIAAAAEAAUAAAAQAAUAAAAWAAUAAAAOAAUAAAAbAAUAAAAOAAUAAAAcAAUAAAAOAAUAAAAcAAUAAAAJAAUAAAAxABUAAQJPAAAAFQAEAAAAFQAEAAIHAAAAEgAAAAUABQAAACkABQAAAC4AFgABAk8AAAAWAAQAAAAWAAQAAgAAAAASAAAABgAFAAAAFAAFAAAAGAAXAAICTwAAABcABAAAABcABAACAQAAABIAAAAHAAUAAAASAAUAAAAdAAUAAAARAAUAAAAdABgAAQJPAAAAGAAEAAAAGAAEAAIAAAAAEgAAAAgABQAAABYABQAAABsAGQABAk8AAAAZAAQAAAAZAAQAAgUAAAASAAAACQAFAAAANwAFAAAAMQAaAAECTwAAABoABAAAABoABAACCAAAABIAAAAKAAUAAAAuAAUAAAAsABsAAgJPAAAAGwAEAAAAGwAEAAIAAAAAEgAAAAsABQAAABgABQAAABwABQAAABQABQAAABwAHAAEAk8AAAAcAAQAAAAcAAQAAgAAAAASAAAADAAFAAAAGwAFAAAAHgAFAAAAGwAFAAAAIgAFAAAAFAAFAAAAJQAFAAAAFAAFAAAAMQAdAAMCTwAAAB0ABAAAAB0ABAACAQAAACQAAAAAAAUAAAAXAAUAAAAkAAUAAAAXAAUAAAAmAAUAAAAPAAUAAAAMAB4AAQJPAAAAHgAEAAAAHgAEAAIAAAAAJAAAAAEABQAAABwABQAAACAAHwACAk8AAAAfAAQAAAAfAAQAAgIAAAAkAAAAAgAFAAAAEwAFAAAAMwAFAAAADAAFAAAAMwAgAAECTwAAACAABAAAACAABAACAAAAACQAAAADAAUAAAAeAAUAAAAhACEAAQJPAAAAIQAEAAAAIQAEAAIAAAAAJAAAAAQABQAAACAABQAAACIAIgACAk8AAAAiAAQAAAAiAAQAAgAAAAAkAAAABQAFAAAAIQAFAAAAIwAFAAAAHAAFAAAAJQAjAAECTwAAACMABAAAACMABAACAAAAACQAAAAGAAUAAAAiAAUAAAAlACQAAQJPAAAAJAAEAAAAJAAEAAIBAAAAJAAAAAcABQAAAB0ABQAAACYAJQADAk8AAAAlAAQAAAAlAAQAAgAAAAAkAAAACAAFAAAAIwAFAAAAKAAFAAAAIgAFAAAAOAAFAAAAHAAFAAAAOAAmAAICTwAAACYABAAAACYABAACAQAAACcAAAAAAAUAAAAkAAUAAAAnAAUAAAAdAAUAAAAvACcAAQJPAAAAJwAEAAAAJwAEAAIBAAAAJwAAAAEABQAAACYABQAAACoAKAABAk8AAAAoAAQAAAAoAAQAAgAAAAAnAAAAAgAFAAAAJQAFAAAANQApAAECTwAAACkABAAAACkABAACBgAAACcAAAADAAUAAAAKAAUAAAAVACoAAQJPAAAAKgAEAAAAKgAEAAIBAAAAJwAAAAQABQAAACcABQAAAC8AKwABAk8AAAArAAQAAAArAAQAAgkAAAArAAAAAAAFAAAALAAFAAAAAQAsAAECTwAAACwABAAAACwABAACCAAAACsAAAABAAUAAAAaAAUAAAArAC0AAQJPAAAALQAEAAAALQAEAAIEAAAAKwAAAAIABQAAADMABQAAADAALgABAk8AAAAuAAQAAAAuAAQAAgcAAAArAAAAAwAFAAAAFQAFAAAAGgAvAAICTwAAAC8APwAAAAAABAACAQAAACsAAAAEAAUAAAAqAAUAAAA0AAUAAAAmAAUAAAAMADAAAQJPAAAAMAA/AAAAAQAEAAIEAAAAKwAAAAUABQAAAC0ABQAAADcAMQAFAlAAAAAAAD8AAAACAAQAAgUAAABAAAAAAAAFAAAAGQAFAAAAMgAFAAAANwAFAAAAMgAFAAAADAAFAAAAMgAFAAAAHAAFAAAAMgAFAAAAFAAFAAAAMgAyAAUCUAAAAAEAPwAAAAMABAACBQAAAEEAAAAAAAUAAAAxAAUAAAA5AAUAAAAxAAUAAAA5AAUAAAAxAP///////wUAAAAxAP///////wUAAAAxAP///////zMAAgJQAAAAAgA/AAAABAAEAAIDAAAAQQAAAAEABQAAAB8ABQAAAC0ABQAAAB8ABQAAADcANAABAlAAAAADAD8AAAAFAAQAAgEAAABBAAAAAgAFAAAALwAFAAAANgA1AAECUAAAAAQAPwAAAAYABAACAAAAAEEAAAADAAUAAAAoAAUAAAA4ADYAAQJQAAAABQA/AAAABwAEAAIBAAAAQQAAAAQABQAAADQABQAAAAIANwACAlAAAAAGAD8AAAAIAAQAAgQAAABBAAAABQAFAAAAMAAFAAAAGQAFAAAAMwAFAAAAMQA4AAMCUAAAAAcAPwAAAAkABAACAAAAAEEAAAAGAAUAAAA1AAUAAAAHAAUAAAAlAAUAAAAHAAUAAAAlAAUAAAAHADkAAgJQAAAACAA/AAAACgAEAAIFAAAAQQAAAAcABQAAADIABQAAAAoABQAAADIABQAAAAo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AAAAT//////////wcA6gQAAAAAAAAAAAAAUQAAAAAAAQD/////ewB7AAAABV9pZAAQAAAABITjgRFl+YFMkU09F2hReAUDRGF0YQASAAAABFNlcmllcwAFAAAAAAACTmFtZQAaAAAAU2hhcGVDb25zdHJ1Y3RlZENoYXJ0RGF0YQAQVmVyc2lvbgAAAAAACUxhc3RXcml0ZQDWo11oiQEAAAACAP////9zAHMAAAAFX2lkABAAAAAEkd+vEYpOR0ysHY996HC2EANEYXRhAAUAAAAAAk5hbWUAHwAAAEF6dXJlSW5mb3JtYXRpb25Qcm90ZWN0aW9uRGF0YQAQVmVyc2lvbgAAAAAACUxhc3RXcml0ZQDvXE9GgAEAAAADAP////+BAIEAAAAFX2lkABAAAAAEf5LfER8bKUKR7fyCfWJfhgNEYXRhACAAAAADU2VyaWVzTmVnYXRpdmVDb2xvcnMABQAAAAAAAk5hbWUAEgAAAENvbG9yRGF0YVByb3BlcnR5ABBWZXJzaW9uAAAAAAAJTGFzdFdyaXRlACb2749vAQAAAAQA/////7IAsgAAAAVfaWQAEAAAAATfRGIUhcW/Qb6NpW++rUHwA0RhdGEAVwAAAANTZXR0aW5nc1BlckF4aXMAQQAAAANQcmltYXJ5ABQAAAAISXNJbkF1dG9Nb2RlAAEAA1NlY29uZGFyeQAUAAAACElzSW5BdXRvTW9kZQABAAAAAk5hbWUADAAAAExlYWRlckxpbmVzABBWZXJzaW9uAAAAAAAJTGFzdFdyaXRlAGDrP2mNAQAAAAUA/////1IEUgQAAAVfaWQAEAAAAATHIOoYEUqERald4lOUwre1A0RhdGEA2wMAAARQb2ludEFkZGl0aW9uYWxTdHlsZXMAzwIAAAMwAHQAAAADUG9pbnRBZGRyZXNzADMAAAAQU2VyaWVzSW5kZXgAAQAAABBQb2ludEluZGV4AAEAAAAISXNQb2ludFN1bQAAAANBZGRpdGlvbmFsU3R5bGVzABwAAAACRmlsbFBhdHRlcm4ABgAAAFVuc2V0AAAAAzEAdAAAAANQb2ludEFkZHJlc3MAMwAAABBTZXJpZXNJbmRleAABAAAAEFBvaW50SW5kZXgAAgAAAAhJc1BvaW50U3VtAAAAA0FkZGl0aW9uYWxTdHlsZXMAHAAAAAJGaWxsUGF0dGVybgAGAAAAVW5zZXQAAAADMgB0AAAAA1BvaW50QWRkcmVzcwAzAAAAEFNlcmllc0luZGV4AAEAAAAQUG9pbnRJbmRleAADAAAACElzUG9pbnRTdW0AAAADQWRkaXRpb25hbFN0eWxlcwAcAAAAAkZpbGxQYXR0ZXJuAAYAAABVbnNldAAAAAMzAHQAAAADUG9pbnRBZGRyZXNzADMAAAAQU2VyaWVzSW5kZXgAAQAAABBQb2ludEluZGV4AAQAAAAISXNQb2ludFN1bQAAAANBZGRpdGlvbmFsU3R5bGVzABwAAAACRmlsbFBhdHRlcm4ABgAAAFVuc2V0AAAAAzQAdAAAAANQb2ludEFkZHJlc3MAMwAAABBTZXJpZXNJbmRleAABAAAAEFBvaW50SW5kZXgABQAAAAhJc1BvaW50U3VtAAAAA0FkZGl0aW9uYWxTdHlsZXMAHAAAAAJGaWxsUGF0dGVybgAGAAAAVW5zZXQAAAADNQB0AAAAA1BvaW50QWRkcmVzcwAzAAAAEFNlcmllc0luZGV4AAEAAAAQUG9pbnRJbmRleAAGAAAACElzUG9pbnRTdW0AAAADQWRkaXRpb25hbFN0eWxlcwAcAAAAAkZpbGxQYXR0ZXJuAAYAAABVbnNldAAAAAADU2VyaWVzQWRkaXRpb25hbFN0eWxlcwDYAAAAAzEA0AAAABBTZXJpZXNJbmRleAABAAAAA0FkZGl0aW9uYWxTdHlsZXMAqAAAAAJGaWxsUGF0dGVybgAIAAAARGVmYXVsdAADRmlsbENvbG9yT3JUaGVtZUNvbG9yAHMAAAAQVGhlbWVDb2xvcgAAAAAAAVRpbnRBbmRTaGFkZQAAAAAAAAAAABBUaW50SW5kZXgA/////xBTY2hlbWVDb2xvcgAAAAAAA0NvbG9yACEAAAAQQQD/AAAAEFIAAAAAABBHAAAAAAAQQgAAAAAAAAAAAAAAAk5hbWUAKAAAAFBvaW50QW5kU2VyaWVzQWRkaXRpb25TdHlsZXNEZWZpbml0aW9ucwAQVmVyc2lvbgABAAAACUxhc3RXcml0ZQBBs2c1lwEAAAAGAP////9SBFIEAAAFX2lkABAAAAAENzQlH1RY/k2h4x5XuXFjsgNEYXRhANsDAAAEUG9pbnRBZGRpdGlvbmFsU3R5bGVzAM8CAAADMAB0AAAAA1BvaW50QWRkcmVzcwAzAAAAEFNlcmllc0luZGV4AAEAAAAQUG9pbnRJbmRleAABAAAACElzUG9pbnRTdW0AAAADQWRkaXRpb25hbFN0eWxlcwAcAAAAAkZpbGxQYXR0ZXJuAAYAAABVbnNldAAAAAMxAHQAAAADUG9pbnRBZGRyZXNzADMAAAAQU2VyaWVzSW5kZXgAAQAAABBQb2ludEluZGV4AAIAAAAISXNQb2ludFN1bQAAAANBZGRpdGlvbmFsU3R5bGVzABwAAAACRmlsbFBhdHRlcm4ABgAAAFVuc2V0AAAAAzIAdAAAAANQb2ludEFkZHJlc3MAMwAAABBTZXJpZXNJbmRleAABAAAAEFBvaW50SW5kZXgAAwAAAAhJc1BvaW50U3VtAAAAA0FkZGl0aW9uYWxTdHlsZXMAHAAAAAJGaWxsUGF0dGVybgAGAAAAVW5zZXQAAAADMwB0AAAAA1BvaW50QWRkcmVzcwAzAAAAEFNlcmllc0luZGV4AAEAAAAQUG9pbnRJbmRleAAEAAAACElzUG9pbnRTdW0AAAADQWRkaXRpb25hbFN0eWxlcwAcAAAAAkZpbGxQYXR0ZXJuAAYAAABVbnNldAAAAAM0AHQAAAADUG9pbnRBZGRyZXNzADMAAAAQU2VyaWVzSW5kZXgAAQAAABBQb2ludEluZGV4AAUAAAAISXNQb2ludFN1bQAAAANBZGRpdGlvbmFsU3R5bGVzABwAAAACRmlsbFBhdHRlcm4ABgAAAFVuc2V0AAAAAzUAdAAAAANQb2ludEFkZHJlc3MAMwAAABBTZXJpZXNJbmRleAABAAAAEFBvaW50SW5kZXgABgAAAAhJc1BvaW50U3VtAAAAA0FkZGl0aW9uYWxTdHlsZXMAHAAAAAJGaWxsUGF0dGVybgAGAAAAVW5zZXQAAAAAA1Nlcmllc0FkZGl0aW9uYWxTdHlsZXMA2AAAAAMxANAAAAAQU2VyaWVzSW5kZXgAAQAAAANBZGRpdGlvbmFsU3R5bGVzAKgAAAACRmlsbFBhdHRlcm4ACAAAAERlZmF1bHQAA0ZpbGxDb2xvck9yVGhlbWVDb2xvcgBzAAAAEFRoZW1lQ29sb3IAAAAAAAFUaW50QW5kU2hhZGUAAAAAAAAAAAAQVGludEluZGV4AP////8QU2NoZW1lQ29sb3IAAAAAAANDb2xvcgAhAAAAEEEA/wAAABBSAAAAAAAQRwAAAAAAEEIAAAAAAAAAAAAAAAJOYW1lACgAAABQb2ludEFuZFNlcmllc0FkZGl0aW9uU3R5bGVzRGVmaW5pdGlvbnMAEFZlcnNpb24AAAAAAAlMYXN0V3JpdGUAN7Nn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E//////////8BAB0FAAAAAAAAAAAAAP/////CCsIKAAAFX2lkABAAAAAE0zn/GHPrjEWde7jr5kYeugNEYXRhAGcKAAADU2VyaWVzU3R5bGVzAGgBAAADMQBgAQAAAlN0eWxlABIAAAB4bE1hcmtlclN0eWxlTm9uZQAQU2l6ZQAIAAAAA0NvbG9yAFUAAAAQQQD/AAAAEFIAEgAAABBHAD8AAAAQQgBuAAAAAVNjQQAAAAAAAADwPwFTY1IAAAAAQKnGeD8BU2NHAAAAAKAjc6k/AVNjQgAAAAAAZvXDPwABVGludAAAAAAAAAAAAANUaGVtZUNvbG9yUG9zaXRpb24AtgAAAAJfdHlwZQBRAAAAZW1wb3dlci5DaGFydHMuQ29tbW9uLkNvbG9yVHJhbnNsYXRpb24uVGhlbWVDb2xvclBvc2l0aW9uLCBlbXBvd2VyLkNoYXJ0cy5Db21tb24AEFRoZW1lQ29sb3JTY2hlbWVJbmRleAAFAAAAAkluZGV4AAcAAABOb1RpbnQACElzRGVmYXVsdENvbG9yAAAQRGVmYXVsdENvbG9ySW5kZXgA/////wAAAARQb2ludFN0eWxlcwCnCAAAAzAAtwEAAANQb2ludEFkZHJlc3MAMwAAABBTZXJpZXNJbmRleAABAAAAEFBvaW50SW5kZXgAAQAAAAhJc1BvaW50U3VtAAAAA01hcmtlclN0eWxlRGF0YQBgAQAAAlN0eWxlABIAAAB4bE1hcmtlclN0eWxlTm9uZQAQU2l6ZQAIAAAAA0NvbG9yAFUAAAAQQQD/AAAAEFIAEgAAABBHAD8AAAAQQgBuAAAAAVNjQQAAAAAAAADwPwFTY1IAAAAAQKnGeD8BU2NHAAAAAKAjc6k/AVNjQgAAAAAAZvXDPwABVGludAAAAAAAAAAAAANUaGVtZUNvbG9yUG9zaXRpb24AtgAAAAJfdHlwZQBRAAAAZW1wb3dlci5DaGFydHMuQ29tbW9uLkNvbG9yVHJhbnNsYXRpb24uVGhlbWVDb2xvclBvc2l0aW9uLCBlbXBvd2VyLkNoYXJ0cy5Db21tb24AEFRoZW1lQ29sb3JTY2hlbWVJbmRleAAFAAAAAkluZGV4AAcAAABOb1RpbnQACElzRGVmYXVsdENvbG9yAAAQRGVmYXVsdENvbG9ySW5kZXgA/////wAAAAMxALcBAAADUG9pbnRBZGRyZXNzADMAAAAQU2VyaWVzSW5kZXgAAQAAABBQb2ludEluZGV4AAIAAAAISXNQb2ludFN1bQAAAANNYXJrZXJTdHlsZURhdGEAYAEAAAJTdHlsZQASAAAAeGxNYXJrZXJTdHlsZU5vbmUAEFNpemUACAAAAANDb2xvcgBVAAAAEEEA/wAAABBSABIAAAAQRwA/AAAAEEIAbgAAAAFTY0EAAAAAAAAA8D8BU2NSAAAAAECpxng/AVNjRwAAAACgI3OpPwFTY0IAAAAAAGb1wz8AAVRpbnQAAAAAAAAAAAADVGhlbWVDb2xvclBvc2l0aW9uALYAAAACX3R5cGUAUQAAAGVtcG93ZXIuQ2hhcnRzLkNvbW1vbi5Db2xvclRyYW5zbGF0aW9uLlRoZW1lQ29sb3JQb3NpdGlvbiwgZW1wb3dlci5DaGFydHMuQ29tbW9uABBUaGVtZUNvbG9yU2NoZW1lSW5kZXgABQAAAAJJbmRleAAHAAAATm9UaW50AAhJc0RlZmF1bHRDb2xvcgAAEERlZmF1bHRDb2xvckluZGV4AP////8AAAADMgC3AQAAA1BvaW50QWRkcmVzcwAzAAAAEFNlcmllc0luZGV4AAEAAAAQUG9pbnRJbmRleAADAAAACElzUG9pbnRTdW0AAAADTWFya2VyU3R5bGVEYXRhAGABAAACU3R5bGUAEgAAAHhsTWFya2VyU3R5bGVOb25lABBTaXplAAgAAAADQ29sb3IAVQAAABBBAP8AAAAQUgASAAAAEEcAPwAAABBCAG4AAAABU2NBAAAAAAAAAPA/AVNjUgAAAABAqcZ4PwFTY0cAAAAAoCNzqT8BU2NCAAAAAABm9cM/AAFUaW50AAAAAAAAAAAAA1RoZW1lQ29sb3JQb3NpdGlvbgC2AAAAAl90eXBlAFEAAABlbXBvd2VyLkNoYXJ0cy5Db21tb24uQ29sb3JUcmFuc2xhdGlvbi5UaGVtZUNvbG9yUG9zaXRpb24sIGVtcG93ZXIuQ2hhcnRzLkNvbW1vbgAQVGhlbWVDb2xvclNjaGVtZUluZGV4AAUAAAACSW5kZXgABwAAAE5vVGludAAISXNEZWZhdWx0Q29sb3IAABBEZWZhdWx0Q29sb3JJbmRleAD/////AAAAAzMAtwEAAANQb2ludEFkZHJlc3MAMwAAABBTZXJpZXNJbmRleAABAAAAEFBvaW50SW5kZXgABAAAAAhJc1BvaW50U3VtAAAAA01hcmtlclN0eWxlRGF0YQBgAQAAAlN0eWxlABIAAAB4bE1hcmtlclN0eWxlTm9uZQAQU2l6ZQAIAAAAA0NvbG9yAFUAAAAQQQD/AAAAEFIAEgAAABBHAD8AAAAQQgBuAAAAAVNjQQAAAAAAAADwPwFTY1IAAAAAQKnGeD8BU2NHAAAAAKAjc6k/AVNjQgAAAAAAZvXDPwABVGludAAAAAAAAAAAAANUaGVtZUNvbG9yUG9zaXRpb24AtgAAAAJfdHlwZQBRAAAAZW1wb3dlci5DaGFydHMuQ29tbW9uLkNvbG9yVHJhbnNsYXRpb24uVGhlbWVDb2xvclBvc2l0aW9uLCBlbXBvd2VyLkNoYXJ0cy5Db21tb24AEFRoZW1lQ29sb3JTY2hlbWVJbmRleAAFAAAAAkluZGV4AAcAAABOb1RpbnQACElzRGVmYXVsdENvbG9yAAAQRGVmYXVsdENvbG9ySW5kZXgA/////wAAAAM0ALcBAAADUG9pbnRBZGRyZXNzADMAAAAQU2VyaWVzSW5kZXgAAQAAABBQb2ludEluZGV4AAUAAAAISXNQb2ludFN1bQAAAANNYXJrZXJTdHlsZURhdGEAYAEAAAJTdHlsZQASAAAAeGxNYXJrZXJTdHlsZU5vbmUAEFNpemUACAAAAANDb2xvcgBVAAAAEEEA/wAAABBSABIAAAAQRwA/AAAAEEIAbgAAAAFTY0EAAAAAAAAA8D8BU2NSAAAAAECpxng/AVNjRwAAAACgI3OpPwFTY0IAAAAAAGb1wz8AAVRpbnQAAAAAAAAAAAADVGhlbWVDb2xvclBvc2l0aW9uALYAAAACX3R5cGUAUQAAAGVtcG93ZXIuQ2hhcnRzLkNvbW1vbi5Db2xvclRyYW5zbGF0aW9uLlRoZW1lQ29sb3JQb3NpdGlvbiwgZW1wb3dlci5DaGFydHMuQ29tbW9uABBUaGVtZUNvbG9yU2NoZW1lSW5kZXgABQAAAAJJbmRleAAHAAAATm9UaW50AAhJc0RlZmF1bHRDb2xvcgAAEERlZmF1bHRDb2xvckluZGV4AP////8AAAAACFN1cHByZXNzTWFya2VycwAACFJlcXVpcmVNYW51YWxVcGdyYWRlT25GaXJzdFRpbWVSZWFkAAAAAk5hbWUADAAAAE1hcmtlcnNEYXRhABBWZXJzaW9uAAEAAAAJTGFzdFdyaXRlAPx1P+R7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AAAABP//////////AwDLBgAAAAAAAAAAAAAJAAAAAAABAP////9zBnMGAAAFX2lkABAAAAAEGk8XJhPgskqxK5A1WmcmjQNEYXRhABcGAAAEUG9pbnRDb2xvckluZGljZXMA3QQAAAMwAPUAAAAQU2VyaWVzSW5kZXgAAQAAABBQb2ludEluZGV4AAEAAAADQ29sb3IAVQAAABBBAP8AAAAQUgASAAAAEEcAPwAAABBCAG4AAAABU2NBAAAAAAAAAPA/AVNjUgAAAABgqcZ4PwFTY0cAAAAAoCNzqT8BU2NCAAAAAABm9cM/AANDb2xvckluZGV4SW5DdXN0b21pemluZwBaAAAAEFRoZW1lQ29sb3JTY2hlbWVJbmRleAAFAAAAAkluZGV4AAcAAABOb1RpbnQACElzRGVmYXVsdENvbG9yAAAQRGVmYXVsdENvbG9ySW5kZXgA/////wAAAzEA9QAAABBTZXJpZXNJbmRleAABAAAAEFBvaW50SW5kZXgAAgAAAANDb2xvcgBVAAAAEEEA/wAAABBSABIAAAAQRwA/AAAAEEIAbgAAAAFTY0EAAAAAAAAA8D8BU2NSAAAAAGCpxng/AVNjRwAAAACgI3OpPwFTY0IAAAAAAGb1wz8AA0NvbG9ySW5kZXhJbkN1c3RvbWl6aW5nAFoAAAAQVGhlbWVDb2xvclNjaGVtZUluZGV4AAUAAAACSW5kZXgABwAAAE5vVGludAAISXNEZWZhdWx0Q29sb3IAABBEZWZhdWx0Q29sb3JJbmRleAD/////AAADMgD1AAAAEFNlcmllc0luZGV4AAEAAAAQUG9pbnRJbmRleAADAAAAA0NvbG9yAFUAAAAQQQD/AAAAEFIAEgAAABBHAD8AAAAQQgBuAAAAAVNjQQAAAAAAAADwPwFTY1IAAAAAYKnGeD8BU2NHAAAAAKAjc6k/AVNjQgAAAAAAZvXDPwADQ29sb3JJbmRleEluQ3VzdG9taXppbmcAWgAAABBUaGVtZUNvbG9yU2NoZW1lSW5kZXgABQAAAAJJbmRleAAHAAAATm9UaW50AAhJc0RlZmF1bHRDb2xvcgAAEERlZmF1bHRDb2xvckluZGV4AP////8AAAMzAPUAAAAQU2VyaWVzSW5kZXgAAQAAABBQb2ludEluZGV4AAQAAAADQ29sb3IAVQAAABBBAP8AAAAQUgASAAAAEEcAPwAAABBCAG4AAAABU2NBAAAAAAAAAPA/AVNjUgAAAABgqcZ4PwFTY0cAAAAAoCNzqT8BU2NCAAAAAABm9cM/AANDb2xvckluZGV4SW5DdXN0b21pemluZwBaAAAAEFRoZW1lQ29sb3JTY2hlbWVJbmRleAAFAAAAAkluZGV4AAcAAABOb1RpbnQACElzRGVmYXVsdENvbG9yAAAQRGVmYXVsdENvbG9ySW5kZXgA/////wAAAzQA9QAAABBTZXJpZXNJbmRleAABAAAAEFBvaW50SW5kZXgABQAAAANDb2xvcgBVAAAAEEEA/wAAABBSABIAAAAQRwA/AAAAEEIAbgAAAAFTY0EAAAAAAAAA8D8BU2NSAAAAAGCpxng/AVNjRwAAAACgI3OpPwFTY0IAAAAAAGb1wz8AA0NvbG9ySW5kZXhJbkN1c3RvbWl6aW5nAFoAAAAQVGhlbWVDb2xvclNjaGVtZUluZGV4AAUAAAACSW5kZXgABwAAAE5vVGludAAISXNEZWZhdWx0Q29sb3IAABBEZWZhdWx0Q29sb3JJbmRleAD/////AAAABFNlcmllc0NvbG9ySW5kaWNlcwDtAAAAAzAA5QAAABBTZXJpZXNJbmRleAABAAAAA0NvbG9yAFUAAAAQQQD/AAAAEFIAEgAAABBHAD8AAAAQQgBuAAAAAVNjQQAAAAAAAADwPwFTY1IAAAAAYKnGeD8BU2NHAAAAAKAjc6k/AVNjQgAAAAAAZvXDPwADQ29sb3JJbmRleEluQ3VzdG9taXppbmcAWgAAABBUaGVtZUNvbG9yU2NoZW1lSW5kZXgABQAAAAJJbmRleAAHAAAATm9UaW50AAhJc0RlZmF1bHRDb2xvcgAAEERlZmF1bHRDb2xvckluZGV4AP////8AAAAETmVnYXRpdmVTZXJpZXNDb2xvckluZGljZXMABQAAAAAAAk5hbWUADQAAAENvbG9ySW5kaWNlcwAQVmVyc2lvbgACAAAACUxhc3RXcml0ZQCzXF/segEAAAACAP////+RApECAAAFX2lkABAAAAAErmGtKK+tV0its0FolE06hwNEYXRhADQCAAADTnVtYmVyRm9ybWF0VmFsdWVTdHJpbmdzABUCAAACTnVtYmVyRm9ybWF0SWRQcmltYXJ5Q2F0ZWdvcnkAJQAAADAwMDAwMDAwLTAwMDAtMDAwMC0wMDAwLTAwMDAwMDAwMDAwMAACQXJpdGhtZXRpY09wZXJhdGlvbklkUHJpbWFyeUNhdGVnb3J5ACUAAAA5ZTgxZTQ0MS01NzUwLTRiZmMtYmU2YS0xMWUyNDE4NzcyMWYAAlBlcmNlbnRGb3JtYXRJZFByaW1hcnlDYXRlZ29yeQADAAAAMCUAAk51bWJlckZvcm1hdElkUHJpbWFyeQAlAAAAMDAwMDAwMDAtMDAwMC0wMDAwLTAwMDAtMDAwMDAwMDAwMDAwAAJBcml0aG1ldGljT3BlcmF0aW9uSWRQcmltYXJ5ACUAAAA5ZTgxZTQ0MS01NzUwLTRiZmMtYmU2YS0xMWUyNDE4NzcyMWYAAlBlcmNlbnRGb3JtYXRJZFByaW1hcnkAAwAAADAlAAJOdW1iZXJGb3JtYXRJZFNlY29uZGFyeQAlAAAAMDAwMDAwMDAtMDAwMC0wMDAwLTAwMDAtMDAwMDAwMDAwMDAwAAJBcml0aG1ldGljT3BlcmF0aW9uSWRTZWNvbmRhcnkAJQAAADllODFlNDQxLTU3NTAtNGJmYy1iZTZhLTExZTI0MTg3NzIxZgACUGVyY2VudEZvcm1hdElkU2Vjb25kYXJ5AAMAAAAwJQAAAAJOYW1lAA4AAABOdW1iZXJGb3JtYXRzABBWZXJzaW9uAAIAAAAJTGFzdFdyaXRlAOVoa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QAAAAX/////CgAAAOcPAAAAAAAAAAAAABqDAAAFX2lkABAAAAAERokgIVlekEebOtRJQtDW6ANEYXRhAMCCAAADRGF0YUxhYmVsc1BlckF4aXMAiYIAAANQcmltYXJ5AEqAAAAERGF0YUxhYmVscwApfgAAAzAAKxYAABBQb2ludEluZGV4AAEAAAACQWxpZ25tZW50AAcAAABDZW50ZXIAEFNlcmllc0luZGV4AAEAAAAIUmVxdWlyZUZvbnRDb2xvck1pZ3JhdGlvbgAACE1hbnVhbERhdGFMYWJlbEJhY2tncm91bmRWaXNpYmxlAAAISGFzV2lzaENvbG9yAAADVGV4dEJveAC6BgAABU1hbmFnZWRJZAAQAAAABPqAe2dAKfhAhSn9PUgzMJs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DAAAANiUAAlRleHRIb3Jpem9udGFsQWxpZ25tZW50ABAAAABtc29BbmNob3JDZW50ZXI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DAAAANiUAAUhlaWdodAAAAACgIp4qQAFXaWR0aAAAAAAgeGIxQAFUb3AAAAAAYB3iYkABTGVmdAAAAABgU1pJ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FTjvArFEyJEjy5iQhD1etk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QDBypU12SbRI6ad+C0xhX1CEhhc0NoYW5nZXMAAQhVc2VOYW1lSW5zdGVhZE9mVGFnQXNJZAABCFNoYXBlUHJldmlvdXNseUNyZWF0ZWQAAANGaWxsQ29sb3IAVQAAABBBAAAAAAAQUgAAAAAAEEcAAAAAABBCAAAAAAABU2NBAAAAAAAAAPC/AVNjUgAAAAAAAADwvwFTY0cAAAAAAAoAAAAFCQAAAAsAAADnDwAAAAAA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Gjxsk1AAVkAAAAAW3yaY0AACEhhc0xlYWRlckxpbmUAAAhJc0NlbnRlckF1dG9tYXRpY0FkanVzdGVkAAAISXNVc2VyUG9zaXRpb24AAAhBZGRQcmVmaXhTcGFjZQAACEFkZFBvc3RmaXhTcGFjZQAAAlNlcGFyYXRvcgACAAAACgACVGV4dAADAAAANiUACFJlcXVpcmVSZWxhdGl2ZVBvc2l0aW9uVXBncmFkZQAACElzR2VvbWV0cnlPdXRPZkJvdW5kcwAACElzTGVhZGVyTGluZUluQXV0b01vZGUAAQhEZWxldGVkAAAAAzEALhYAABBQb2ludEluZGV4AAIAAAACQWxpZ25tZW50AAcAAABDZW50ZXIAEFNlcmllc0luZGV4AAEAAAAIUmVxdWlyZUZvbnRDb2xvck1pZ3JhdGlvbgAACE1hbnVhbERhdGFMYWJlbEJhY2tncm91bmRWaXNpYmxlAAAISGFzV2lzaENvbG9yAAADVGV4dEJveAC8BgAABU1hbmFnZWRJZAAQAAAABKFCItRzwLNJrLPadmfcjPo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NTQ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AAAADU0JQABSGVpZ2h0AAAAAKAinipAAVdpZHRoAAAAAEDU8TZAAVRvcAAAAABAaJFTQAFMZWZ0AAAAAMAX12R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AAAAAAAAVkAAAAAAAAAAAAAA0VuZAAbAAAAAVgAAAAAAAAAAAABWQAAAAAAAAAAAAACU3RhcnRBcnJvd0hlYWQAEQAAAG1zb0Fycm93aGVhZE5vbmUAAkVuZEFycm93SGVhZAARAAAAbXNvQXJyb3doZWFkTm9uZQAFTWFuYWdlZElkABAAAAAEvi+MUcG8hkGzj2wS/wpLyA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ELAAAABQoAAAAMAAAA5w8AAAAAAAAAAAAA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QI8SoSa5SRRqMuUc7ocX4b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BDVGZkABWQAAAAA2JgJVQAAISGFzTGVhZGVyTGluZQAACElzQ2VudGVyQXV0b21hdGljQWRqdXN0ZWQAAAhJc1VzZXJQb3NpdGlvbgAACEFkZFByZWZpeFNwYWNlAAAIQWRkUG9zdGZpeFNwYWNlAAACU2VwYXJhdG9yAAIAAAAKAAJUZXh0AAQAAAA1NCUACFJlcXVpcmVSZWxhdGl2ZVBvc2l0aW9uVXBncmFkZQAACElzR2VvbWV0cnlPdXRPZkJvdW5kcwAACElzTGVhZGVyTGluZUluQXV0b01vZGUAAQhEZWxldGVkAAAAAzIALhYAABBQb2ludEluZGV4AAMAAAACQWxpZ25tZW50AAcAAABDZW50ZXIAEFNlcmllc0luZGV4AAEAAAAIUmVxdWlyZUZvbnRDb2xvck1pZ3JhdGlvbgAACE1hbnVhbERhdGFMYWJlbEJhY2tncm91bmRWaXNpYmxlAAAISGFzV2lzaENvbG9yAAADVGV4dEJveAC8BgAABU1hbmFnZWRJZAAQAAAABMcvqLW2CipKjxNNoDmKtaY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MzElAAJUZXh0SG9yaXpvbnRhbEFsaWdubWVudAAQAAAAbXNvQW5jaG9yQ2VudGVyAAJQYXJhZ3JhcGhBbGlnbm1lbnQADwAAAG1zb0FsaWduQ2VudGVyAAJUZXh0VmVydGljYWxBbGlnbm1lbnQAEAAAAG1zb0FuY2hvck1pZGRsZQADDAAAAAULAAAADQAAAOcPAAAAAAAAAAAAAE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QAAAAzMSUAAUhlaWdodAAAAACgIp4qQAFXaWR0aAAAAABA1PE2QAFUb3AAAAAAoMJJXEABTGVmdAAAAAAgSNhx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Nh70rpr4TVFmCZeMSjU19g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TPNPetKFpIQapVkQHVG+2w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0AAAAFDAAAAA4AAADnDwAAAAAA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MLWj3JAAVkAAAAAloC6XUAACEhhc0xlYWRlckxpbmUAAAhJc0NlbnRlckF1dG9tYXRpY0FkanVzdGVkAAAISXNVc2VyUG9zaXRpb24AAAhBZGRQcmVmaXhTcGFjZQAACEFkZFBvc3RmaXhTcGFjZQAAAlNlcGFyYXRvcgACAAAACgACVGV4dAAEAAAAMzElAAhSZXF1aXJlUmVsYXRpdmVQb3NpdGlvblVwZ3JhZGUAAAhJc0dlb21ldHJ5T3V0T2ZCb3VuZHMAAAhJc0xlYWRlckxpbmVJbkF1dG9Nb2RlAAEIRGVsZXRlZAAAAAMzACsWAAAQUG9pbnRJbmRleAAEAAAAAkFsaWdubWVudAAHAAAAQ2VudGVyABBTZXJpZXNJbmRleAABAAAACFJlcXVpcmVGb250Q29sb3JNaWdyYXRpb24AAAhNYW51YWxEYXRhTGFiZWxCYWNrZ3JvdW5kVmlzaWJsZQAACEhhc1dpc2hDb2xvcgAAA1RleHRCb3gAugYAAAVNYW5hZ2VkSWQAEAAAAAQbgfpCAxDQQJN1UuQZTc7g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Y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AwAAADYlAAFIZWlnaHQAAAAAoCKeKkABV2lkdGgAAAAAIHhiMUABVG9wAAAAAGAd4mJAAUxlZnQAAAAAYH9xe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ScVcyMmCixQpN9CCc7cmIY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OAAAABQ0AAAAPAAAA5w8AAAAAAAAAAAAA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IrqwSt2wjZFtDEG6s30QN4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Ahk/x5QAFZAAAAAFt8mmNAAAhIYXNMZWFkZXJMaW5lAAAISXNDZW50ZXJBdXRvbWF0aWNBZGp1c3RlZAAACElzVXNlclBvc2l0aW9uAAAIQWRkUHJlZml4U3BhY2UAAAhBZGRQb3N0Zml4U3BhY2UAAAJTZXBhcmF0b3IAAgAAAAoAAlRleHQAAwAAADYlAAhSZXF1aXJlUmVsYXRpdmVQb3NpdGlvblVwZ3JhZGUAAAhJc0dlb21ldHJ5T3V0T2ZCb3VuZHMAAAhJc0xlYWRlckxpbmVJbkF1dG9Nb2RlAAEIRGVsZXRlZAAAAAM0ACsWAAAQUG9pbnRJbmRleAAFAAAAAkFsaWdubWVudAAHAAAAQ2VudGVyABBTZXJpZXNJbmRleAABAAAACFJlcXVpcmVGb250Q29sb3JNaWdyYXRpb24AAAhNYW51YWxEYXRhTGFiZWxCYWNrZ3JvdW5kVmlzaWJsZQAACEhhc1dpc2hDb2xvcgAAA1RleHRCb3gAugYAAAVNYW5hZ2VkSWQAEAAAAATVcZBrl3XKQrx4xn3rnymI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I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AwAAADIlAAFIZWlnaHQAAAAAoCKeKkABV2lkdGgAAAAAIHhiMUABVG9wAAAAAIA7pGNAAUxlZnQAAAAAwB1vg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DwAAAAUOAAAAEAAAAOcPAAAAAAAAAAA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AAAAAAAAVkAAAAAAAAAAAAAA0VuZAAbAAAAAVgAAAAAAAAAAAABWQAAAAAAAAAAAAACU3RhcnRBcnJvd0hlYWQAEQAAAG1zb0Fycm93aGVhZE5vbmUAAkVuZEFycm93SGVhZAARAAAAbXNvQXJyb3doZWFkTm9uZQAFTWFuYWdlZElkABAAAAAE98bIRBWfXUemd6hBNpmobA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AkqvREnhM1OqmE0qOcA2TQ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ICgp7SAQAFZAAAAAHuaXGRAAAhIYXNMZWFkZXJMaW5lAAAISXNDZW50ZXJBdXRvbWF0aWNBZGp1c3RlZAAACElzVXNlclBvc2l0aW9uAAAIQWRkUHJlZml4U3BhY2UAAAhBZGRQb3N0Zml4U3BhY2UAAAJTZXBhcmF0b3IAAgAAAAoAAlRleHQAAwAAADIlAAhSZXF1aXJlUmVsYXRpdmVQb3NpdGlvblVwZ3JhZGUAAAhJc0dlb21ldHJ5T3V0T2ZCb3VuZHMAAAhJc0xlYWRlckxpbmVJbkF1dG9Nb2RlAAEIRGVsZXRlZAAAAAM1ADUPAAAQUBAAAAAFDwAAAFkAAADnDwAAAAAAAAAAAABvaW50SW5kZXgABgAAAAJBbGlnbm1lbnQABwAAAENlbnRlcgAQU2VyaWVzSW5kZXgAAQAAAAhSZXF1aXJlRm9udENvbG9yTWlncmF0aW9uAAAITWFudWFsRGF0YUxhYmVsQmFja2dyb3VuZFZpc2libGUAAAhIYXNXaXNoQ29sb3IAAANUZXh0Qm94ALgGAAAFTWFuYWdlZElkABAAAAAEH8ja8stL6k6gQEonevtemw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xJQACVGV4dEhvcml6b250YWxBbGlnbm1lbnQADgAAAG1zb0FuY2hvck5vbmU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DAAAAMSUAAUhlaWdodAAAAACgIp4qQAFXaWR0aAAAAAAgeGIxQAFUb3AAAAAAAMPUY0ABTGVmdAAAAADgeyWE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FgNVHA7F0JAvpXM//ARlL0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IDABWuEQAFZAAAAAPshjWRAAAhIYXNMZWFkZXJMaW5lAAAISXNDZW50ZXJBdXRvbWF0aWNBZGp1c3RlZAAACElzVXNlclBvc2l0aW9uAAAIQWRkUHJlZml4U3BhY2UAAAhBZGRQb3N0Zml4U3BhY2UAAAJTZXBhcmF0b3IAAgAAAAoAAlRleHQAAwAAADElAAhSZXF1aXJlUmVsYXRpdmVQb3NpdGlvblVwZ3JhZGUAAAhJc0dlb21ldHJ5T3V0T2ZCb3VuZHMAAAhJc0xlYWRlckxpbmVJbkF1dG9Nb2RlAAEIRGVsZXRlZAAAAAADVGV4dERlZmluaXRpb24AzQEAAANSb290RWxlbWVudAC7AQAAAl90eXBlAIUAAABtaW8uQ29tbW9uLlBvd2VyUG9pbnQuTWFuYWdlZC5EYXRhLkRhdGFDaGFydHMuRGF0YUxhYmVscy5EYXRhLkJ1aWxkZXIuVGV4dFVuaXQuU2VwYXJhdG9yVW5pdERhdGEsIG1pby5Db21tb24uUG93ZXJQb2ludC5NYW5hZ2VkLkRhdGEAAlMRAAAABP//////////AwCFBgAAAAAAAAAAAAD/////tQC1AAAABV9pZAAQAAAABFlgji3BvjBJunK/6d/G45gDRGF0YQBXAAAAAUxlZnQAAAAAAAAAAAABVG9wAAAAAAAAAAAAAVJpZ2h0AAAAAAAAAAAAAUJvdHRvbQAAAAAAAAAAAAFNYXJnaW5Ub0xlZ2VuZAAAAAAAAAAAAAACTmFtZQAPAAAAUGxvdEFyZWFCb3JkZXIAEFZlcnNpb24AAAAAAAlMYXN0V3JpdGUAQsq+92IBAAAAAQD/////7gbuBgAABV9pZAAQAAAABP7Api6dn19Hia+FcqGYVk0DRGF0YQCKBgAAA1dpZ2dsZVNoYXBlRGF0YQB0BgAAAkF1dG9TaGFwZVR5cGUACgAAAFJlY3RhbmdsZQAFTWFuYWdlZElkABAAAAAEeoE0raMOPEuYipsKaSt+xghIYXNDaGFuZ2VzAAAIVXNlTmFtZUluc3RlYWRPZlRhZ0FzSWQAAQhTaGFwZVByZXZpb3VzbHlDcmVhdGVkAAADRmlsbENvbG9yAFUAAAAQQQAAAAAAEFIA/wAAABBHAP8AAAAQQgD/AAAAAVNjQQAAAAAAAAAAAAFTY1IAAAAAAAAA8D8BU2NHAAAAAAAAAPA/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PA/AVdpZHRoAAAAAAAAAPA/AVRvcAAAAACARS0iQAFMZWZ0AAAAAIBFLSJ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TmFtZQAVAAAARGF0YUNoYXJ0Q29BdXRob3JpbmcAEFZlcnNpb24AAAAAAAlMYXN0V3JpdGUAQ7JnNZcBAAAAAgD/////pwGnAQAABV9pZAAQAAAABLNpITnoJ6hIomA+TjntdlgDRGF0YQBKAQAAA051bWJlckZvcm1hdFZhbHVlU3RyaW5ncwArAQAAAk51bWJlckZvcm1hdElkUHJpbWFyeQAlAAAAMDAwMDAwMDAtMDAwMC0wMDAwLTAwMDAtMDAwMDAwMDAwMDAwAAJQZXJjZW50Rm9ybWF0SWRQcmltYXJ5AA4AAABbJC00MDddIywjIzAlAAJOdW1iZXJGb3JtYXRJZFNlY29uZGFyeQAlAAAAMDAwMDAwMDAtMDAwMC0wMDAwLTAwMDAtMDAwMDAwMDAwMDAwAAJOdW1iZXJGb3JtYXRJZFByaW1hcnlDYXRlZ29yeQAlAAAAMDAwMDAwMDAtMDAwMC0wMDAwLTAwMDAtMDAwMDAwMDAwMDAwAAJQZXJjZW50Rm9ybWF0SWRQcmltYXJ5Q2F0ZWdvcnkADgAAAFskLTQwN10jLCMjMCUAAAACTmFtZQAOAAAATnVtYmVyRm9ybWF0cwAQVmVyc2lvbgABAAAACUxhc3RXcml0ZQDNaGg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gAAAAT//////////w0AdAQAAAAAAAAAAAAA/////3sAewAAAAVfaWQAEAAAAAR1Wec7/GaSRoJg1Df2GAPDA0RhdGEAHQAAAAhEb05vdFNob3dGdWxsRW1mQWdhaW4AAAACTmFtZQAPAAAAQ29tbW9uU2V0dGluZ3MAEFZlcnNpb24AAAAAAAlMYXN0V3JpdGUA8FxPRoABAAAAAQATAAAAAAACABUAAAAAAAMA/////3oBegEAAAVfaWQAEAAAAAQdgNlQKzaKTYdyT7pSEx4yA0RhdGEADAEAAARQb2ludENvbG9yc1N0eWxlAAUAAAAAA1Nlcmllc0NvbG9yc1N0eWxlAN0AAAADMQDVAAAAEFNlcmllc0luZGV4AAEAAAADUHJpbWFyeUNvbG9yU3R5bGUArAAAAAJDb2xvclByb3BlcnR5VGFyZ2V0AAgAAABQcmltYXJ5AANDb2xvck9yVGhlbWVDb2xvcgBzAAAAEFRoZW1lQ29sb3IABQAAAAFUaW50QW5kU2hhZGUAAAAAAAAAAAAQVGludEluZGV4AP////8QU2NoZW1lQ29sb3IAAAAAAANDb2xvcgAhAAAAEEEA/wAAABBSABIAAAAQRwA/AAAAEEIAbgAAAAAAAAAAAAJOYW1lAB8AAABQb2ludEFuZFNlcmllc1N0eWxlRGVmaW5pdGlvbnMAEFZlcnNpb24AAgAAAAlMYXN0V3JpdGUA1aNdaIkBAAAABAD/////4ADgAAAABV9pZAAQAAAABK0sfVGTxCpGj6j2xF2FwjUDRGF0YQBsAAAABFBvaW50TWFya2VyU3R5bGVzAAUAAAAAA1Nlcmllc01hcmtlclN0eWxlcwAFAAAAAAhTdXBwcmVzc01hcmtlcnMAAAhNYXJrZXJzU3VwcHJlc3NlZE9uUHJldmlvdXNMYXlvdXQAAAACTmFtZQAlAAAAUG9pbnRBbmRTZXJpZXNNYXJrZXJTdHlsZURlZmluaXRpb25zABBWZXJzaW9uAAAAAAAJTGFzdFdyaXRlAOVcT0aAAQAAAAUAGAAAAAAABgD/////cQFxAQAABV9pZAAQAAAABKjUmlN/vwhFhmJ8Gzw1MroERGF0YQAXAQAAAzAADwEAABBTZXJpZXNJbmRleAABAAAABFhWYWx1ZXMA8AAAAAIwABIAAABFeGlzdGVuemJlZHJvaGVuZAACMQAyAAAAUmVpbmVzIEJlbcO8aGVuIHVtIGRhcyB3aXJ0c2NoYWZ0bGljaGUgw5xiZXJsZWJlbgACMgBCAAAAV2lydHNjaGFmdGxpY2hlIFNwaWVscsOkdW1lIGJ6dy4gImF0bWVuZGUgQnVkZ2V0cyIgc2luZCB2b3JoYW5kZW4AAjMAJAAAAEFuZ2VtZXNzZW5lIFJlbmRpdGVuIHdlcmRlbiBlcnppZWx0AAI0AAoAAABTb25zdGlnZXMAAjUADQAAAEtlaW5lIEFuZ2FiZQAAAAACTmFtZQALAAAAU2VyaWVzRGF0YQAQVmVyc2lvbgAAAAAACUxhc3RXcml0ZQBAw2c1lwEAAAAHAFIAAAAAAAgA/////3UAdQAAAAVfaWQAEAAAAATiD+Bo1nuVTZPCKrD1JVlHA0RhdGEAEgAAAARCcmVha3MABQAAAAAAAk5hbWUAFAAAAEJyZWFrTWFuYWdlbWVudERhdGEAEFZlcnNpb24AAAAAAAlMYXN0V3JpdGUAqeTDQ2IBAAAACQD/////cwBzAAAABV9pZAAQAAAABM6dcGrdgs9Bitn1EZaHMe4DRGF0YQAXAAAABFNlcmllTGFiZWxzAAUAAAAAAAJOYW1lAA0AAABTZXJpZXNMYWJlbHMAEFZlcnNpb24ABQAAAAlMYXN0V3JpdGUAyFhPXo0BAAAACgAgAAAAAAALAP/////NAM0AAAAFX2lkABAAAAAEAssDb5plt0CV12crL63/lANEYXRhAGEAAAAISGFzU3R5bGVSZXBvc2l0b3J5QmVlbk1pZ3JhdGVkAAEISGFzQm9yZGVyU3R5bGVCZWVuTWlncmF0ZWQAAQhIYXNDaGFydEJlZW5MYXlvdXRlZEZvckZsZXgAAQACTmFtZQAdAAAAQ2hhcnRTdHlsZVN0YXR1c0luZm9ybWF0aW9ucwAQVmVyc2lvbgAAAAAACUxhc3RXcml0ZQAa6F1oiQEAAAAMAP////8QBRAFAAAFX2lkABAAAAAEFmD7dFs3+kWVBghSFCdXOQNEYXRhALAEAAADR3JpZExpbmVTdHlsZXNEYXRhAJcEAAADUHJpbWFyeVZhbHVlQXhpc0dyaWRMaW5lU3R5bGUAHQIAAANNYWpvclVuaXRMaW5lU3R5bGUA+AAAAANDb2xvcgBVAAAAEEEA/wAAABBSAIkAAAAQRwCJAAAAEEIAiQAAAAFTY0EAAAAAAAAA8D8BU2NSAAAAAACYAtA/AVNjRwAAAAAAmALQPwFTY0IAAAAAAJgC0D8AAlNjaGVtZUNvbG9ySW5kZXgAEQAAAHBwTm90U2NoZW1lQ29sb3IAEFRoZW1lQ29sb3JJbmRleAAAAAAAAVRpbnRBbmRTaGFkZQAAAAAAAADQPwFMaW5lV2VpZ2h0AAAAAAAAAOA/AkRhc2hTdHlsZQAKAAAATGluZVNvbGlkAAhWaXNpYmxlAAEISXNBdXRvbWF0aWMAAQADTWlub3JVbml0TGluZVN0eWxlAPgAAAADQ29sb3IAVQAAABBBAP8AAAAQUgC8AAAAEEcAvAAAABBCALwAAAABU2NBAAAAAAAAAPA/AVNjUgAAAABgpRfgPwFTY0cAAAAAYKUX4D8BU2NCAAAAAGClF+A/AAJTY2hlbWVDb2xvckluZGV4ABEAAABwcE5vdFNjaGVtZUNvbG9yABBUaGVtZUNvbG9ySW5kZXgAAAAAAAFUaW50QW5kU2hhZGUAAAAAAAAA4D8BTGluZVdlaWdodAAAAAAAAADgPwJEYXNoU3R5bGUACgAAAExpbmVTb2xpZAAIVmlzaWJsZQAACElzQXV0b21hdGljAAAAAANQcmltYXJ5Q2F0ZWdvcnlBeGlzR3JpZExpbmVTdHlsZQAdAgAAA01ham9yVW5pdExpbmVTdHlsZQD4AAAAA0NvbG9yAFUAAAAQQQD/AAAAEFIAiQAAABBHAIkAAAAQQgCJAAAAAVNjQQAAAAAAAADwPwFTY1IAAAAAAJgC0D8BU2NHAAAAAACYAtA/AVNjQgAAAAAAmALQPwACU2NoZW1lQ29sb3JJbmRleAARAAAAcHBOb3RTY2hlbWVDb2xvcgAQVGhlbWVDb2xvckluZGV4AAAAAAABVGludEFuZFNoYWRlAAAAAAAAANA/AUxpbmVXZWlnaHQAAAAAAAAA4D8CRGFzaFN0eWxlAAoAAABMaW5lU29saWQACFZpc2libGUAAQhJc0F1dG9tYXRpYwAAAANNaW5vclVuaXRMaW5lU3R5bGUA+AAAAANDb2xvcgBVAAAAEEEA/wAAABBSALwAAAAQRwC8AAAAEEIAvAAAAAFTY0EAAAAAAAAA8D8BU2NSAAAAAGClF+A/AVNjRwAAAABgpRfgPwFTY0IAAAAAYKUX4D8AAlNjaGVtZUNvbG9ySW5kZXgAEQAAAHBwTm90U2NoZW1lQ29sb3IAEFRoZW1lQ29sb3JJbmRleAAAAAAAAVRpbnRBbmRTaGFkZQAAAAAAAADgPwFMaW5lV2VpZ2h0AAAAAAAAAOA/AkRhc2hTdHlsZQAKAAAATGluZVNvbGlkAAhWaXNpYmxlAAAISXNBdXRvbWF0aWMAAAAACFNob3dHcmlkbGluZXNEZWZhdWx0AAEAAAJOYW1lABEAAABHcmlkbGluZVNldHRpbmdzABBWZXJzaW9uAAAAAAAJTGFzdFdyaXRlACdYV16N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MAAAAF/////xQAAADnDwAAAAAAAAAAAAAOFQAABV9pZAAQAAAABAjf0T3Gip1Km7iJ6TcqVrgDRGF0YQC0FAAABEl0ZW1EYXRhAPMTAAADMADrEwAAEEluZGV4AAEAAAADVGV4dFNoYXBlRGF0YQBXBgAABU1hbmFnZWRJZAAQAAAABBXXVfWhJR1AoYBAnos4cqQ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EIU2l6ZVRvVGV4dEhlaWdodAAB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WFya2VyU2hhcGVEYXRhAHQGAAACQXV0b1NoYXBlVHlwZQAKAAAAUmVjdGFuZ2xlAAVNYW5hZ2VkSWQAEAAAAAShDTl0l67ISpIb0NJF8OjO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JE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pbmVTaGFwZURhdGEA4QYAAANTdGFydAAbAAAAAVgAAAAAAAAAAAABWQAAAAAAAAAAAAADRW5kABsAAAABWAAAAAAAAAAAAAFZAAAAAAAAAAAAAAJTdGFydEFycm93SGVhZAARAAAAbXNvQXJyb3doZWFkTm9uZQACRW5kQXJyb3dIZWFkABEAAABtc29BcnJvd2hlYWROb25lAAVNYW5hZ2VkSWQAEAAAAATGj3BKQvfiSKVzyFzGcWm+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UAAAABRMAAAD/////JwXACgAAAAAAAAAA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kFsaWdubWVudAAHAAAASGlkZGVuAAhJc1VzZXJQb3NpdGlvbgAAA0N1c3RvbUNlbnRlclBvc2l0aW9uABsAAAABWAAAAAAAAAAAAAFZAAAAAAAAAAAAAAJJdGVtT3JkZXIACgAAAEFzY2VuZGluZwAQUm93Q291bnQAAAAAABBDb2x1bW5Db3VudAAAAAAAAkl0ZW1GbG93RGlyZWN0aW9uAAsAAABIb3Jpem9udGFsAAACTmFtZQALAAAATGVnZW5kRGF0YQAQVmVyc2lvbgABAAAACUxhc3RXcml0ZQDphQbUh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QAAAAX/////FgAAAOcPAAAAAAAAAAAAABMsAAAFX2lkABAAAAAEfyThSuoTIUiOSt2LSUHr6QNEYXRhALgrAAAFRGF0YQCoKwAAAFBLAwQUAAYACAAAACEANzG9kXsBAACEBQAAEwAIAltDb250ZW50X1R5cGVzXS54bWw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FRLb8IwDL5P2n+ocp1oYIdpmigc9jhuSLAfEBq3jWiTKDYM/v3c8NA0ARWCS6Mm8fewHQ/H66ZOVhDQOJuJQdoXCdjcaWPLTHzPPnrPIkFSVqvaWcjEBlCMR/d3w9nGAyYcbTETFZF/kRLzChqFqfNg+aRwoVHEv6GUXuULVYJ87PefZO4sgaUetRhiNHyDQi1rSt7XvL1VMjdWJK/bey1VJpT3tckVsVC5svofSc8VhclBu3zZMHSKPoDSWAFQU6c+GGYMUyBiYyjkUc4ANV5GunOVcmQUhpXx+MDWTzC0J6dd7eK+uBzBaEgmKtCnati7XNfyx4XF3LlFeh7k0tTEFKWNMnav+wx/vIwyLoMbC2n9ReAOHcQ9BjJ+r5cQYToIkTY14K3THkG7mCsVQE+Ju7e8uYC/2F0pV3POgKR2uXXZI+g5fn7Sk+A88tQIcHkV9k+0je55BoJABg6P9FizHxh55FxddmhnmgZ9hFvGGTr6BQAA//8DAFBLAwQUAAYACAAAACEAtVUwI/QAAABMAgAACwAIAl9yZWxzLy5yZWxz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ySTU/DMAyG70j8h8j31d2QEEJLd0FIuyFUfoBJ3A+1jaMkG92/JxwQVBqDA0d/vX78ytvdPI3qyCH24jSsixIUOyO2d62Gl/pxdQcqJnKWRnGs4cQRdtX11faZR0p5KHa9jyqruKihS8nfI0bT8USxEM8uVxoJE6UchhY9mYFaxk1Z3mL4rgHVQlPtrYawtzeg6pPPm3/XlqbpDT+IOUzs0pkVyHNiZ9mufMhsIfX5GlVTaDlpsGKecjoieV9kbMDzRJu/E/18LU6cyFIiNBL4Ms9HxyWg9X9atDTxy515xDcJw6vI8MmCix+o3gEAAP//AwBQSwMEFAAGAAgAAAAhANkTbyQwBAAAGwoAAA8AAAB4bC93b3JrYm9vay54bWysVl1vozgUfV9p/wOL+kr5CJCASkchhJ1K7ahKM+1LpMiAKVbBZm3TpDua/77XkKRpO1plZzZKTPx1fO69515z8Wnb1Noz5oIwGun2uaVrmOasIPQx0r8uU2Oia0IiWqCaURzpL1jony5//+1iw/hTxtiTBgBURHolZRuapsgr3CBxzlpMYaZkvEESuvzRFC3HqBAVxrKpTceyfLNBhOoDQshPwWBlSXKcsLxrMJUDCMc1kkBfVKQVe7QmPwWuQfypa42cNS1AZKQm8qUH1bUmD68eKeMoq8Hsre1pWw5fH362BY2zPwmmPhzVkJwzwUp5DtDmQPqD/bZl2vYbF2w/+uA0JNfk+JmoGB5Ycf8nWfkHLP8VzLZ+Gc0GafVaCcF5P4nmHbg5+uVFSWp8P0hXQ237BTUqUrWu1UjIeUEkLiJ9DF22wa8DYBXv2rgjNcw6E98Z6eblQc63XAP14wErIVjgKc8wkaKBE7BaCcKY1hJziiSeMSpBhzu7flVzPfasYqBwbYH/6gjHkFigL7AVWpSHKBO3SFZax+tIn4WrrwLMX+UVJ0ISis4h+zoMGUfpatq2CZJodc1yVK+WuGlXY6/Ix5NRmeWZ507ycZYFXl74me+PShdn3upI0uhj/vwHUaNcecoEVw3mDP/fuw2s4uFeuLeSa/D/KrmG4N2hZwglCKbYZfoVxMoerWnOQ3v9zZn6vpvaIyNN4sBw4+ncmNpubMRBYKXxxJ/MR8F3MIb7Yc5QJ6udShR0pLsgiQ9TN2i7n7GtsCPFK41v1u5jqOe7Zj/3XRms6uE9wRvxqifV1UTFNneq7i0hgL1d2wdCC7aJdMNxAsvTtZfDgKu6m376gRSyivTAt8AVw9BnTB4rMMJz1ZhE2ULVPqDuqWzljqIe6W8oJwPlFD6Gat5QNo8496UZuPdPjfbpdEXbTsIVoNj3QYDsCdUR/Kqw+yDvdxW4JBQXKnMA46i3Q2oIW+cV4lKsgXaN11xZss6YlKxRSQo67Z2kjgHbKlIUWN1J+mVP4o+zP8+cC/MI+EencPqoIrdgm8M2NzxzT9mncgRuEkjqumvoYfs8PJu/235MAmwF4rmqG/DoXRTYlhMo37Aa35G/Mei6jPSpHaaOGlVla4FzBrfuC2wDfbJdV9kNC/BWXgvZPyHTCYTTdq3p2Apcw5qPPMOdBI4xcUeOMXMTZ+6N58k89pTg1VUc/h8XUl9wwv0dr4xTkVtylD/Bm8EClzESkKGDAoDvMdnYm8TWCChCiqaGaweWEce+a3hJOvLGdjKbe+krWeU18M6714fTas3E7HdjJDsolapK9v1Qtelu9DBYDgMHNR7d0OEiUX7f7f63hXdgfd1fAycsTu9PRJ19uVnenLj2er5cP6SnLp7exMl0t978oXfMPnqq7TVn7mN++Q8AAAD//wMAUEsDBBQABgAIAAAAIQCBPpSX8wAAALoC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Uk1LxDAQvQv+hzB3m3YVEdl0LyLsVesPCMm0KdsmITN+9N8bKrpdWNZLLwNvhnnvzcd29zUO4gMT9cErqIoSBHoTbO87BW/N880DCGLtrR6CRwUTEuzq66vtCw6acxO5PpLILJ4UOOb4KCUZh6OmIkT0udKGNGrOMHUyanPQHcpNWd7LtOSA+oRT7K2CtLe3IJopZuX/uUPb9gafgnkf0fMZCUk8DXkA0ejUISv4wUX2CPK8/GZNec5rwaP6DOUcq0seqjU9fIZ0IIfIRx9/KZJz5aKZu1Xv4XRC+8opv9vyLMv072bkycfV3wAAAP//AwBQSwMEFAAGAAgAAAAhAICmoXKWAwAAVggAABgAAAB4bC93b3Jrc2hlZXRzL3NoZWV0MS54bWycVEuP2jAQvlfqf7B8Jy9YChFhVe2KlktVddvds3EmxMKOU9vhoar/veMEAiuqFdoIHDP29xjPmNn9XkmyBWOFrjIaBxElUHGdi2qd0V8/F4MJJdaxKmdSV5DRA1h6P//4YbbTZmNLAEeQobIZLZ2r0zC0vATFbKBrqHCl0EYxhz/NOrS1AZa3ICXDJIrGoWKioh1Dam7h0EUhODxq3iioXEdiQDKH/m0pantiU/wWOsXMpqkHXKsaKVZCCndoSSlRPF2uK23YSmLe+3jEONkb/CT4HZ5k2viVkhLcaKsLFyBz2Hm+Tn8aTkPGe6br/G+iiUehga3wBTxTJe+zFN/1XMmZbPhOsnFP5o/LpI3IM/onOj4DfMd+iM7Dae0vnc/aPvluCDYjfGMKa/Dk221Z1Y2j4XyWC+wAnzUxUGT0c5x+SXy8xT0L2NmLOXFs9QQSuAP0EFPi23el9cZvXGIo8ortBs/IuBNbeAApM7oY4Q343WrgFAXCXuFyflJbtA2PvlfMwoOWLyJ3JUrixcqhYI105+A0SO768A+9+wpiXTrcPA4m01cPJbyxTqt+Bx6o78g0PzyC5XgVMIVg6O1xLdELjkQJf6Wxk9m+y/loZRTEXte6g+9sLHTHfXJ6JOnguNrCx3hkHXz6Co2VfQP96YjGd4++kH4bjP88nfPxcII1+D+Br0eb8T8AAAD//wAAAP//lBYAAAAFFQAAABcAAADnDwAAAAAAAAAAAACS7QqCMBiFb0V2Ac5vQaZQfnUbY43shxpuWd19ry60bRD0R8c5D4fxKBEd57KikhZkGh/OlCMfOeJGBwGnLIXzmrC7kGPfjFNP5Rp08AoAVcWJXy9LAsHTjyjLzq+KC8YHyDw3RAVhy/Rh2c5RhBzIBaRz4RE8FwSzD3FUBDw3ItCJ0iZCnahsItKJ2iZinWhsItGJ1ibSjcDgchMa6EJXT4kLav9zt8yA8y8zvuFOEbHy6nrGhUu9jg0nlV6Hxnj9e7wxauOjtUa9jytTeP8N3wAAAP//AAAA//90jkEOgkAMRa8y6QEEFEUMw96FiQknGKTARJxOSomJp3fQENzYVf//r+kvvOnwYrizblQDtqIh3mSg2Hb9sgv5j3vM0jjZZ2n+nQOomkTo8Sfs0TTIc7gD1RLJIqKymL9WKJNX3njkyr5QQw6K2KITI5acBk8sbKyENifbaOBzk0A4FlMPeDUso7rR5ELNBH7cld7OdLTiQTyJ72OPKOUbAAD//wMAUEsDBBQABgAIAAAAIQDvD2UUcQQAAKQPAAATAAAAeGwvdGhlbWUvdGhlbWUxLnhtbMxXW4+jNhR+r9T/YPHOhDthNJkVgaBWalWps6s+e8BcdgxE2JlLV/Pfe2wTLiHT3U6z0iYvYD4ff+fi79g3H55rih5Jx6q22WjmlaEh0qRtVjXFRvv0MdHXGmIcNxmmbUM22gth2ofbn3+6wde8JDVBML9h13ijlZzvr1crlsIwZlftnjTwLW+7GnN47YpV1uEnsFvTlWUY3qrGVaOhBtdg9o88r1KCPgqT2u3R+I7Ca8OZGEhpdydMk9kMic0eTIFgXXEf0Q49YrrRDPnTVrc3K3zdAyhf4hL563E9IHuwFvYcx3W8cLAnAZQvcTt/5+28wZ4E4DQFL5ZrO45vRU6PnYDU4xnbsR/b5gw/sW8vOIeu+M/wEqTsOwt8kkQQtRleghTeXeDdbbCN5/YlSOG9Bd43wtjxZ/YlqKRV87DMoOvZ0dHbAZK39Jez8MB1Et/qjY8oyP5QOWKJvG34rI62pDnwv0mXkbxqKtJxZMqiqvHntksALWZRzKsG8Zc9yXEK5XpHipagT7+K5fA1wZNPaihlJ0PAY2axrppLmx8twmKjn9Lreu602m7Sz7yi9I6/UPIbk66yllZZAoMyIXLHDZtqX8JjH+IZruiwnIO6lv9V8fKuxHsIk4pkwXrTBUP7lsHelAtLoSAntmWwD/Xvbaa2sWmKfaxiyjAfxw13GIfUcIX2/LF+B/NSAQqpIUcCYu5/ITFZbE7CPkPCPw5CFv6NhPTsIiyCMyzWwvwxVccsDqEAakNWYDchLNTedZRmIpZiSjKRJyWfx+yK5Fw0028Fk04rwIBm0VfAmOlAcH3TPeGdKrVvyPSMxKTc5iQmZVjijPTVOW0yl8x1MKZ0Rk+E4rgbRhr++nvkWojIiTbQZqoUtEFPG82zXTgzpHi/0XKQSXis91A7rCk0hGkBh4qUd2rDv0dZ9h3jMWalCrgUHaUGdcVJh2hVbzTh/lANtJEaIrmZFgjCD0suAFn50chB0udJJnlOUj5N+2RENj8JAIVXWnH2q5z+frCY2R4g3Xdl9oTu6aH7E0OJub4pAphVjEOrUdHMqm4iZGP9nTSmXnbPHBjFWpjuS9x3lKmYK7gU0YGOfFNOyy4HAZyFYP7eN8L7QjTY/911v96qhTcT0Rx75kxVRNc8L6bfr8lPWI1NdMZKSbc8YLFR64Kj1kGhnu0SX+m639AQJtTGxWbUBOOlDAvN7kfn1C54IJhEwnsjbkOPOBuJ93Z+mHdataJBHM+VchvIC+H0ztbefwbxiOHQfKCcqbPyM+8wHPrUGVzJBmyZZ95vDXhCh67aaF8MN3Qiy410Y+3udMd2DH3thrYeuq5t7lzTiLfWKzQWXtamqy6jCa4r+tJfSeX44lpaV2nXsjbnV2lbr1p57VxJ4vJaalpvX0tRBaLzxbOSwA62nh7YYaI78XatB5G31WMv8uMkjtx1kLxq6FGCndCOHG+31j0zinTHMwT9daD7jmWFjh+ud0742h9jwHMlJn0sILyS1+0/AAAA//8DAFBLAwQUAAYACAAAACEAJEllQ0YFAADpGQAADQAAAHhsL3N0eWxlcy54bWzsWW1v4jgQ/n7S/Qcr32leIClBwKotjVRp70VbVrqvJnHAqmMjx2lhT/vfb2wnJGzLlrLdO51EgsCvj8fjmfHMMP6wKRh6JLKkgk8c/8JzEOGpyChfTpzP86Q3dFCpMM8wE5xMnC0pnQ/TX38Zl2rLyP2KEIUAgpcTZ6XUeuS6ZboiBS4vxJpw6MmFLLCCqly65VoSnJV6UsHcwPMit8CUOxZhVKTHgBRYPlTrXiqKNVZ0QRlVW4PloCId3S25kHjBgNSNP8Ap2viRDNBGwiduFjI9z9YqaCpFKXJ1AdiuyHOakuckx27s4rRFAvTTkPzQ9YK9/W/kiUgDV5JHqo9wR5eMT8SKdlixMx3ngqsSpaLiauIMAF3zdPTAxRNPdBeITD1qOi6/oEfMoMV33Ok4FUxIpEAW4ChMC8cFsSPuyVIQ9PlOj8txQdnWtge6wchPPbCgcJq60dWEWHKm44UedfRiV5Ji9uJKR4HK5WLiJIlnHg3TbuNI5Hck1VBcAh8oY51jsQ3TMSiEIpIn0Ivq8ny7Bv5z0F3LRuh6dfRS4q0fhMdPKAWjmZaD5Y059ZpnV5F+Ncyi7qA8IxuSTZxoYNA7BOszPoa4A2vNzPPWtcySwM+FkBnYwEbQtUzbpumYkVzBDiRdrvSvEmu9H6EU2IjpOKN4KThmWkSbGXUBYFPC2L22k3/le9ibHPGqSAp1B6wAi6uFuykCD+qixbMVjd9Fs9gd2AhIfjss2uQ7/EOzfaCvJipwUJeo3WyE12u21QZBq3pdgzlt7YrRJS+IHTAd46aKVkLSLzBRGw7DY0ffRoqmuiGFCcTq/yY/vL8Ohf2fS6EWhhMIBKoaFsJpH83Cf4tpP/lY38I0uKIbZTiaab9XxYLIxPgZHfnbk8Z3YaXRQNC5jmLvqfVOQZG+IybOvfGbZAbXZq1maFFRpih/QakBNdt0zEQfFBoadneevSE9beFop1wqSR/q29J0VrazsfjvePm8TWmRIhv1SSjw0bRnCXL/JPF6Do2mUq4k5Q9zkVBb144h+Jx/aDusB2iDZ7Z/5sFZDrQanOXgzIOzHDy3if/dfWDd9YMxR+OoN75/HRS0jrr7kvf/8iVzwIV41zumcd+tbw9JD/DbJ45aQX7im2jWxi52XNfvP99X3Tv7CH7iSok6OQBBkw6pTmGnzTR0sepkgQkn94TsG1m8SfR7MBJtdtAEJN+TCfBvwK8DX6bnXQziOA76l17/Moj6vueZ7IfboEzHbczzY4gtzulsqxM01uE6wLf9XMIBvfaDfhLdvgsvow4vg0E8HIb6GcaDKDyRl68jHsfL00UtudTvq+x53fi8LmiNJv0PxVZfbxAIKZ3ANYmTTnyFMpLjiqn5rnPitOXfSEarAiLZetSf9FEoAzFx2vJHncXxda6kXaIO1kixFk9EonSFpSodtNYAJlQxQ02pkweV8aiikL352yYGPa8Heu7DF5QSeMxX0/d1b8FbBjlRrpAyqbmnlWDE7ANot3Gib/KgLYX7E1YQKRH5STy1442BOTQ+p7JUkJerCsgONysYfT80g+FSzSFyYzeQv9rNiY3wtnPA5nTOaTqGyO5jCTla+EWVpMCa2+vLeHabBL2hdz3sDfok7MXh9awXDm6uZ7Mk9gLv5msnJ/8DGXnzNwJkiPzBqGSQt5e19NTScN+2QVjeVqw8mI0B2V3a4yDyrkIfDrPv+b1BhIe9YdQPe0noB7NocH0bJmGH9vDEbLvn+r79D0ATH44ULQijvBH+RuS7rSD1UP3OJtzmJNz2P5rpPwAAAP//AwBQSwMEFAAGAAgAAAAhAKeRzd91AQAAWAIAABQAAAB4bC9zaGFyZWRTdHJpbmdzLnhtbGRSy27bMBC8F8g/LHiPaecQBIGkIAniSy5B3KJnSlpLRMilwl3Zib+lx35Gb/6xrmwUAVSCJLAzw+HwUdx9xAA7zOwTlWa1WBpAalLrqSvNj+/ryxsDLI5aFxJhaT6RzV118a1gFtC1xKXpRYZba7npMTpepAFJmW3K0YmWubM8ZHQt94gSg71aLq9tdJ4MNGkkKY1uMpJ/H/HxX10V7Ksia3/RqbZaH2DngmZcGa2aFFKG3NWlWa+XpzbBeZ1Izrr77F2YsK2LPnyewasJsCfPU/xbHlyjx9J8jHmHpoLCyiTRMSWYhlQbcc0brM7UF/z04VmQDjW2OfVI7Vzwip6Q4QHj8Y/yMEZoHcPeZ9HbclsJXi8Njr9qzAFrpLnBz5lyM3gM+fh7jAj1Yb8A4yTqxggPY9uhsL6WpxZ2Kff6aP8b3lOHEZmREF51odf8sMesUsB8UHeZZ9gkYvEd8px4nk4H6uhq/OKs/ozqLwAAAP//AwBQSwMEFAAGAAgAAAAhAEG/+GDZAAAAygEAACMAAAB4bC93b3Jrc2hlZXRzL19yZWxzL3NoZWV0MS54bWwucmVsc6yRwU7DMAxA70j8Q+Q7SbsDQmjpLghpVxgf4KVuG9E6UWwQ+3uCdqHTJC6cLNvy85O93X0ts/mkIjGxh9Y2YIhD6iOPHt4Oz3cPYESRe5wTk4cTCey625vtC82odUimmMVUCouHSTU/OidhogXFpkxcO0MqC2pNy+gyhnccyW2a5t6V3wzoVkyz7z2Ufb8BczjluvlvdhqGGOgphY+FWK+scIrHmSoQy0jqwdpzRc6htVUW3HWP9j89comsVF5JtR5aVkYXPXeRt/YY+UfSrT7QfQMAAP//AwBQSwMEFAAGAAgAAAAhAPpAhMy3AQAA7AQAACcAAAB4bC9wcmludGVyU2V0dGluZ3MvcHJpbnRlclNldHRpbmdzMS5iaW7sU7Fu1EAQfc5FiIiCo0+B6E9KyEFIeT7b0UXns2X7EO0mNwTrNrvW2o4IiJ5PiPgRfoYWCSRKeng2aYgQCCkFBSt5dt6+NzMeryeHwhlqtDA4xX3EmGOEh3iCR9ghziFwKGlrohRT8o/pTaHRLW9zcOsDhpvT99jwsIV3d8a3V/BwF8+IPdoBVROMe/XNGO8qTbdv8LlH5xvX4Sz/qUwwWywf4NL7OtjGl8+fPv6u+rDr5ZrgOr7BFv6n+ge/wN/c9yXFeVwcdW0M8dZ7jQNE2OXUjLGPkPuIns8Zinpvl9wxPZ/MPudrhD3O0YSnB9QERHtEAefuDTPOTNU2fmkwWRYJsjAP5nMsTemk7rzElWIa1ZTWIE2yIpvMCkyt1qoRJFGEWFalKi4qQepK04gL5LlqdYMje5zJubhagrbS8rJX87CwRlyuzn+E8yAXAAAABRYAAAD/////RQyiAwAAAAAAAAAAX5eVr5VZp+pU6l6WSW112xddWHemNFJVMap8JZiHRRFmuEq6SBYhSQam5F+INOyzw4lbiUPkrGkK66uTNXxr15p899adwre9pINsyLrYrgSHTl3UJ0rLn3+abUqejoP4V3f5HQAA//8DAFBLAwQUAAYACAAAACEAFlQPnxcCAACvBQAAFAAAAHhsL3RhYmxlcy90YWJsZTEueG1snJTbjpswEIbvK/UdkO8JEA7ZoCWrlDRVpFUvmu0DOMQEa31AtrObqOq7dwxskhIu0HJByOD5v/k9Yx6fTpw5b0RpKkWGgomPHCIKuafikKHfL2v3ATnaYLHHTAqSoTPR6Gnx9cujwTtGHMgWOkOVMXXqebqoCMd6Imsi4E0pFccG/qqDp2tF8F5XhBjOvKnvJx7HVKBWIeXFGBGO1euxdgvJa2zojjJqzo0WcniRbg5CKltVhk7KOanwQ/yk7sQ5LZTUsjQTEPNkWdKC3NUYRJ4ib9RuzVUq/KRWctGCuuge9ho0VXq0j3/87nLhN7c3313D1dw+3v1FjsAczL3gHWGMTJGzp7pm+PyzF1akzNAySH/Akgp2nahf8j2XR2EyBP010mCmIbSt5Ds0HUKXVatTuYGCoOlNf79JBdldcIYWbddzyY5caKdoJXvxq7nw3l3gt+4ai42zoPV3cbetMTMENqdfU4K8//gNBxxCo8dwYOTs1ePc7lBnMx7i2FkaxwkHOZDf9xMNcaLRnGiQA/l9TjjEiUdz4kEO5Pc50yFOMpqTDHIgv88JhjizW068Wq2neRC7fvQwd6NpnrvzcBm4s3iWf5/nyTKcx705gPw+x7ccrzkG3cB347c1Z0Y2opTX88hIE3ymh8rM4YMJB2tNlTZtYnPEbOwZ34XsMTSK1gS+ojD0dlWbdIne1LH4BwAA//8DAFBLAwQUAAYACAAAACEA2lIURI0BAADs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JJNb9swDIbvA/ofDJ3rSHbSIhMSF1g/TitQYCk67KZJrKPV+oDEzvW/r2wnblwMu4nkywfkS22u3kyT/YUQtbNbUiwYycBKp7Stt+Rxd5evSRZRWCUaZ2FLOojkqjr7spGeSxfgITgPATXELJFs5NJvyR7Rc0qj3IMRcZEUNhWfXTACUxhq6oV8ETXQkrFLagCFEihoD8z9RCQHpJIT0r+GZgAoSaEBAxYjLRYF/dAiBBP/2TBUTpRGY+fTTodxT9lKjsVJ/Rb1JGzbdtEuhzHS/AX9ef/9x7Bqrm3vlQRSbZTkqLGBakM/nukVX3//AYljegpSQQYQ6EJltBtajnHv9At0rQsqpq5ZlNoURBm0x3S/kTlLJHUjIt6ngz5rUN+66tbWjU6XOc+u90FH1FYM0E+yNP9g1zgWqCwZwEe7jpWn5fXN7o5UJStWecHyJdsxxss1X5W/+g1m/b0hY8IcZvkvsbzI2WXOlruC8dVXztgJ8Qiohj8oEGoXutEZOY9m/7N6BwAA//8DAFBLAwQUAAYACAAAACEA9ilR1OIBAAAQBA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U8Fu2zAMvQ/YPxi+N3LaohgCWUWbbuiAFgsat3dGph1hsiRITJbse/Yn+7HJ9uI4aDdgu5F8FPX49MSvd41OtuiDsiZPp5MsTdBIWypT5+lz8ensQ5oEAlOCtgbzdI8hvRbv3/GFtw49KQxJHGFCnq6J3IyxINfYQJhE2ESksr4Biqmvma0qJfHOyk2Dhth5ll0x3BGaEsszNwxM+4mzLf3v0NLKll94KfYuEha8wMZpIBScHcPCEuhCNSiyWB4SfuOcVhIoSiIelfQ22IqSjzuJmrMxyOMqS5Qbr2jfzhinfClB4zyyEBXogJwdC/weoVV4AcoHwbc026Ik65OgvkeNL9NkBQFb7nm6Ba/AUNyhbeuTLtYukBc3foWKwkr//EGEnrPY1SNdOD4wjtWlmHYNMfhrYz/rFg0YQ5jcokcVH/gf7jl/+56WaL91JHCqR6FIY/hSLcDTG/JcjOXp+PXi9FQ/G7ehMb1BEG/qBwj0ZL/9CT5YY271pjGvduzeqHXQKb9HMFCjj8AQzW3jwOxFAyUmyiS98Tk71PmDMl/DsyvsXWvK3wY5LfLlGjyW0VODgYYCv4/e8LodMl+DqbE89LwGWju/9B9cTK8m2UUWnTqqcXb8yuIXAAAA//8DAFBLAQItABQABgAIAAAAIQA3Mb2RewEAAIQFAAATAAAAAAAAAAAAAAAAAAAAAABbQ29udGVudF9UeXBlc10ueG1sUEsBAi0AFAAGAAgAAAAhALVVMCP0AAAATAIAAAsAAAAAAAAAAAAAAAAAtAMAAF9yZWxzLy5yZWxzUEsBAi0AFAAGAAgAAAAhANkTbyQwBAAAGwoAAA8AAAAAAAAAAAAAAAAA2QYAAHhsL3dvcmtib29rLnhtbFBLAQItABQABgAIAAAAIQCBPpSX8wAAALoCAAAaAAAAAAAAAAAAAAAAADYLAAB4bC9fcmVscy93b3JrYm9vay54bWwucmVsc1BLAQItABQABgAIAAAAIQCApqFylgMAAFYIAAAYAAAAAAAAAAAAAAAAAGkNAAB4bC93b3Jrc2hlZXRzL3NoZWV0MS54bWxQSwECLQAUAAYACAAAACEA7w9lFHEEAACkDwAAEwAAAAAAAAAAAAAAAAA1EQAAeGwvdGhlbWUvdGhlbWUxLnhtbFBLAQItABQABgAIAAAAIQAkSWVDRgUAAOkZAAANAAAAAAAAAAAAAAAAANcVAAB4bC9zdHlsZXMueG1sUEsBAi0AFAAGAAgAAAAhAKeRzd91AQAAWAIAABQAAAAAAAAAAAAAAAAASBsAAHhsL3NoYXJlZFN0cmluZ3MueG1sUEsBAi0AFAAGAAgAAAAhAEG/+GDZAAAAygEAACMAAAAAAAAAAAAAAAAA7xwAAHhsL3dvcmtzaGVldHMvX3JlbHMvc2hlZXQxLnhtbC5yZWxzUEsBAi0AFAAGAAgAAAAhAPpAhMy3AQAA7AQAACcAAAAAAAAAAAAAAAAACR4AAHhsL3ByaW50ZXJTZXR0aW5ncy9wcmludGVyU2V0dGluZ3MxLmJpblBLAQItABQABgAIAAAAIQAWVA+fFwIAAK8FAAAUAAAAAAAAAAAAAAAAAAUgAAB4bC90YWJsZXMvdGFibGUxLnhtbFBLAQItABQABgAIAAAAIQDaUhREjQEAAOwCAAARAAAAAAAAAAAAAAAAAE4iAABkb2NQcm9wcy9jb3JlLnhtbFBLAQItABQABgAIAAAAIQD2KVHU4gEAABAEAAAQAAAAAAAAAAAAAAAAABIlAABkb2NQcm9wcy9hcHAueG1sUEsFBgAAAAANAA0AaAMAACooAAAAAAACTmFtZQAMAAAARXhjZWxNaXJyb3IAEFZlcnNpb24AAQAAAAlMYXN0V3JpdGUABalo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AAAAAX/////GQAAAOcPAAAAAAAAAAAAABqDAAAFX2lkABAAAAAEbnvKUvJ4HEWg4bOajmrH0gNEYXRhAMCCAAADRGF0YUxhYmVsc1BlckF4aXMAiYIAAANQcmltYXJ5AEqAAAAERGF0YUxhYmVscwApfgAAAzAAKxYAABBQb2ludEluZGV4AAEAAAACQWxpZ25tZW50AAcAAABDZW50ZXIAEFNlcmllc0luZGV4AAEAAAAIUmVxdWlyZUZvbnRDb2xvck1pZ3JhdGlvbgAACE1hbnVhbERhdGFMYWJlbEJhY2tncm91bmRWaXNpYmxlAAAISGFzV2lzaENvbG9yAAADVGV4dEJveAC6BgAABU1hbmFnZWRJZAAQAAAABPqAe2dAKfhAhSn9PUgzMJs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DAAAANiUAAlRleHRIb3Jpem9udGFsQWxpZ25tZW50ABAAAABtc29BbmNob3JDZW50ZXI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DAAAANiUAAUhlaWdodAAAAACgIp4qQAFXaWR0aAAAAAAgeGIxQAFUb3AAAAAAYB3iYkABTGVmdAAAAABgU1pJ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FTjvArFEyJEjy5iQhD1etk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QDBypU12SbRI6ad+C0xhX1CEhhc0NoYW5nZXMAAQhVc2VOYW1lSW5zdGVhZE9mVGFnQXNJZAABCFNoYXBlUHJldmlvdXNseUNyZWF0ZWQAAANGaWxsQ29sb3IAVQAAABBBAAAAAAAQUgAAAAAAEEcAAAAAABBCAAAAAAABU2NBAAAAAAAAAPC/AVNjUgAAAAAAAADwvwFTY0cAAAAAABkAAAAFGAAAABoAAADnDwAAAAAA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Gjxsk1AAVkAAAAAW3yaY0AACEhhc0xlYWRlckxpbmUAAAhJc0NlbnRlckF1dG9tYXRpY0FkanVzdGVkAAAISXNVc2VyUG9zaXRpb24AAAhBZGRQcmVmaXhTcGFjZQAACEFkZFBvc3RmaXhTcGFjZQAAAlNlcGFyYXRvcgACAAAACgACVGV4dAADAAAANiUACFJlcXVpcmVSZWxhdGl2ZVBvc2l0aW9uVXBncmFkZQAACElzR2VvbWV0cnlPdXRPZkJvdW5kcwAACElzTGVhZGVyTGluZUluQXV0b01vZGUAAQhEZWxldGVkAAAAAzEALhYAABBQb2ludEluZGV4AAIAAAACQWxpZ25tZW50AAcAAABDZW50ZXIAEFNlcmllc0luZGV4AAEAAAAIUmVxdWlyZUZvbnRDb2xvck1pZ3JhdGlvbgAACE1hbnVhbERhdGFMYWJlbEJhY2tncm91bmRWaXNpYmxlAAAISGFzV2lzaENvbG9yAAADVGV4dEJveAC8BgAABU1hbmFnZWRJZAAQAAAABKFCItRzwLNJrLPadmfcjPo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NTQ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AAAADU0JQABSGVpZ2h0AAAAAKAinipAAVdpZHRoAAAAAEDU8TZAAVRvcAAAAABAaJFTQAFMZWZ0AAAAAMAX12R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AAAAAAAAVkAAAAAAAAAAAAAA0VuZAAbAAAAAVgAAAAAAAAAAAABWQAAAAAAAAAAAAACU3RhcnRBcnJvd0hlYWQAEQAAAG1zb0Fycm93aGVhZE5vbmUAAkVuZEFycm93SGVhZAARAAAAbXNvQXJyb3doZWFkTm9uZQAFTWFuYWdlZElkABAAAAAEvi+MUcG8hkGzj2wS/wpLyA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EaAAAABRkAAAAbAAAA5w8AAAAAAAAAAAAA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QI8SoSa5SRRqMuUc7ocX4b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BDVGZkABWQAAAAA2JgJVQAAISGFzTGVhZGVyTGluZQAACElzQ2VudGVyQXV0b21hdGljQWRqdXN0ZWQAAAhJc1VzZXJQb3NpdGlvbgAACEFkZFByZWZpeFNwYWNlAAAIQWRkUG9zdGZpeFNwYWNlAAACU2VwYXJhdG9yAAIAAAAKAAJUZXh0AAQAAAA1NCUACFJlcXVpcmVSZWxhdGl2ZVBvc2l0aW9uVXBncmFkZQAACElzR2VvbWV0cnlPdXRPZkJvdW5kcwAACElzTGVhZGVyTGluZUluQXV0b01vZGUAAQhEZWxldGVkAAAAAzIALhYAABBQb2ludEluZGV4AAMAAAACQWxpZ25tZW50AAcAAABDZW50ZXIAEFNlcmllc0luZGV4AAEAAAAIUmVxdWlyZUZvbnRDb2xvck1pZ3JhdGlvbgAACE1hbnVhbERhdGFMYWJlbEJhY2tncm91bmRWaXNpYmxlAAAISGFzV2lzaENvbG9yAAADVGV4dEJveAC8BgAABU1hbmFnZWRJZAAQAAAABMcvqLW2CipKjxNNoDmKtaY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MzElAAJUZXh0SG9yaXpvbnRhbEFsaWdubWVudAAQAAAAbXNvQW5jaG9yQ2VudGVyAAJQYXJhZ3JhcGhBbGlnbm1lbnQADwAAAG1zb0FsaWduQ2VudGVyAAJUZXh0VmVydGljYWxBbGlnbm1lbnQAEAAAAG1zb0FuY2hvck1pZGRsZQADGwAAAAUaAAAAHAAAAOcPAAAAAAAAAAAAAE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QAAAAzMSUAAUhlaWdodAAAAACgIp4qQAFXaWR0aAAAAABA1PE2QAFUb3AAAAAAoMJJXEABTGVmdAAAAAAgSNhx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Nh70rpr4TVFmCZeMSjU19g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TPNPetKFpIQapVkQHVG+2w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BwAAAAFGwAAAB0AAADnDwAAAAAA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MLWj3JAAVkAAAAAloC6XUAACEhhc0xlYWRlckxpbmUAAAhJc0NlbnRlckF1dG9tYXRpY0FkanVzdGVkAAAISXNVc2VyUG9zaXRpb24AAAhBZGRQcmVmaXhTcGFjZQAACEFkZFBvc3RmaXhTcGFjZQAAAlNlcGFyYXRvcgACAAAACgACVGV4dAAEAAAAMzElAAhSZXF1aXJlUmVsYXRpdmVQb3NpdGlvblVwZ3JhZGUAAAhJc0dlb21ldHJ5T3V0T2ZCb3VuZHMAAAhJc0xlYWRlckxpbmVJbkF1dG9Nb2RlAAEIRGVsZXRlZAAAAAMzACsWAAAQUG9pbnRJbmRleAAEAAAAAkFsaWdubWVudAAHAAAAQ2VudGVyABBTZXJpZXNJbmRleAABAAAACFJlcXVpcmVGb250Q29sb3JNaWdyYXRpb24AAAhNYW51YWxEYXRhTGFiZWxCYWNrZ3JvdW5kVmlzaWJsZQAACEhhc1dpc2hDb2xvcgAAA1RleHRCb3gAugYAAAVNYW5hZ2VkSWQAEAAAAAQbgfpCAxDQQJN1UuQZTc7g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Y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AwAAADYlAAFIZWlnaHQAAAAAoCKeKkABV2lkdGgAAAAAIHhiMUABVG9wAAAAAGAd4mJAAUxlZnQAAAAAYH9xe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ScVcyMmCixQpN9CCc7cmIY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dAAAABRwAAAAeAAAA5w8AAAAAAAAAAAAA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IrqwSt2wjZFtDEG6s30QN4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Ahk/x5QAFZAAAAAFt8mmNAAAhIYXNMZWFkZXJMaW5lAAAISXNDZW50ZXJBdXRvbWF0aWNBZGp1c3RlZAAACElzVXNlclBvc2l0aW9uAAAIQWRkUHJlZml4U3BhY2UAAAhBZGRQb3N0Zml4U3BhY2UAAAJTZXBhcmF0b3IAAgAAAAoAAlRleHQAAwAAADYlAAhSZXF1aXJlUmVsYXRpdmVQb3NpdGlvblVwZ3JhZGUAAAhJc0dlb21ldHJ5T3V0T2ZCb3VuZHMAAAhJc0xlYWRlckxpbmVJbkF1dG9Nb2RlAAEIRGVsZXRlZAAAAAM0ACsWAAAQUG9pbnRJbmRleAAFAAAAAkFsaWdubWVudAAHAAAAQ2VudGVyABBTZXJpZXNJbmRleAABAAAACFJlcXVpcmVGb250Q29sb3JNaWdyYXRpb24AAAhNYW51YWxEYXRhTGFiZWxCYWNrZ3JvdW5kVmlzaWJsZQAACEhhc1dpc2hDb2xvcgAAA1RleHRCb3gAugYAAAVNYW5hZ2VkSWQAEAAAAATVcZBrl3XKQrx4xn3rnymI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I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AwAAADIlAAFIZWlnaHQAAAAAoCKeKkABV2lkdGgAAAAAIHhiMUABVG9wAAAAAIA7pGNAAUxlZnQAAAAAwB1vg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HgAAAAUdAAAAHwAAAOcPAAAAAAAAAAA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AAAAAAAAVkAAAAAAAAAAAAAA0VuZAAbAAAAAVgAAAAAAAAAAAABWQAAAAAAAAAAAAACU3RhcnRBcnJvd0hlYWQAEQAAAG1zb0Fycm93aGVhZE5vbmUAAkVuZEFycm93SGVhZAARAAAAbXNvQXJyb3doZWFkTm9uZQAFTWFuYWdlZElkABAAAAAE98bIRBWfXUemd6hBNpmobA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AkqvREnhM1OqmE0qOcA2TQ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ICgp7SAQAFZAAAAAHuaXGRAAAhIYXNMZWFkZXJMaW5lAAAISXNDZW50ZXJBdXRvbWF0aWNBZGp1c3RlZAAACElzVXNlclBvc2l0aW9uAAAIQWRkUHJlZml4U3BhY2UAAAhBZGRQb3N0Zml4U3BhY2UAAAJTZXBhcmF0b3IAAgAAAAoAAlRleHQAAwAAADIlAAhSZXF1aXJlUmVsYXRpdmVQb3NpdGlvblVwZ3JhZGUAAAhJc0dlb21ldHJ5T3V0T2ZCb3VuZHMAAAhJc0xlYWRlckxpbmVJbkF1dG9Nb2RlAAEIRGVsZXRlZAAAAAM1ADUPAAAQUB8AAAAFHgAAAFcAAADnDwAAAAAAAAAAAABvaW50SW5kZXgABgAAAAJBbGlnbm1lbnQABwAAAENlbnRlcgAQU2VyaWVzSW5kZXgAAQAAAAhSZXF1aXJlRm9udENvbG9yTWlncmF0aW9uAAAITWFudWFsRGF0YUxhYmVsQmFja2dyb3VuZFZpc2libGUAAAhIYXNXaXNoQ29sb3IAAANUZXh0Qm94ALgGAAAFTWFuYWdlZElkABAAAAAEH8ja8stL6k6gQEonevtemw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xJQACVGV4dEhvcml6b250YWxBbGlnbm1lbnQADgAAAG1zb0FuY2hvck5vbmU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DAAAAMSUAAUhlaWdodAAAAACgIp4qQAFXaWR0aAAAAAAgeGIxQAFUb3AAAAAAAMPUY0ABTGVmdAAAAADgeyWE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FgNVHA7F0JAvpXM//ARlL0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IDABWuEQAFZAAAAAPshjWRAAAhIYXNMZWFkZXJMaW5lAAAISXNDZW50ZXJBdXRvbWF0aWNBZGp1c3RlZAAACElzVXNlclBvc2l0aW9uAAAIQWRkUHJlZml4U3BhY2UAAAhBZGRQb3N0Zml4U3BhY2UAAAJTZXBhcmF0b3IAAgAAAAoAAlRleHQAAwAAADElAAhSZXF1aXJlUmVsYXRpdmVQb3NpdGlvblVwZ3JhZGUAAAhJc0dlb21ldHJ5T3V0T2ZCb3VuZHMAAAhJc0xlYWRlckxpbmVJbkF1dG9Nb2RlAAEIRGVsZXRlZAAAAAADVGV4dERlZmluaXRpb24AzQEAAANSb290RWxlbWVudAC7AQAAAl90eXBlAIUAAABtaW8uQ29tbW9uLlBvd2VyUG9pbnQuTWFuYWdlZC5EYXRhLkRhdGFDaGFydHMuRGF0YUxhYmVscy5EYXRhLkJ1aWxkZXIuVGV4dFVuaXQuU2VwYXJhdG9yVW5pdERhdGEsIG1pby5Db21tb24uUG93ZXJQb2ludC5NYW5hZ2VkLkRhdGEAAlMgAAAABf////8hAAAA5w8AAAAAAAAAAAAAozsAAAVfaWQAEAAAAASTqohsprrYSoMnsVgpymNGBERhdGEASzsAAAMwAN4JAAAFX2lkABAAAAAE1330m6FwBEW1iaFJp7h1TwJfdHlwZQBXAAAAZW1wb3dlci5DaGFydHMuRGF0YS5EYXRhQ2hhcnRzLk92ZXJsYXlzLkRhdGEuQ29sdW1uU3VtT3ZlcmxheURhdGEsIGVtcG93ZXIuQ2hhcnRzLkRhdGEAEENvbHVtbgABAAAAEFNlcmllcwD/////A1RleHRFbGVtZW50AOsGAAACQXV0b1NoYXBlVHlwZQAKAAAAUmVjdGFuZ2xlAARBZGp1c3RtZW50cwAFAAAAAAVNYW5hZ2VkSWQAEAAAAAT+bn4sWRJcSajaTHAkRGcR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J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DARyEsQAFXaWR0aAAAAADAYzQ2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Agcz0qQAACQ29sdW1uU3VtUG9zaXRpb24ADAAAAERlZmF1bHREb2NrAAhEZWxldGVkAAEDTnVtYmVyRm9ybWF0AB8AAAAFX2lkABAAAAAEAAAAAAAAAAAAAAAAAAAAAAADVGV4dEZvcm1hdA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Jc05ldwABAUZvbnRTaXplAAAAAAAAACRAAAMxAN4JAAAFX2lkABAAAAAEayJ+YO5EEUKpjl7ClB+EBwJfdHlwZQBXAAAAZW1wb3dlci5DaGFydHMuRGF0YS5EYXRhQ2hhcnRzLk92ZXJsYXlzLkRhdGEuQ29sdW1uU3VtT3ZlcmxheURhdGEsIGVtcG93ZXIuQ2hhcnRzLkRhdGEAEENvbHVtbgACAAAAEFNlcmllcwD/////A1RleHRFbGVtZW50AOsGAAACQXV0b1NoYXBlVHlwZQAKAAAAUmVjdGFuZ2xlAARBZGp1c3RtZW50cwAFAAAAAAVNYW5hZ2VkSWQAEAAAAAREkpnarvGaR5JOZv56JGQ7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J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DARyEsQAFXaWR0aAAAAADAYzQ2QAFUb3AAAAAA4HHkdkABTGVmdAAAAABgDiaCQAhGbGlwSG9yaXpvbnRhbGx5AAAIRmxpcEhvcml6b250YWxseUFwcGxpZWQAAAhGbGlwVmVydGljYWxseQAACEZsaXBWZXJ0aWNhbGx5QXBwbGllZAAAAVJvdGF0aW9uAAAAAAAAAAAAAVpPcmRlcgAAAAAAAAAAAANCb3JkZXJDb2xvcgBVAAAAEEEAAAAAABBSAP8AAAAQIQAAAAUgAAAAIgAAAOcPAAAAAAAAAAAAA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IHM9KkAAAkNvbHVtblN1bVBvc2l0aW9uAAwAAABEZWZhdWx0RG9jawAIRGVsZXRlZAABA051bWJlckZvcm1hdAAfAAAABV9pZAAQAAAABAAAAAAAAAAAAAAAAAAAAAAAA1RleHRGb3JtYXQ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SXNOZXcAAQFGb250U2l6ZQAAAAAAAAAkQAADMgDeCQAABV9pZAAQAAAABGfjjkLQrDBFkRSE2wtPXDUCX3R5cGUAVwAAAGVtcG93ZXIuQ2hhcnRzLkRhdGEuRGF0YUNoYXJ0cy5PdmVybGF5cy5EYXRhLkNvbHVtblN1bU92ZXJsYXlEYXRhLCBlbXBvd2VyLkNoYXJ0cy5EYXRhABBDb2x1bW4AAwAAABBTZXJpZXMA/////wNUZXh0RWxlbWVudADrBgAAAkF1dG9TaGFwZVR5cGUACgAAAFJlY3RhbmdsZQAEQWRqdXN0bWVudHMABQAAAAAFTWFuYWdlZElkABAAAAAEkZDbaD+Pw0q7ZfZmH8FW4Q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kZvbnROYW1lAAcAAAArbW4tbHQAAUZvbnRTaXplAAAAAAAAACR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wEchLEABV2lkdGgAAAAAwGM0Nk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IHM9KkAAAkNvbHVtblN1bVBvc2l0aW9uAAwAAABEZWZhdWx0RG9jawAIRGVsZXRlZAABA051bWJlckZvcm1hdAAfAAAABV9pZAAQAAAABAAAAAAAAAAAAAAAAAAAAAAAA1RleHRGb3JtYXQ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SXNOZXcAAQFGb250U2l6ZQAAAAAAAAAkQAADMwDeCQAABV9pZAAQAAAABFHcIllXRJlBn3La48ms464CX3R5cGUAVwAAAGVtcG93ZXIuQ2hhcnRzLkRhdGEuRGF0YUNoYXJ0cy5PdmVybGF5cy5EYXRhLkNvbHVtblN1bU92ZXJsYXlEYXRhLCBlbXBvd2VyLkNoYXJ0cy5EYXRhABBDb2x1bW4ABAAAABBTZXJpZXMA/////wNUZXh0RWxlbWVudADrBgAAAkF1dG9TaGFwZVR5cGUACgAAAFJlY3RhbmdsZQAEQWRqdXN0bWVudHMABQAAAAAFTWFuYWdlZElkABAAAAAE7APYUJ1sXkG1AAsCC9vySg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CIAAAAFIQAAACMAAADnDwAAAAAAAAAAAA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MBHISxAAVdpZHRoAAAAAMBjNDZ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CBzPSpAAAJDb2x1bW5TdW1Qb3NpdGlvbgAMAAAARGVmYXVsdERvY2sACERlbGV0ZWQAAQNOdW1iZXJGb3JtYXQAHwAAAAVfaWQAEAAAAAQAAAAAAAAAAAAAAAAAAAAAAANUZXh0Rm9ybWF0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lzTmV3AAEBRm9udFNpemUAAAAAAAAAJEAAAzQA3gkAAAVfaWQAEAAAAAT1tR7MxY+9T5FbMP/7O76kAl90eXBlAFcAAABlbXBvd2VyLkNoYXJ0cy5EYXRhLkRhdGFDaGFydHMuT3ZlcmxheXMuRGF0YS5Db2x1bW5TdW1PdmVybGF5RGF0YSwgZW1wb3dlci5DaGFydHMuRGF0YQAQQ29sdW1uAAUAAAAQU2VyaWVzAP////8DVGV4dEVsZW1lbnQA6wYAAAJBdXRvU2hhcGVUeXBlAAoAAABSZWN0YW5nbGUABEFkanVzdG1lbnRzAAUAAAAABU1hbmFnZWRJZAAQAAAABEg/IjUuQZ9Nq+4JRZhUuC0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MBHISxAAVdpZHRoAAAAAMBjNDZ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CBzPSpAAAJDb2x1bW5TdW1Qb3NpdGlvbgAMAAAARGVmYXVsdERvY2sACERlbGV0ZWQAAQNOdW1iZXJGb3JtYXQAHwAAAAVfaWQAEAAAAAQAAAAAAAAAAAAAAAAAAAAAAANUZXh0Rm9ybWF0AM0BAAADUm9vdEVsZW1lbnQjAAAABSIAAAD/////7gv5AwAAAAAAAAAA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Jc05ldwABAUZvbnRTaXplAAAAAAAAACRAAAM1AN4JAAAFX2lkABAAAAAEr3tKuLwSqUyEPnlIp/lMswJfdHlwZQBXAAAAZW1wb3dlci5DaGFydHMuRGF0YS5EYXRhQ2hhcnRzLk92ZXJsYXlzLkRhdGEuQ29sdW1uU3VtT3ZlcmxheURhdGEsIGVtcG93ZXIuQ2hhcnRzLkRhdGEAEENvbHVtbgAGAAAAEFNlcmllcwD/////A1RleHRFbGVtZW50AOsGAAACQXV0b1NoYXBlVHlwZQAKAAAAUmVjdGFuZ2xlAARBZGp1c3RtZW50cwAFAAAAAAVNYW5hZ2VkSWQAEAAAAAQ0KhEfmMtKRY37c+phX6bx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J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CgmVkoQAFXaWR0aAAAAABg1PE2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CQ29sdW1uU3VtUG9zaXRpb24ADAAAAERlZmF1bHREb2NrAAhEZWxldGVkAAEDTnVtYmVyRm9ybWF0AB8AAAAFX2lkABAAAAAEAAAAAAAAAAAAAAAAAAAAAAADVGV4dEZvcm1hdA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Jc05ldwABAUZvbnRTaXplAAAAAAAAACRAAAACTmFtZQAJAAAAT3ZlcmxheXMAEFZlcnNpb24ACAAAAAlMYXN0V3JpdGUA2oBo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AAAAAT//////////wkApQcAAAAAAAAAAAAA/////4ADgAMAAAVfaWQAEAAAAAQojpF87ybaR6cwixjVfUzFA0RhdGEAHgMAAANCb3VuZHM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hJc1Zpc2libGUAAAhJc1JldmVyc2VkAAAIU2hvd0dyaWRMaW5lcwAAAU1ham9yVW5pdAAAAAAAAAAAAAFNYXhpbXVtU2NhbGUAAAAAAAAAAAABTWluaW11bVNjYWxlAAAAAAAAAAAACFVzZUF1dG9tYXRpY01ham9yVW5pdAABCFVzZUF1dG9tYXRpY01pbmltdW1TY2FsZQABCFVzZUF1dG9tYXRpY01heGltdW1TY2FsZQABA0FkZGl0aW9uYWxBeGlzVGlja0xhYmVsc0RhdGEAtwAAAARJdGVtRGF0YQAFAAAAAANGb250Q29sb3IAVQAAABBBAAAAAAAQUgAAAAAAEEcAAAAAABBCAAAAAAABU2NBAAAAAAAAAAAAAVNjUgAAAAAAAAAAAAFTY0cAAAAAAAAAAAABU2NCAAAAAAAAAAAAABBGb250U2NoZW1lQ29sb3IAAAAAABBGb250VGhlbWVDb2xvcgAAAAAAAUZvbnRUaW50QW5kU2hhZGUAAAAAAAAAAAAABEdyaWRMaW5lSXRlbURhdGEABQAAAAAAAk5hbWUAEwAAAEFkZGl0aW9uYWxBeGlzRGF0YQAQVmVyc2lvbgABAAAACUxhc3RXcml0ZQAgrV1oiQEAAAABAP////+aAJoAAAAFX2lkABAAAAAEE+nvf7lx3USNwSkjXFjmGANEYXRhADgAAAAIQXJlTmVnYXRpdmVTdW1zQXRPdGhlckVuZAAACEFyZUNvbHVtblN1bXNWaXNpYmxlAAAAAk5hbWUAEwAAAENvbHVtblN1bXNTZXR0aW5ncwAQVmVyc2lvbgAAAAAACUxhc3RXcml0ZQCCjRX5iQEAAAACACUAAAAAAAMA/////3AAcAAAAAVfaWQAEAAAAATLusCFXKsxQrTctzoZul6QA0RhdGEAFgAAAAJQZXJzb25hbElkAAEAAAAAAAJOYW1lAAsAAABQZXJzb25hbElkABBWZXJzaW9uAAAAAAAJTGFzdFdyaXRlAJGF1Bp3AQAAAAQA/////2sAawAAAAVfaWQAEAAAAATTleKF5Sf7Qbi8JaMlPxQmA0RhdGEAEgAAAAhJc1JldmVyc2VkAAAAAk5hbWUACgAAAFdhdGVyZmFsbAAQVmVyc2lvbgAAAAAACUxhc3RXcml0ZQDfjDDTYgEAAAAFAP////+ZAJkAAAAFX2lkABAAAAAEh2iVh+yRiEK8iM/WSmOSPwNEYXRhAC8AAAAISXNBY3RpdmUAAARVbmJyZWFrYWJsZVNlcmllc0luZGljZXMABQAAAAAAAk5hbWUAGwAAAEF1dG9tYXRpY0JyZWFrU2V0dGluZ3NEYXRhABBWZXJzaW9uAAAAAAAJTGFzdFdyaXRlAHfa2dJwAQAAAAYA/////3oBegEAAAVfaWQAEAAAAAQVdYCUVbFVSbLdan4+xBtMA0RhdGEADAEAAARQb2ludENvbG9yc1N0eWxlAAUAAAAAA1Nlcmllc0NvbG9yc1N0eWxlAN0AAAADMQDVAAAAEFNlcmllc0luZGV4AAEAAAADUHJpbWFyeUNvbG9yU3R5bGUArAAAAAJDb2xvclByb3BlcnR5VGFyZ2V0AAgAAABQcmltYXJ5AANDb2xvck9yVGhlbWVDb2xvcgBzAAAAEFRoZW1lQ29sb3IABQAAAAFUaW50QW5kU2hhZGUAAAAAAAAAAAAQVGludEluZGV4AP////8QU2NoZW1lQ29sb3IAAAAAAANDb2xvcgAhAAAAEEEA/wAAABBSABIAAAAQRwA/AAAAEEIAbgAAAAAAAAAAAAJOYW1lAB8AAABQb2ludEFuZFNlcmllc1N0eWxlRGVmaW5pdGlvbnMAEFZlcnNpb24AAAAAAAlMYXN0V3JpdGUAFIDm2YIBAAAABwD/////kQCRAAAABV9pZAAQAAAABNJNE5XMHuNPvdRInjZLFhwDRGF0YQA4AAAABE9uVG9wU2VyaWVzSW5kaXplcwAFAAAAAARIaWRkZW5TZXJpZXNJbmRpemVzAAUAAAAAAAJOYW1lAAoAAABXYXRlcmZhbGwAEFZlcnNpb24AAQAAAAlMYXN0V3JpdGUA4VhPXo0BAAAACAD/////YQBhAAAABV9pZAAQAAAABJ5AvKNczV9KtrVe3Rf49rIERGF0YQAFAAAAAAJOYW1lAA0AAABMaW5rRGF0YUxpc3QAEFZlcnNpb24AAAAAAAlMYXN0V3JpdGUAYmiRMX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UAAAAF/////yYAAADnDwAAAAAAAAAAAAAOFQAABV9pZAAQAAAABF5d8IS6ff1KllTFGOsuaAIDRGF0YQC0FAAABEl0ZW1EYXRhAPMTAAADMADrEwAAEEluZGV4AAEAAAADVGV4dFNoYXBlRGF0YQBXBgAABU1hbmFnZWRJZAAQAAAABBXXVfWhJR1AoYBAnos4cqQ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EIU2l6ZVRvVGV4dEhlaWdodAAB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WFya2VyU2hhcGVEYXRhAHQGAAACQXV0b1NoYXBlVHlwZQAKAAAAUmVjdGFuZ2xlAAVNYW5hZ2VkSWQAEAAAAAShDTl0l67ISpIb0NJF8OjO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JE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pbmVTaGFwZURhdGEA4QYAAANTdGFydAAbAAAAAVgAAAAAAAAAAAABWQAAAAAAAAAAAAADRW5kABsAAAABWAAAAAAAAAAAAAFZAAAAAAAAAAAAAAJTdGFydEFycm93SGVhZAARAAAAbXNvQXJyb3doZWFkTm9uZQACRW5kQXJyb3dIZWFkABEAAABtc29BcnJvd2hlYWROb25lAAVNYW5hZ2VkSWQAEAAAAATGj3BKQvfiSKVzyFzGcWm+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mAAAABSUAAAD/////JwXACgAAAAAAAAAA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kFsaWdubWVudAAHAAAASGlkZGVuAAhJc1VzZXJQb3NpdGlvbgAAA0N1c3RvbUNlbnRlclBvc2l0aW9uABsAAAABWAAAAAAAAAAAAAFZAAAAAAAAAAAAAAJJdGVtT3JkZXIACgAAAEFzY2VuZGluZwAQUm93Q291bnQAAAAAABBDb2x1bW5Db3VudAAAAAAAAkl0ZW1GbG93RGlyZWN0aW9uAAsAAABIb3Jpem9udGFsAAACTmFtZQALAAAATGVnZW5kRGF0YQAQVmVyc2lvbgACAAAACUxhc3RXcml0ZQCEvpnuh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wAAAAT//////////wUA7wcAAAAAAAAAAAAA/////3oBegEAAAVfaWQAEAAAAAToaEilMMHcSpfqvUw9FHzNA0RhdGEADAEAAARQb2ludENvbG9yc1N0eWxlAAUAAAAAA1Nlcmllc0NvbG9yc1N0eWxlAN0AAAADMQDVAAAAEFNlcmllc0luZGV4AAEAAAADUHJpbWFyeUNvbG9yU3R5bGUArAAAAAJDb2xvclByb3BlcnR5VGFyZ2V0AAgAAABQcmltYXJ5AANDb2xvck9yVGhlbWVDb2xvcgBzAAAAEFRoZW1lQ29sb3IABQAAAAFUaW50QW5kU2hhZGUAAAAAAAAAAAAQVGludEluZGV4AP////8QU2NoZW1lQ29sb3IAAAAAAANDb2xvcgAhAAAAEEEA/wAAABBSABIAAAAQRwA/AAAAEEIAbgAAAAAAAAAAAAJOYW1lAB8AAABQb2ludEFuZFNlcmllc1N0eWxlRGVmaW5pdGlvbnMAEFZlcnNpb24AAQAAAAlMYXN0V3JpdGUAqQtz04QBAAAAAQD/////EAUQBQAABV9pZAAQAAAABIudAKkLc7hBlaniY+uU//MDRGF0YQCwBAAAA0dyaWRMaW5lU3R5bGVzRGF0YQCXBAAAA1ByaW1hcnlWYWx1ZUF4aXNHcmlkTGluZVN0eWxlAB0CAAADTWFqb3JVbml0TGluZVN0eWxlAPgAAAADQ29sb3IAVQAAABBBAP8AAAAQUgCJAAAAEEcAiQAAABBCAIkAAAABU2NBAAAAAAAAAPA/AVNjUgAAAAAAmALQPwFTY0cAAAAAAJgC0D8BU2NCAAAAAACYAtA/AAJTY2hlbWVDb2xvckluZGV4ABEAAABwcE5vdFNjaGVtZUNvbG9yABBUaGVtZUNvbG9ySW5kZXgAAAAAAAFUaW50QW5kU2hhZGUAAAAAAAAA0D8BTGluZVdlaWdodAAAAAAAAADgPwJEYXNoU3R5bGUACgAAAExpbmVTb2xpZAAIVmlzaWJsZQABCElzQXV0b21hdGljAAEAA01pbm9yVW5pdExpbmVTdHlsZQD4AAAAA0NvbG9yAFUAAAAQQQD/AAAAEFIAvAAAABBHALwAAAAQQgC8AAAAAVNjQQAAAAAAAADwPwFTY1IAAAAAYKUX4D8BU2NHAAAAAGClF+A/AVNjQgAAAABgpRfgPwACU2NoZW1lQ29sb3JJbmRleAARAAAAcHBOb3RTY2hlbWVDb2xvcgAQVGhlbWVDb2xvckluZGV4AAAAAAABVGludEFuZFNoYWRlAAAAAAAAAOA/AUxpbmVXZWlnaHQAAAAAAAAA4D8CRGFzaFN0eWxlAAoAAABMaW5lU29saWQACFZpc2libGUAAAhJc0F1dG9tYXRpYwAAAAADUHJpbWFyeUNhdGVnb3J5QXhpc0dyaWRMaW5lU3R5bGUAHQIAAANNYWpvclVuaXRMaW5lU3R5bGUA+AAAAANDb2xvcgBVAAAAEEEA/wAAABBSAIkAAAAQRwCJAAAAEEIAiQAAAAFTY0EAAAAAAAAA8D8BU2NSAAAAAACYAtA/AVNjRwAAAAAAmALQPwFTY0IAAAAAAJgC0D8AAlNjaGVtZUNvbG9ySW5kZXgAEQAAAHBwTm90U2NoZW1lQ29sb3IAEFRoZW1lQ29sb3JJbmRleAAAAAAAAVRpbnRBbmRTaGFkZQAAAAAAAADQPwFMaW5lV2VpZ2h0AAAAAAAAAOA/AkRhc2hTdHlsZQAKAAAATGluZVNvbGlkAAhWaXNpYmxlAAEISXNBdXRvbWF0aWMAAAADTWlub3JVbml0TGluZVN0eWxlAPgAAAADQ29sb3IAVQAAABBBAP8AAAAQUgC8AAAAEEcAvAAAABBCALwAAAABU2NBAAAAAAAAAPA/AVNjUgAAAABgpRfgPwFTY0cAAAAAYKUX4D8BU2NCAAAAAGClF+A/AAJTY2hlbWVDb2xvckluZGV4ABEAAABwcE5vdFNjaGVtZUNvbG9yABBUaGVtZUNvbG9ySW5kZXgAAAAAAAFUaW50QW5kU2hhZGUAAAAAAAAA4D8BTGluZVdlaWdodAAAAAAAAADgPwJEYXNoU3R5bGUACgAAAExpbmVTb2xpZAAIVmlzaWJsZQAACElzQXV0b21hdGljAAAAAAhTaG93R3JpZGxpbmVzRGVmYXVsdAABAAACTmFtZQARAAAAR3JpZGxpbmVTZXR0aW5ncwAQVmVyc2lvbgABAAAACUxhc3RXcml0ZQBAWFdejQEAAAACAP////95AHkAAAAFX2lkABAAAAAE9ZXdqcc7DU+6Opn1VlnoeANEYXRhABUAAAAIU2hhcGVzUmVtb3ZlZAAAAAJOYW1lABUAAABHZW5lcmFsRXhjZWxTZXR0aW5ncwAQVmVyc2lvbgAAAAAACUxhc3RXcml0ZQDSS4+ofAEAAAADACgAAAAAAAQA/////80AzQAAAAVfaWQAEAAAAASF7QG1k3bBQJHUm2JnYji5A0RhdGEAYQAAAAhIYXNTdHlsZVJlcG9zaXRvcnlCZWVuTWlncmF0ZWQAAQhIYXNCb3JkZXJTdHlsZUJlZW5NaWdyYXRlZAABCEhhc0NoYXJ0QmVlbkxheW91dGVkRm9yRmxleAABAAJOYW1lAB0AAABDaGFydFN0eWxlU3RhdHVzSW5mb3JtYXRpb25zABBWZXJzaW9uAAEAAAAJTGFzdFdyaXRlACHoXWiJ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gAAAAF/////ykAAADnDwAAAAAAAAAAAACNMAAABV9pZAAQAAAABN1fWrIlbJxPpbVsPP4BItEERGF0YQA1MAAAAzAABQgAAAVfaWQAEAAAAATXffSboXAERbWJoUmnuHVPAl90eXBlAFcAAABlbXBvd2VyLkNoYXJ0cy5EYXRhLkRhdGFDaGFydHMuT3ZlcmxheXMuRGF0YS5Db2x1bW5TdW1PdmVybGF5RGF0YSwgZW1wb3dlci5DaGFydHMuRGF0YQAQQ29sdW1uAAEAAAAQU2VyaWVzAP////8DVGV4dEVsZW1lbnQA6wYAAAJBdXRvU2hhcGVUeXBlAAoAAABSZWN0YW5nbGUABEFkanVzdG1lbnRzAAUAAAAABU1hbmFnZWRJZAAQAAAABP5ufixZElxJqNpMcCREZxE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MBHISxAAVdpZHRoAAAAAMBjNDZ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CBzPSpAAAJDb2x1bW5TdW1Qb3NpdGlvbgAMAAAARGVmYXVsdERvY2sACERlbGV0ZWQAAQNOdW1iZXJGb3JtYXQAHwAAAAVfaWQAEAAAAAQAAAAAAAAAAAAAAAAAAAAAAAhJc05ldwABAUZvbnRTaXplAAAAAAAAACRAAAMxAAUIAAAFX2lkABAAAAAEayJ+YO5EEUKpjl7ClB+EBwJfdHlwZQBXAAAAZW1wb3dlci5DaGFydHMuRGF0YS5EYXRhQ2hhcnRzLk92ZXJsYXlzLkRhdGEuQ29sdW1uU3VtT3ZlcmxheURhdGEsIGVtcG93ZXIuQ2hhcnRzLkRhdGEAEENvbHVtbgACAAAAEFNlcmllcwD/////A1RleHRFbGVtZW50AOsGAAACQXV0b1NoYXBlVHlwZQAKAAAAUmVjdGFuZ2xlAARBZGp1c3RtZW50cwAFAAAAAAVNYW5hZ2VkSWQAEAAAAAREkpnarvGaR5JOZv56JGQ7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J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DARyEsQAFXaWR0aAAAAADAYzQ2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Agcz0qQAACQ29sdW1uU3VtUG9zaXRpb24ADAAAAERlZmF1bHREb2NrAAgpAAAABSgAAAAqAAAA5w8AAAAAAAAAAAAARGVsZXRlZAABA051bWJlckZvcm1hdAAfAAAABV9pZAAQAAAABAAAAAAAAAAAAAAAAAAAAAAACElzTmV3AAEBRm9udFNpemUAAAAAAAAAJEAAAzIABQgAAAVfaWQAEAAAAARn445C0KwwRZEUhNsLT1w1Al90eXBlAFcAAABlbXBvd2VyLkNoYXJ0cy5EYXRhLkRhdGFDaGFydHMuT3ZlcmxheXMuRGF0YS5Db2x1bW5TdW1PdmVybGF5RGF0YSwgZW1wb3dlci5DaGFydHMuRGF0YQAQQ29sdW1uAAMAAAAQU2VyaWVzAP////8DVGV4dEVsZW1lbnQA6wYAAAJBdXRvU2hhcGVUeXBlAAoAAABSZWN0YW5nbGUABEFkanVzdG1lbnRzAAUAAAAABU1hbmFnZWRJZAAQAAAABJGQ22g/j8NKu2X2Zh/BVuE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MBHISxAAVdpZHRoAAAAAMBjNDZ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CBzPSpAAAJDb2x1bW5TdW1Qb3NpdGlvbgAMAAAARGVmYXVsdERvY2sACERlbGV0ZWQAAQNOdW1iZXJGb3JtYXQAHwAAAAVfaWQAEAAAAAQAAAAAAAAAAAAAAAAAAAAAAAhJc05ldwABAUZvbnRTaXplAAAAAAAAACRAAAMzAAUIAAAFX2lkABAAAAAEUdwiWVdEmUGfctrjyazjrgJfdHlwZQBXAAAAZW1wb3dlci5DaGFydHMuRGF0YS5EYXRhQ2hhcnRzLk92ZXJsYXlzLkRhdGEuQ29sdW1uU3VtT3ZlcmxheURhdGEsIGVtcG93ZXIuQ2hhcnRzLkRhdGEAEENvbHVtbgAEAAAAEFNlcmllcwD/////A1RleHRFbGVtZW50AOsGAAACQXV0b1NoYXBlVHlwZQAKAAAAUmVjdGFuZ2xlAARBZGp1c3RtZW50cwAFAAAAAAVNYW5hZ2VkSWQAEAAAAATsA9hQnWxeQbUACwIL2/JK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J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DARyEsQAFXaWR0aAAAAADAYzQ2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AgKgAAAAUpAAAAVgAAAOcPAAAAAAAAAAAAAHM9KkAAAkNvbHVtblN1bVBvc2l0aW9uAAwAAABEZWZhdWx0RG9jawAIRGVsZXRlZAABA051bWJlckZvcm1hdAAfAAAABV9pZAAQAAAABAAAAAAAAAAAAAAAAAAAAAAACElzTmV3AAEBRm9udFNpemUAAAAAAAAAJEAAAzQABQgAAAVfaWQAEAAAAAT1tR7MxY+9T5FbMP/7O76kAl90eXBlAFcAAABlbXBvd2VyLkNoYXJ0cy5EYXRhLkRhdGFDaGFydHMuT3ZlcmxheXMuRGF0YS5Db2x1bW5TdW1PdmVybGF5RGF0YSwgZW1wb3dlci5DaGFydHMuRGF0YQAQQ29sdW1uAAUAAAAQU2VyaWVzAP////8DVGV4dEVsZW1lbnQA6wYAAAJBdXRvU2hhcGVUeXBlAAoAAABSZWN0YW5nbGUABEFkanVzdG1lbnRzAAUAAAAABU1hbmFnZWRJZAAQAAAABEg/IjUuQZ9Nq+4JRZhUuC0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MBHISxAAVdpZHRoAAAAAMBjNDZ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CBzPSpAAAJDb2x1bW5TdW1Qb3NpdGlvbgAMAAAARGVmYXVsdERvY2sACERlbGV0ZWQAAQNOdW1iZXJGb3JtYXQAHwAAAAVfaWQAEAAAAAQAAAAAAAAAAAAAAAAAAAAAAAhJc05ldwABAUZvbnRTaXplAAAAAAAAACRAAAM1AAUIAAAFX2lkABAAAAAEr3tKuLwSqUyEPnlIp/lMswJfdHlwZQBXAAAAZW1wb3dlci5DaGFydHMuRGF0YS5EYXRhQ2hhcnRzLk92ZXJsYXlzLkRhdGEuQ29sdW1uU3VtT3ZlcmxheURhdGEsIGVtcG93ZXIuQ2hhcnRzLkRhdGEAEENvbHVtbgAGAAAAEFNlcmllcwD/////A1RleHRFbGVtZW50AOsGAAACQXV0b1NoYXBlVHlwZQAKAAAAUmVjdGFuZ2xlAARBZGp1c3RtZW50cwAFAAAAAAVNYW5hZ2VkSWQAEAAAAAQ0KhEfmMtKRY37c+phX6bx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J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CgmVkoQAFXaWR0aAAAAABg1PE2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CsAAAAE//////////8GADAFAAAAAAAAAAAAACwAAAAAAAEANAAAAAAAAgD/////cwBzAAAABV9pZAAQAAAABNiYZ8O30k9AjpDeyzarfVEDRGF0YQAXAAAABFNlcmllTGFiZWxzAAUAAAAAAAJOYW1lAA0AAABTZXJpZXNMYWJlbHMAEFZlcnNpb24ABAAAAAlMYXN0V3JpdGUAhr6Z7oUBAAAAAwA8AAAAAAAEAP////9hAGEAAAAFX2lkABAAAAAEoPAzyxkTGUesss82p2jqigREYXRhAAUAAAAAAk5hbWUADQAAAExpbmtEYXRhTGlzdAAQVmVyc2lvbgABAAAACUxhc3RXcml0ZQDWo11oiQEAAAAFAP////+zCbMJAAAFX2lkABAAAAAEzH1wy2rHpE+PFa3JHfKskANEYXRhAFAJAAAIQXV0b21hdGljTGF5b3V0QWN0aXZlAAEEQWRkaXRpb25hbENoYXJ0TWFyZ2luRGF0YXMABQAAAAACRGF0YVJlZmVyZW5jZURpcmVjdGlvbgANAAAAU2VyaWVzQnlSb3dzAAJTZXJpZXNPcmRlcgAJAAAAUmV2ZXJzZWQAAlBvaW50T3JkZXIACgAAAEFzSW5FeGNlbAACUHJpbWFyeUF4aXNDcm9zc1R5cGUAGQAAAENyb3NzZXNCZXR3ZWVuQ2F0ZWdvcmllcwACU2Vjb25kYXJ5QXhpc0Nyb3NzVHlwZQAIAAAASW52YWxpZAAISXNDaGFydFRpdGxlVmlzaWJsZQAAA0NoYXJ0VGl0bGVEYXRhAM0GAAAIV2FudFRvQmVWaXNpYmxlAAADVGV4dEJveERhdGEAVwYAAAVNYW5hZ2VkSWQAEAAAAASY17hzUJMjT4PFSHedfKJd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D/AAAAEFIAAAAAABBHAAAAAAAQQgAAAAAAAVNjQQAAAAAAAADwPwFTY1IAAAAAAAAAAAABU2NHAAAAAAAAAAAAAVNjQgAAAAAAAAAAAAAQRm9udFRoZW1lQ29sb3IAAAAAAAFGb250VGludEFuZFNoYWRlAAAAAAAAAAAAEEZvbnRTY2hlbWVDb2xvcgACAAAACEZvbnRJdGFsaWMAAAFGb250U2l6ZQAAAAAAAAAAAAhGb250U3RyaWtldGhyb3VnaAAACEZvbnRTdWJzY3JpcHQAAAhGb250U3VwZXJzY3JpcHQAAAhGb250VW5kZXJsaW5lAAAACFNpemVUb1RleHRXaWR0aAABCFNpemVUb1RleHRIZWlnaHQAAQ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9mZnNldEZyb21Ib21lAEIAAAABWAAAAAAAAAAAAAFZAAAAAAAAAAAAAUxlbmd0aAAAAAAAAAAAAAFMZW5ndGhTcXVhcmVkAAAAAAAAAAAAAAABUGxvdFRvQ2hhcnRBcmVhUmF0aW8AAAAAAAAAAAACUmVuZGVyTW9kZQALAAAASHlicmlkVGV4dAADQ3VzdG9taXppbmdEZXNjcmlwdGlvbkRhdGEAkQAAAAJOYW1lABcAAABEZWZhdWx0RmxleEN1c3RvbWl6aW5nABBWZXJzaW9uAAEAAAAQTWlub3JWZXJzaW9uAAAAAAACQ3VzdG9taXppbmdUeXBlAAgAAABEZWZhdWx0AAJNaW9DZElkAAEAAAAAAkZsZXhDdXN0b21pemluZ1R5cGUACAAAAERlZmF1bHQAAAFMYXN0U2VlbldpZHRoAAAAAOA0RoZAAUxhc3RTZWVuSGVpZ2h0AAAAAACLFWtACE1pZ3JhdGlvblRvUGVyZm9ybWFuY2VNb2RlRG9uZQABBUxhc3RTZWVuU2xpZGVDb2xvclRoZW1lTWQ1SGFzaAAQAAAAAMJkCTUk6e3PfTR944bn0R4AAk5hbWUAFAAAAEdsb2JhbENoYXJ0U2V0dGluZ3MAEFZlcnNpb24ABAAAAAlMYXN0V3JpdGUAkMmU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sAAAABf////8tAAAA5w8AAAAAAAAAAAAAAowAAAVfaWQAEAAAAATa5XS4raMkSZtIqb6s5HkLA0RhdGEAqIsAAANEYXRhTGFiZWxzUGVyQXhpcwBxiwAAA1ByaW1hcnkAY4sAAAREYXRhTGFiZWxzAB+LAAADMABUGAAAEFBvaW50SW5kZXgAAQAAAAJBbGlnbm1lbnQABwAAAENlbnRlcgAQU2VyaWVzSW5kZXgAAQAAAAhSZXF1aXJlRm9udENvbG9yTWlncmF0aW9uAAAITWFudWFsRGF0YUxhYmVsQmFja2dyb3VuZFZpc2libGUAAAhIYXNXaXNoQ29sb3I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NWYWx1ZUF4aXNOdW1iZXJGb3JtYXQAHwAAAAVfaWQAEAAAAAQAAAAAAAAAAAAAAAAAAAAAAANDYXRlZ29yeUF4aXNOdW1iZXJGb3JtYXQAHwAAAAVfaWQAEAAAAAQAAAAAAAAAAAAAAAAAAAAAAANUZXh0Qm94ALoGAAAFTWFuYWdlZElkABAAAAAE+oB7Z0Ap+ECFKf09SDMwmw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2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MAAAA2JQABSGVpZ2h0AAAAAKAinipAAVdpZHRoAAAAACB4YjFAAVRvcAAAAABgHeJiQAFMZWZ0AAAAAGBTWkl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AAAAAAAAVkAAAAAAAAAAAAAA0VuZAAbAAAAAVgAAAAAAAAAAAABWQAAAAAAAAAAAAACU3RhcnRBcnJvd0hlYWQAEQAAAG1zb0Fycm93aGVhZE5vbmUAAkVuZEFycm93SGVhZAARAAAAbXNvQXJyb3doZWFkTm9uZQAFTWFuYWdlZElkABAAAAAEVOO8CsUTIkSPLmJCEPV62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LQAAAAUsAAAALgAAAOcPAAAAAAAAAAA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QDBypU12SbRI6ad+C0xhX1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aPGyTUABWQAAAABbfJpjQAAISGFzTGVhZGVyTGluZQAACElzQ2VudGVyQXV0b21hdGljQWRqdXN0ZWQAAAhJc1VzZXJQb3NpdGlvbgAAAlNlcGFyYXRvcgACAAAACgACVGV4dAADAAAANiUACFJlcXVpcmVSZWxhdGl2ZVBvc2l0aW9uVXBncmFkZQAACElzR2VvbWV0cnlPdXRPZkJvdW5kcwAACElzTGVhZGVyTGluZUluQXV0b01vZGUAAQhEZWxldGVkAAAAAzEAVxgAABBQb2ludEluZGV4AAIAAAACQWxpZ25tZW50AAcAAABDZW50ZXIAEFNlcmllc0luZGV4AAEAAAAIUmVxdWlyZUZvbnRDb2xvck1pZ3JhdGlvbgAACE1hbnVhbERhdGFMYWJlbEJhY2tncm91bmRWaXNpYmxlAAAISGFzV2lzaENvbG9y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DVmFsdWVBeGlzTnVtYmVyRm9ybWF0AB8AAAAFX2lkABAAAAAEAAAAAAAAAAAAAAAAAAAAAAADQ2F0ZWdvcnlBeGlzTnVtYmVyRm9ybWF0AB8AAAAFX2lkABAAAAAEAAAAAAAAAAAAAAAAAAAAAAADVGV4dEJveAC8BgAABU1hbmFnZWRJZAAQAAAABKFCItRzwLNJrLPadmfcjPo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NTQ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AAAADU0JQABSGVpZy4AAAAFLQAAAC8AAADnDwAAAAAAAAAAAABodAAAAACgIp4qQAFXaWR0aAAAAABA1PE2QAFUb3AAAAAAQGiRU0ABTGVmdAAAAADAF9dk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L4vjFHBvIZBs49sEv8KS8g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QI8SoSa5SRRqMuUc7ocX4b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EvAAAABS4AAAAwAAAA5w8AAAAAAAAAAAAAZnRlcgAACExpbmVSdWxlQmVmb3JlAAAITGluZVJ1bGVXaXRoaW4AAAFSaWdodEluZGVudAAAAAAAAAAAAAFTcGFjZUFmdGVyAAAAAAAAAAAAAVNwYWNlQmVmb3JlAAAAAAAAAAAAAVNwYWNlV2l0aGluAAAAAAAAAAAAAANDZW50ZXIAGwAAAAFYAAAAAAQ1RmZAAVkAAAAANiYCVUAACEhhc0xlYWRlckxpbmUAAAhJc0NlbnRlckF1dG9tYXRpY0FkanVzdGVkAAAISXNVc2VyUG9zaXRpb24AAAJTZXBhcmF0b3IAAgAAAAoAAlRleHQABAAAADU0JQAIUmVxdWlyZVJlbGF0aXZlUG9zaXRpb25VcGdyYWRlAAAISXNHZW9tZXRyeU91dE9mQm91bmRzAAAISXNMZWFkZXJMaW5lSW5BdXRvTW9kZQABCERlbGV0ZWQAAAADMgBXGAAAEFBvaW50SW5kZXgAAwAAAAJBbGlnbm1lbnQABwAAAENlbnRlcgAQU2VyaWVzSW5kZXgAAQAAAAhSZXF1aXJlRm9udENvbG9yTWlncmF0aW9uAAAITWFudWFsRGF0YUxhYmVsQmFja2dyb3VuZFZpc2libGUAAAhIYXNXaXNoQ29sb3I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NWYWx1ZUF4aXNOdW1iZXJGb3JtYXQAHwAAAAVfaWQAEAAAAAQAAAAAAAAAAAAAAAAAAAAAAANDYXRlZ29yeUF4aXNOdW1iZXJGb3JtYXQAHwAAAAVfaWQAEAAAAAQAAAAAAAAAAAAAAAAAAAAAAANUZXh0Qm94ALwGAAAFTWFuYWdlZElkABAAAAAExy+otbYKKkqPE02gOYq1pg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QAAAAzMSUAAlRleHRIb3Jpem9udGFsQWxpZ25tZW50ABAAAABtc29BbmNob3JDZW50ZXI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EAAAAMzElAAFIZWlnaHQAAAAAoCKeKkABV2lkdGgAAAAAQNTxNkABVG9wAAAAAKDCSVxAAUxlZnQAAAAAIEjYc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TYe9K6a+E1RZgmXjEo1NfY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MAAAAAUvAAAAMQAAAOcPAAAAAAAAAAAAAG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M80960oWkhBqlWRAdUb7bA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DC1o9yQAFZAAAAAJaAul1AAAhIYXNMZWFkZXJMaW5lAAAISXNDZW50ZXJBdXRvbWF0aWNBZGp1c3RlZAAACElzVXNlclBvc2l0aW9uAAACU2VwYXJhdG9yAAIAAAAKAAJUZXh0AAQAAAAzMSUACFJlcXVpcmVSZWxhdGl2ZVBvc2l0aW9uVXBncmFkZQAACElzR2VvbWV0cnlPdXRPZkJvdW5kcwAACElzTGVhZGVyTGluZUluQXV0b01vZGUAAQhEZWxldGVkAAAAAzMAVBgAABBQb2ludEluZGV4AAQAAAACQWxpZ25tZW50AAcAAABDZW50ZXIAEFNlcmllc0luZGV4AAEAAAAIUmVxdWlyZUZvbnRDb2xvck1pZ3JhdGlvbgAACE1hbnVhbERhdGFMYWJlbEJhY2tncm91bmRWaXNpYmxlAAAISGFzV2lzaENvbG9y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DVmFsdWVBeGlzTnVtYmVyRm9ybWF0AB8AAAAFX2lkABAAAAAEAAAAAAAAAAAAAAAAAAAAAAADQ2F0ZWdvcnlBeGlzTnVtYmVyRm9ybWF0AB8AAAAFX2lkABAAAAAEAAAAAAAAAAAAAAAAAAAAAAADVGV4dEJveAC6BgAABU1hbmFnZWRJZAAQAAAABBuB+kIDENBAk3VS5BlNzuA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DAAAANiUAAlRleHRIb3Jpem9udGFsQWxpZ25tZW50ABAAAABtc29BbmNob3JDZW50ZXI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DEAAAAFMAAAADIAAADnDwAAAAAAAAAAAAB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AwAAADYlAAFIZWlnaHQAAAAAoCKeKkABV2lkdGgAAAAAIHhiMUABVG9wAAAAAGAd4mJAAUxlZnQAAAAAYH9xe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ScVcyMmCixQpN9CCc7cmIY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AAAAAAAVkAAAAAAAAAAAAAA0VuZAAbAAAAAVgAAAAAAAAAAAABWQAAAAAAAAAAAAACU3RhcnRBcnJvd0hlYWQAEQAAAG1zb0Fycm93aGVhZE5vbmUAAkVuZEFycm93SGVhZAARAAAAbXNvQXJyb3doZWFkTm9uZQAFTWFuYWdlZElkABAAAAAEiurBK3bCNkW0MQbqzfRA3g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yAAAABTEAAAAzAAAA5w8AAAAAAAAA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Ahk/x5QAFZAAAAAFt8mmNAAAhIYXNMZWFkZXJMaW5lAAAISXNDZW50ZXJBdXRvbWF0aWNBZGp1c3RlZAAACElzVXNlclBvc2l0aW9uAAACU2VwYXJhdG9yAAIAAAAKAAJUZXh0AAMAAAA2JQAIUmVxdWlyZVJlbGF0aXZlUG9zaXRpb25VcGdyYWRlAAAISXNHZW9tZXRyeU91dE9mQm91bmRzAAAISXNMZWFkZXJMaW5lSW5BdXRvTW9kZQABCERlbGV0ZWQAAAADNABUGAAAEFBvaW50SW5kZXgABQAAAAJBbGlnbm1lbnQABwAAAENlbnRlcgAQU2VyaWVzSW5kZXgAAQAAAAhSZXF1aXJlRm9udENvbG9yTWlncmF0aW9uAAAITWFudWFsRGF0YUxhYmVsQmFja2dyb3VuZFZpc2libGUAAAhIYXNXaXNoQ29sb3I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NWYWx1ZUF4aXNOdW1iZXJGb3JtYXQAHwAAAAVfaWQAEAAAAAQAAAAAAAAAAAAAAAAAAAAAAANDYXRlZ29yeUF4aXNOdW1iZXJGb3JtYXQAHwAAAAVfaWQAEAAAAAQAAAAAAAAAAAAAAAAAAAAAAANUZXh0Qm94ALoGAAAFTWFuYWdlZElkABAAAAAE1XGQa5d1ykK8eMZ9658piA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y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MAAAAyJQABSGVpZ2h0AAAAAKAinipAAVdpZHRoAAAAACB4YjFAAVRvcAAAAACAO6RjQAFMZWZ0AAAAAMAdb4B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AAAAAAAAVkAAAAAAAAAAAAAA0VuZAAbAAAAAVgAAAAAAAAAAAABWQAAAAAAAAAAAAACU3RhcnRBcnJvd0hlYWQAEQAAAG1zb0Fycm93aGVhZE5vbmUAAkVuZEFycm93SGVhZAARAAAAbXNvQXJyb3doZWFkTm9uZQAFTWFuYWdlZElkABAAAAAE98bIRBWfXUemd6hBNpmobA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MwAAAAUyAAAAUwAAAOcPAAAAAAAAAAAAAH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QJKr0RJ4TNTqphNKjnANk0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CAoKe0gEABWQAAAAB7mlxkQAAISGFzTGVhZGVyTGluZQAACElzQ2VudGVyQXV0b21hdGljQWRqdXN0ZWQAAAhJc1VzZXJQb3NpdGlvbgAAAlNlcGFyYXRvcgACAAAACgACVGV4dAADAAAAMiUACFJlcXVpcmVSZWxhdGl2ZVBvc2l0aW9uVXBncmFkZQAACElzR2VvbWV0cnlPdXRPZkJvdW5kcwAACElzTGVhZGVyTGluZUluQXV0b01vZGUAAQhEZWxldGVkAAAAAzUAXhEAABBQb2ludEluZGV4AAYAAAACQWxpZ25tZW50AAcAAABDZW50ZXIAEFNlcmllc0luZGV4AAEAAAAIUmVxdWlyZUZvbnRDb2xvck1pZ3JhdGlvbgAACE1hbnVhbERhdGFMYWJlbEJhY2tncm91bmRWaXNpYmxlAAAISGFzV2lzaENvbG9y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DVmFsdWVBeGlzTnVtYmVyRm9ybWF0AB8AAAAFX2lkABAAAAAEAAAAAAAAAAAAAAAAAAAAAAADQ2F0ZWdvcnlBeGlzTnVtYmVyRm9ybWF0AB8AAAAFX2lkABAAAAAEAAAAAAAAAAAAAAAAAAAAAAADVGV4dEJveAC4BgAABU1hbmFnZWRJZAAQAAAABB/I2vLLS+pOoEBKJ3r7Xps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DAAAAMSUAAlRleHRIb3Jpem9udGFsQWxpZ25tZW50AA4AAABtc29BbmNob3JOb25lAAJQYXJhZ3JhcGhBbGlnbm1lbnQADwAAAG1zb0FsaWduQ2VudGVyAAJUZXh0VmVydGljYTQAAAAF/////zUAAADnDwAAAAAAAAAAAAAagwAABV9pZAAQAAAABD2gRroknOJHjdJMGp5iliMDRGF0YQDAggAAA0RhdGFMYWJlbHNQZXJBeGlzAImCAAADUHJpbWFyeQBKgAAABERhdGFMYWJlbHMAKX4AAAMwACsWAAAQUG9pbnRJbmRleAABAAAAAkFsaWdubWVudAAHAAAAQ2VudGVyABBTZXJpZXNJbmRleAABAAAACFJlcXVpcmVGb250Q29sb3JNaWdyYXRpb24AAAhNYW51YWxEYXRhTGFiZWxCYWNrZ3JvdW5kVmlzaWJsZQAACEhhc1dpc2hDb2xvcgAAA1RleHRCb3gAugYAAAVNYW5hZ2VkSWQAEAAAAAT6gHtnQCn4QIUp/T1IMzCb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Y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AwAAADYlAAFIZWlnaHQAAAAAoCKeKkABV2lkdGgAAAAAIHhiMUABVG9wAAAAAGAd4mJAAUxlZnQAAAAAYFNaS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RU47wKxRMiRI8uYkIQ9XrZ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AAAAAAAVkAAAAAAAAAAAAAA0VuZAAbAAAAAVgAAAAAAAAAAAABWQAAAAAAAAAAAAACU3RhcnRBcnJvd0hlYWQAEQAAAG1zb0Fycm93aGVhZE5vbmUAAkVuZEFycm93SGVhZAARAAAAbXNvQXJyb3doZWFkTm9uZQAFTWFuYWdlZElkABAAAAAEAwcqVNdkm0SOmnfgtMYV9QhIYXNDaGFuZ2VzAAEIVXNlTmFtZUluc3RlYWRPZlRhZ0FzSWQAAQhTaGFwZVByZXZpb3VzbHlDcmVhdGVkAAADRmlsbENvbG9yAFUAAAAQQQAAAAAAEFIAAAAAABBHAAAAAAAQQgAAAAAAAVNjQQAAAAAAAADwvwFTY1IAAAAAAAAA8L8BU2NHAAAAAAA1AAAABTQAAAA2AAAA5w8AAAAAAA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Bo8bJNQAFZAAAAAFt8mmNAAAhIYXNMZWFkZXJMaW5lAAAISXNDZW50ZXJBdXRvbWF0aWNBZGp1c3RlZAAACElzVXNlclBvc2l0aW9uAAAIQWRkUHJlZml4U3BhY2UAAAhBZGRQb3N0Zml4U3BhY2UAAAJTZXBhcmF0b3IAAgAAAAoAAlRleHQAAwAAADYlAAhSZXF1aXJlUmVsYXRpdmVQb3NpdGlvblVwZ3JhZGUAAAhJc0dlb21ldHJ5T3V0T2ZCb3VuZHMAAAhJc0xlYWRlckxpbmVJbkF1dG9Nb2RlAAEIRGVsZXRlZAAAAAMxAC4WAAAQUG9pbnRJbmRleAACAAAAAkFsaWdubWVudAAHAAAAQ2VudGVyABBTZXJpZXNJbmRleAABAAAACFJlcXVpcmVGb250Q29sb3JNaWdyYXRpb24AAAhNYW51YWxEYXRhTGFiZWxCYWNrZ3JvdW5kVmlzaWJsZQAACEhhc1dpc2hDb2xvcgAAA1RleHRCb3gAvAYAAAVNYW5hZ2VkSWQAEAAAAAShQiLUc8CzSayz2nZn3Iz6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AAAADU0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QAAAA1NCUAAUhlaWdodAAAAACgIp4qQAFXaWR0aAAAAABA1PE2QAFUb3AAAAAAQGiRU0ABTGVmdAAAAADAF9dk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L4vjFHBvIZBs49sEv8KS8g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NgAAAAU1AAAANwAAAOcPAAAAAAAAAAAAAF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AAAAAAAVkAAAAAAAAAAAAAA0VuZAAbAAAAAVgAAAAAAAAAAAABWQAAAAAAAAAAAAACU3RhcnRBcnJvd0hlYWQAEQAAAG1zb0Fycm93aGVhZE5vbmUAAkVuZEFycm93SGVhZAARAAAAbXNvQXJyb3doZWFkTm9uZQAFTWFuYWdlZElkABAAAAAECPEqEmuUkUajLlHO6HF+Gw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AQ1RmZAAVkAAAAANiYCVUAACEhhc0xlYWRlckxpbmUAAAhJc0NlbnRlckF1dG9tYXRpY0FkanVzdGVkAAAISXNVc2VyUG9zaXRpb24AAAhBZGRQcmVmaXhTcGFjZQAACEFkZFBvc3RmaXhTcGFjZQAAAlNlcGFyYXRvcgACAAAACgACVGV4dAAEAAAANTQlAAhSZXF1aXJlUmVsYXRpdmVQb3NpdGlvblVwZ3JhZGUAAAhJc0dlb21ldHJ5T3V0T2ZCb3VuZHMAAAhJc0xlYWRlckxpbmVJbkF1dG9Nb2RlAAEIRGVsZXRlZAAAAAMyAC4WAAAQUG9pbnRJbmRleAADAAAAAkFsaWdubWVudAAHAAAAQ2VudGVyABBTZXJpZXNJbmRleAABAAAACFJlcXVpcmVGb250Q29sb3JNaWdyYXRpb24AAAhNYW51YWxEYXRhTGFiZWxCYWNrZ3JvdW5kVmlzaWJsZQAACEhhc1dpc2hDb2xvcgAAA1RleHRCb3gAvAYAAAVNYW5hZ2VkSWQAEAAAAATHL6i1tgoqSo8TTaA5irWm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AAAADMxJQACVGV4dEhvcml6b250YWxBbGlnbm1lbnQAEAAAAG1zb0FuY2hvckNlbnRlcgACUGFyYWdyYXBoQWxpZ25tZW50AA8AAABtc29BbGlnbkNlbnRlcgACVGV4dFZlcnRpY2FsQWxpZ25tZW50ABAAAABtc29BbmNob3JNaWRkbGUAAzcAAAAFNgAAADgAAADnDwAAAAAAAAAAAAB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EAAAAMzElAAFIZWlnaHQAAAAAoCKeKkABV2lkdGgAAAAAQNTxNkABVG9wAAAAAKDCSVxAAUxlZnQAAAAAIEjYc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TYe9K6a+E1RZgmXjEo1NfY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AAAAAAAVkAAAAAAAAAAAAAA0VuZAAbAAAAAVgAAAAAAAAAAAABWQAAAAAAAAAAAAACU3RhcnRBcnJvd0hlYWQAEQAAAG1zb0Fycm93aGVhZE5vbmUAAkVuZEFycm93SGVhZAARAAAAbXNvQXJyb3doZWFkTm9uZQAFTWFuYWdlZElkABAAAAAEzzT3rShaSEGqVZEB1RvtsA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4AAAABTcAAAA5AAAA5w8AAAAA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DC1o9yQAFZAAAAAJaAul1AAAhIYXNMZWFkZXJMaW5lAAAISXNDZW50ZXJBdXRvbWF0aWNBZGp1c3RlZAAACElzVXNlclBvc2l0aW9uAAAIQWRkUHJlZml4U3BhY2UAAAhBZGRQb3N0Zml4U3BhY2UAAAJTZXBhcmF0b3IAAgAAAAoAAlRleHQABAAAADMxJQAIUmVxdWlyZVJlbGF0aXZlUG9zaXRpb25VcGdyYWRlAAAISXNHZW9tZXRyeU91dE9mQm91bmRzAAAISXNMZWFkZXJMaW5lSW5BdXRvTW9kZQABCERlbGV0ZWQAAAADMwArFgAAEFBvaW50SW5kZXgABAAAAAJBbGlnbm1lbnQABwAAAENlbnRlcgAQU2VyaWVzSW5kZXgAAQAAAAhSZXF1aXJlRm9udENvbG9yTWlncmF0aW9uAAAITWFudWFsRGF0YUxhYmVsQmFja2dyb3VuZFZpc2libGUAAAhIYXNXaXNoQ29sb3IAAANUZXh0Qm94ALoGAAAFTWFuYWdlZElkABAAAAAEG4H6QgMQ0ECTdVLkGU3O4A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2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MAAAA2JQABSGVpZ2h0AAAAAKAinipAAVdpZHRoAAAAACB4YjFAAVRvcAAAAABgHeJiQAFMZWZ0AAAAAGB/cXl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AAAAAAAAVkAAAAAAAAAAAAAA0VuZAAbAAAAAVgAAAAAAAAAAAABWQAAAAAAAAAAAAACU3RhcnRBcnJvd0hlYWQAEQAAAG1zb0Fycm93aGVhZE5vbmUAAkVuZEFycm93SGVhZAARAAAAbXNvQXJyb3doZWFkTm9uZQAFTWFuYWdlZElkABAAAAAEnFXMjJgosUKTfQgnO3JiGA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OQAAAAU4AAAAOgAAAOcPAAAAAAAAAAAAAA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SK6sErdsI2RbQxBurN9EDe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IZP8eUABWQAAAABbfJpjQAAISGFzTGVhZGVyTGluZQAACElzQ2VudGVyQXV0b21hdGljQWRqdXN0ZWQAAAhJc1VzZXJQb3NpdGlvbgAACEFkZFByZWZpeFNwYWNlAAAIQWRkUG9zdGZpeFNwYWNlAAACU2VwYXJhdG9yAAIAAAAKAAJUZXh0AAMAAAA2JQAIUmVxdWlyZVJlbGF0aXZlUG9zaXRpb25VcGdyYWRlAAAISXNHZW9tZXRyeU91dE9mQm91bmRzAAAISXNMZWFkZXJMaW5lSW5BdXRvTW9kZQABCERlbGV0ZWQAAAADNAArFgAAEFBvaW50SW5kZXgABQAAAAJBbGlnbm1lbnQABwAAAENlbnRlcgAQU2VyaWVzSW5kZXgAAQAAAAhSZXF1aXJlRm9udENvbG9yTWlncmF0aW9uAAAITWFudWFsRGF0YUxhYmVsQmFja2dyb3VuZFZpc2libGUAAAhIYXNXaXNoQ29sb3IAAANUZXh0Qm94ALoGAAAFTWFuYWdlZElkABAAAAAE1XGQa5d1ykK8eMZ9658piA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y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MAAAAyJQABSGVpZ2h0AAAAAKAinipAAVdpZHRoAAAAACB4YjFAAVRvcAAAAACAO6RjQAFMZWZ0AAAAAMAdb4B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DoAAAAFOQAAADsAAADnDwAAAAAAAAAA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PfGyEQVn11HpneoQTaZqGw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QJKr0RJ4TNTqphNKjnANk0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CAoKe0gEABWQAAAAB7mlxkQAAISGFzTGVhZGVyTGluZQAACElzQ2VudGVyQXV0b21hdGljQWRqdXN0ZWQAAAhJc1VzZXJQb3NpdGlvbgAACEFkZFByZWZpeFNwYWNlAAAIQWRkUG9zdGZpeFNwYWNlAAACU2VwYXJhdG9yAAIAAAAKAAJUZXh0AAMAAAAyJQAIUmVxdWlyZVJlbGF0aXZlUG9zaXRpb25VcGdyYWRlAAAISXNHZW9tZXRyeU91dE9mQm91bmRzAAAISXNMZWFkZXJMaW5lSW5BdXRvTW9kZQABCERlbGV0ZWQAAAADNQA1DwAAEFA7AAAABToAAABVAAAA5w8AAAAAAAAAAAAAb2ludEluZGV4AAYAAAACQWxpZ25tZW50AAcAAABDZW50ZXIAEFNlcmllc0luZGV4AAEAAAAIUmVxdWlyZUZvbnRDb2xvck1pZ3JhdGlvbgAACE1hbnVhbERhdGFMYWJlbEJhY2tncm91bmRWaXNpYmxlAAAISGFzV2lzaENvbG9yAAADVGV4dEJveAC4BgAABU1hbmFnZWRJZAAQAAAABB/I2vLLS+pOoEBKJ3r7Xps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DAAAAMSUAAlRleHRIb3Jpem9udGFsQWxpZ25tZW50AA4AAABtc29BbmNob3JOb25l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AwAAADElAAFIZWlnaHQAAAAAoCKeKkABV2lkdGgAAAAAIHhiMUABVG9wAAAAAADD1GNAAUxlZnQAAAAA4Hslh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RYDVRwOxdCQL6VzP/wEZS9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CAwAVrhEABWQAAAAD7IY1kQAAISGFzTGVhZGVyTGluZQAACElzQ2VudGVyQXV0b21hdGljQWRqdXN0ZWQAAAhJc1VzZXJQb3NpdGlvbgAACEFkZFByZWZpeFNwYWNlAAAIQWRkUG9zdGZpeFNwYWNlAAACU2VwYXJhdG9yAAIAAAAKAAJUZXh0AAMAAAAxJQAIUmVxdWlyZVJlbGF0aXZlUG9zaXRpb25VcGdyYWRlAAAISXNHZW9tZXRyeU91dE9mQm91bmRzAAAISXNMZWFkZXJMaW5lSW5BdXRvTW9kZQABCERlbGV0ZWQAAAAAA1RleHREZWZpbml0aW9uAM0BAAADUm9vdEVsZW1lbnQAuwEAAAJfdHlwZQCFAAAAbWlvLkNvbW1vbi5Qb3dlclBvaW50Lk1hbmFnZWQuRGF0YS5EYXRhQ2hhcnRzLkRhdGFMYWJlbHMuRGF0YS5CdWlsZGVyLlRleHRVbml0LlNlcGFyYXRvclVuaXREYXRhLCBtaW8uQ29tbW9uLlBvd2VyUG9pbnQuTWFuYWdlZC5EYXRhAAJTPAAAAAX/////PQAAAOcPAAAAAAAAAAAAAFEwAAAFX2lkABAAAAAEPGGoyK301kOyHrK5nMKoGgREYXRhAPkvAAADMAD7BwAABV9pZAAQAAAABNd99JuhcARFtYmhSae4dU8CX3R5cGUAVwAAAGVtcG93ZXIuQ2hhcnRzLkRhdGEuRGF0YUNoYXJ0cy5PdmVybGF5cy5EYXRhLkNvbHVtblN1bU92ZXJsYXlEYXRhLCBlbXBvd2VyLkNoYXJ0cy5EYXRhABBDb2x1bW4AAQAAABBTZXJpZXMA/////wNUZXh0RWxlbWVudADrBgAAAkF1dG9TaGFwZVR5cGUACgAAAFJlY3RhbmdsZQAEQWRqdXN0bWVudHMABQAAAAAFTWFuYWdlZElkABAAAAAE/m5+LFkSXEmo2kxwJERnEQ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kZvbnROYW1lAAcAAAArbW4tbHQAAUZvbnRTaXplAAAAAAAAACR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wEchLEABV2lkdGgAAAAAwGM0Nk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IHM9KkAAAkNvbHVtblN1bVBvc2l0aW9uAAwAAABEZWZhdWx0RG9jawAIQWRkUHJlZml4U3BhY2UAAAhBZGRQb3N0Zml4U3BhY2UAAAhEZWxldGVkAAEISXNOZXcAAQFGb250U2l6ZQAAAAAAAAAkQAADMQD7BwAABV9pZAAQAAAABGsifmDuRBFCqY5ewpQfhAcCX3R5cGUAVwAAAGVtcG93ZXIuQ2hhcnRzLkRhdGEuRGF0YUNoYXJ0cy5PdmVybGF5cy5EYXRhLkNvbHVtblN1bU92ZXJsYXlEYXRhLCBlbXBvd2VyLkNoYXJ0cy5EYXRhABBDb2x1bW4AAgAAABBTZXJpZXMA/////wNUZXh0RWxlbWVudADrBgAAAkF1dG9TaGFwZVR5cGUACgAAAFJlY3RhbmdsZQAEQWRqdXN0bWVudHMABQAAAAAFTWFuYWdlZElkABAAAAAERJKZ2q7xmkeSTmb+eiRkOw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kZvbnROYW1lAAcAAAArbW4tbHQAAUZvbnRTaXplAAAAAAAAACR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wEchLEABV2lkdGgAAAAAwGM0Nk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IHM9KkAAAkNvbHVtblN1bVBvc2l0aW9uAAwAAABEZWZhdWx0RG9jawAIQWRkUHJlZml4Uz0AAAAFPAAAAD4AAADnDwAAAAAAAAAAAABwYWNlAAAIQWRkUG9zdGZpeFNwYWNlAAAIRGVsZXRlZAABCElzTmV3AAEBRm9udFNpemUAAAAAAAAAJEAAAzIA+wcAAAVfaWQAEAAAAARn445C0KwwRZEUhNsLT1w1Al90eXBlAFcAAABlbXBvd2VyLkNoYXJ0cy5EYXRhLkRhdGFDaGFydHMuT3ZlcmxheXMuRGF0YS5Db2x1bW5TdW1PdmVybGF5RGF0YSwgZW1wb3dlci5DaGFydHMuRGF0YQAQQ29sdW1uAAMAAAAQU2VyaWVzAP////8DVGV4dEVsZW1lbnQA6wYAAAJBdXRvU2hhcGVUeXBlAAoAAABSZWN0YW5nbGUABEFkanVzdG1lbnRzAAUAAAAABU1hbmFnZWRJZAAQAAAABJGQ22g/j8NKu2X2Zh/BVuE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MBHISxAAVdpZHRoAAAAAMBjNDZ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CBzPSpAAAJDb2x1bW5TdW1Qb3NpdGlvbgAMAAAARGVmYXVsdERvY2sACEFkZFByZWZpeFNwYWNlAAAIQWRkUG9zdGZpeFNwYWNlAAAIRGVsZXRlZAABCElzTmV3AAEBRm9udFNpemUAAAAAAAAAJEAAAzMA+wcAAAVfaWQAEAAAAARR3CJZV0SZQZ9y2uPJrOOuAl90eXBlAFcAAABlbXBvd2VyLkNoYXJ0cy5EYXRhLkRhdGFDaGFydHMuT3ZlcmxheXMuRGF0YS5Db2x1bW5TdW1PdmVybGF5RGF0YSwgZW1wb3dlci5DaGFydHMuRGF0YQAQQ29sdW1uAAQAAAAQU2VyaWVzAP////8DVGV4dEVsZW1lbnQA6wYAAAJBdXRvU2hhcGVUeXBlAAoAAABSZWN0YW5nbGUABEFkanVzdG1lbnRzAAUAAAAABU1hbmFnZWRJZAAQAAAABOwD2FCdbF5BtQALAgvb8ko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MBHISxAAVdpZHRoAAAAAMBjNDZ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CBzPSpAAAJDb2x1bW5TdW1Qb3NpdGlvbgAMAAAARGU+AAAABT0AAABUAAAA5w8AAAAAAAAAAAAAZmF1bHREb2NrAAhBZGRQcmVmaXhTcGFjZQAACEFkZFBvc3RmaXhTcGFjZQAACERlbGV0ZWQAAQhJc05ldwABAUZvbnRTaXplAAAAAAAAACRAAAM0APsHAAAFX2lkABAAAAAE9bUezMWPvU+RWzD/+zu+pAJfdHlwZQBXAAAAZW1wb3dlci5DaGFydHMuRGF0YS5EYXRhQ2hhcnRzLk92ZXJsYXlzLkRhdGEuQ29sdW1uU3VtT3ZlcmxheURhdGEsIGVtcG93ZXIuQ2hhcnRzLkRhdGEAEENvbHVtbgAFAAAAEFNlcmllcwD/////A1RleHRFbGVtZW50AOsGAAACQXV0b1NoYXBlVHlwZQAKAAAAUmVjdGFuZ2xlAARBZGp1c3RtZW50cwAFAAAAAAVNYW5hZ2VkSWQAEAAAAARIPyI1LkGfTavuCUWYVLgt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J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DARyEsQAFXaWR0aAAAAADAYzQ2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Agcz0qQAACQ29sdW1uU3VtUG9zaXRpb24ADAAAAERlZmF1bHREb2NrAAhBZGRQcmVmaXhTcGFjZQAACEFkZFBvc3RmaXhTcGFjZQAACERlbGV0ZWQAAQhJc05ldwABAUZvbnRTaXplAAAAAAAAACRAAAM1APsHAAAFX2lkABAAAAAEr3tKuLwSqUyEPnlIp/lMswJfdHlwZQBXAAAAZW1wb3dlci5DaGFydHMuRGF0YS5EYXRhQ2hhcnRzLk92ZXJsYXlzLkRhdGEuQ29sdW1uU3VtT3ZlcmxheURhdGEsIGVtcG93ZXIuQ2hhcnRzLkRhdGEAEENvbHVtbgAGAAAAEFNlcmllcwD/////A1RleHRFbGVtZW50AOsGAAACQXV0b1NoYXBlVHlwZQAKAAAAUmVjdGFuZ2xlAARBZGp1c3RtZW50cwAFAAAAAAVNYW5hZ2VkSWQAEAAAAAQ0KhEfmMtKRY37c+phX6bx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J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CgmVkoQAFXaWR0aAAAAABg1PE2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CQ29sPwAAAAMAAAAA/////wsA8wwAAAAAAAAAAAAAAQEFAAAALwD///////8MAAZMaW5rRGF0YUxpc3QrAAAABAAEAAAAJQAEAAAACAABAAMBBQAAADAA////////EwAGR2xvYmFsQ2hhcnRTZXR0aW5ncysAAAAFAAQAAAAoAD8AAAACAAQAAAAoAAQAAAAcAAQAAAASAAQAAAAnAAIAAQEFAAAAMQD///////8TAAZHbG9iYWxDaGFydFNldHRpbmdzQAAAAAAAPwAAAAEABAAAABwAAwACAQUAAAAyAP///////wgABkF4ZXNEYXRhQQAAAAAABAAAACIAPwAAAAgAPwAAAAYAPwAAAAgABAAEAQUAAAAzAP///////wwABlNlcmllc0xhYmVsc0EAAAABAAQAAAAtAAQAAAADAAQAAAAtAAQAAAAkAAQAAAAtAAQAAAAkAAQAAAAtAAQAAAAkAAUAAgEFAAAANAD///////8IAAZEYXRhTGlua0EAAAACAAQAAAAsAAQAAAACAAQAAAAsAAQAAAACAAYAAgEFAAAANQD///////8SAAZBZGRpdGlvbmFsQXhpc0RhdGFBAAAAAwAEAAAAHQAEAAAAIgAEAAAAHQA/AAAAAwAHAAMBBQAAADYA////////GAAGQ2F0ZWdvcnlBeGlzRGF0YVByb3BlcnR5QQAAAAQABAAAABgAPwAAAAkABAAAAAQAPwAAAAkABAAAAAQAPwAAAAkACAADAQUAAAA3AP///////wgABkF4ZXNEYXRhQQAAAAUAPwAAAAMABAAAAAQAPwAAAAMABAAAAAQABAAAAB0ABAAAAAQACQAEAQUAAAA4AP///////yEABkNhdGVnb3J5TGFiZWxTZXR0aW5nc0RhdGFQcm9wZXJ0eUEAAAAGAD8AAAAHAAQAAAAbAD8AAAAHAAQAAAAbAD8AAAAHAAQAAAAbAAQAAAAEAAQAAAAbAAoAAQEFAAAAOQD///////8IAAZPdmVybGF5c0EAAAAHAAQAAAAuAAQA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AAAAAE//////////8BACwGAAAAAAAAAAAAAP////+zCbMJAAAFX2lkABAAAAAE7Pmfzbna9kmskl6OKog7eANEYXRhAFAJAAAIQXV0b21hdGljTGF5b3V0QWN0aXZlAAEEQWRkaXRpb25hbENoYXJ0TWFyZ2luRGF0YXMABQAAAAACRGF0YVJlZmVyZW5jZURpcmVjdGlvbgANAAAAU2VyaWVzQnlSb3dzAAJTZXJpZXNPcmRlcgAJAAAAUmV2ZXJzZWQAAlBvaW50T3JkZXIACgAAAEFzSW5FeGNlbAACUHJpbWFyeUF4aXNDcm9zc1R5cGUAGQAAAENyb3NzZXNCZXR3ZWVuQ2F0ZWdvcmllcwACU2Vjb25kYXJ5QXhpc0Nyb3NzVHlwZQAIAAAASW52YWxpZAAISXNDaGFydFRpdGxlVmlzaWJsZQAAA0NoYXJ0VGl0bGVEYXRhAM0GAAAIV2FudFRvQmVWaXNpYmxlAAADVGV4dEJveERhdGEAVwYAAAVNYW5hZ2VkSWQAEAAAAASY17hzUJMjT4PFSHedfKJd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D/AAAAEFIAAAAAABBHAAAAAAAQQgAAAAAAAVNjQQAAAAAAAADwPwFTY1IAAAAAAAAAAAABU2NHAAAAAAAAAAAAAVNjQgAAAAAAAAAAAAAQRm9udFRoZW1lQ29sb3IAAAAAAAFGb250VGludEFuZFNoYWRlAAAAAAAAAAAAEEZvbnRTY2hlbWVDb2xvcgACAAAACEZvbnRJdGFsaWMAAAFGb250U2l6ZQAAAAAAAAAAAAhGb250U3RyaWtldGhyb3VnaAAACEZvbnRTdWJzY3JpcHQAAAhGb250U3VwZXJzY3JpcHQAAAhGb250VW5kZXJsaW5lAAAACFNpemVUb1RleHRXaWR0aAABCFNpemVUb1RleHRIZWlnaHQAAQ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9mZnNldEZyb21Ib21lAEIAAAABWAAAAAAAAAAAAAFZAAAAAAAAAAAAAUxlbmd0aAAAAAAAAAAAAAFMZW5ndGhTcXVhcmVkAAAAAAAAAAAAAAABUGxvdFRvQ2hhcnRBcmVhUmF0aW8AAAAAAAAAAAACUmVuZGVyTW9kZQALAAAASHlicmlkVGV4dAADQ3VzdG9taXppbmdEZXNjcmlwdGlvbkRhdGEAkQAAAAJOYW1lABcAAABEZWZhdWx0RmxleEN1c3RvbWl6aW5nABBWZXJzaW9uAAEAAAAQTWlub3JWZXJzaW9uAAAAAAACQ3VzdG9taXppbmdUeXBlAAgAAABEZWZhdWx0AAJNaW9DZElkAAEAAAAAAkZsZXhDdXN0b21pemluZ1R5cGUACAAAAERlZmF1bHQAAAFMYXN0U2VlbldpZHRoAAAAAOA0RoZAAUxhc3RTZWVuSGVpZ2h0AAAAAACLFWtACE1pZ3JhdGlvblRvUGVyZm9ybWFuY2VNb2RlRG9uZQABBUxhc3RTZWVuU2xpZGVDb2xvclRoZW1lTWQ1SGFzaAAQAAAAAMJkCTUk6e3PfTR944bn0R4AAk5hbWUAFAAAAEdsb2JhbENoYXJ0U2V0dGluZ3MAEFZlcnNpb24ABQAAAAlMYXN0V3JpdGUApMmU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BAAAABAAAAAD/////CACVCgAAAAAAAAAAAABCAAAAAAABAP////9zAHMAAAAFX2lkABAAAAAEBWst2oCqgEqesZL+EO6IJQNEYXRhABcAAAAEU2VyaWVMYWJlbHMABQAAAAAAAk5hbWUADQAAAFNlcmllc0xhYmVscwAQVmVyc2lvbgADAAAACUxhc3RXcml0ZQAIGXPThAEAAAACAP////9SAFIAAAAFX2lkABAAAAAEbMV24L0OHkWvzBvMIO7SjgJOYW1lAAkAAABEYXRhTGluawAQVmVyc2lvbgABAAAACUxhc3RXcml0ZQB6+5IxeQEAAAADAP////+SA5IDAAAFX2lkABAAAAAEF58K7QtJcUm/QE4vxC7o4QNEYXRhADADAAADQm91bmRzAG8BAAABWAAAAAAAAAAAAAFZAAAAAAAAAAAAAVdpZHRoAAAAAAAAAAAAAUhlaWdodAAAAAAAAAAAAAFMZWZ0AAAAAAAAAAAAAVRvcAAAAAAAAAAAAAFSaWdodAAAAAAAAAAAAAFCb3R0b20AAAAAAAAAAAADVG9wTGVmdAAbAAAAAVgAAAAAAAAAAAABWQAAAAAAAAAAAAADVG9wUmlnaHQAGwAAAAFYAAAAAAAAAAAAAVkAAAAAAAAAAAAAA0JvdHRvbUxlZnQAGwAAAAFYAAAAAAAAAAAAAVkAAAAAAAAAAAAAA0JvdHRvbVJpZ2h0ABsAAAABWAAAAAAAAAAAAAFZAAAAAAAAAAAAAANTaXplAC4AAAAISXNFbXB0eQAAAVdpZHRoAAAAAAAAAAAAAUhlaWdodAAAAAAAAAAAAAADTG9jYXRpb24AGwAAAAFYAAAAAAAAAAAAAVkAAAAAAAAAAAAACElzRW1wdHkAAAAISXNWaXNpYmxlAAAISXNSZXZlcnNlZAAACFNob3dHcmlkbGluZXMAAAFNYW51YWxNYWpvclVuaXQAAAAAAAAAAAABTWFudWFsTWF4aW11bVNjYWxlAAAAAAAAAAAAAU1hbnVhbE1pbmltdW1TY2FsZQAAAAAAAAAAAAhVc2VBdXRvbWF0aWNNYWpvclVuaXQAAQhVc2VBdXRvbWF0aWNNaW5pbXVtU2NhbGUAAQhVc2VBdXRvbWF0aWNNYXhpbXVtU2NhbGUAAQNBZGRpdGlvbmFsQXhpc1RpY2tMYWJlbHNEYXRhALcAAAAESXRlbURhdGEABQAAAAADRm9udENvbG9yAFUAAAAQQQAAAAAAEFIAAAAAABBHAAAAAAAQQgAAAAAAAVNjQQAAAAAAAAAAAAFTY1IAAAAAAAAAAAABU2NHAAAAAAAAAAAAAVNjQgAAAAAAAAAAAAAQRm9udFNjaGVtZUNvbG9yAAAAAAAQRm9udFRoZW1lQ29sb3IAAAAAAAFGb250VGludEFuZFNoYWRlAAAAAAAAAAAAAARHcmlkbGluZUl0ZW1EYXRhAAUAAAAAAAJOYW1lABMAAABBZGRpdGlvbmFsQXhpc0RhdGEAEFZlcnNpb24AAAAAAAlMYXN0V3JpdGUABK1daIkBAAAABABGAAAAAAAFAEkAAAAAAAYA/////7sAuwAAAAVfaWQAEAAAAAS1o7PxfN4xSoZcCPrLWZXxA0RhdGEASgAAAAhTaG93TmFtZQAACFNob3dWYWx1ZQAACFNob3dQZXJjZW50YWdlAAAQUGVyY2VudGFnZURlY2ltYWxQbGFjZXMAAAAAAAACTmFtZQAiAAAAQ2F0ZWdvcnlMYWJlbFNldHRpbmdzRGF0YVByb3BlcnR5ABBWZXJzaW9uAAAAAAAJTGFzdFdyaXRlAL3uynJ0AQAAAAcAT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gAAAAX/////QwAAAOcPAAAAAAAAAAAAAOEnAAAFX2lkABAAAAAEnwNz11wMykSRTNZL9EemGQNEYXRhAIknAAAEU2F2ZWRBeGlzTGFiZWxEYXRhAHAnAAADMACcDQAAAkF4aXNUeXBlAAgAAAB4bFZhbHVlAAJBeGlzR3JvdXAACgAAAHhsUHJpbWFyeQAIU2NoZW1lQ29sb3JBcHBsaWVkAAAIRm9udFN0eWxlVW5kZXJsaW5lZAAACEFwcGx5T3ZlcmFsbEZvbnRzaXplAAEISXNWaXNpYmxlAAAIWGxBdXRvbWF0aWNDb2xvckluZGV4QXBwbGllZAAACFVzZUV4Y2VsRm9ybWF0c1doZW5EYXRlQXhpcwAAA0F4aXNUaXRsZURhdGEAeQgAAANQb3NpdGlvbgA6AAAAAkFuY2hvcgALAAAAQXhpc0NlbnRlcgABUmVsYXRpdmVBbmNob3JPZmZzZXQAAAAAAAAAAAAACFdhbnRUb0JlVmlzaWJsZQAAA1RleHRCb3hEYXRhAJQGAAAFTWFuYWdlZElkABAAAAAEGGxKGP8TDUyzEuvne74KOg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DQAAAG1zb0FsaWduTGVmdAACVGV4dFZlcnRpY2FsQWxpZ25tZW50AA0AAABtc29BbmNob3JUb3AAA0ZvbnRTdHlsZQBB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AAAAAAAAFCb3R0b20AAAAAAAAAAAAAAkRpc3BsYXlUZXh0AAEAAAAAAUhlaWdodAAAAADAjkADQAFXaWR0aAAAAACgmZm5PwFUb3AAAAAAAAAAEEABTGVmdAAAAAAAAAAQQAhGbGlwSG9yaXpvbnRhbGx5AAAIRmxpcEhvcml6b250YWxseUFwcGxpZWQAAAhGbGlwVmVydGljYWxseQAACEZsaXBWZXJ0aWNhbGx5QXBwbGllZAAAAVJvdGF0aW9uAAAAAAAA4HB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G9zc2libGVBcmVhAG8BAAABWAAAAAAAAAAAAAFZAAAAAAAAAAAAAVdpZHRoAAAAAAAAAAAAAUhlaWdodAAAAAAAAAAAAAFMZWZ0AAAAAAAAAAAAAVRvcAAAAAAAAAAAAAFSaWdodAAAAAAAAAAAAAFCb3R0b20AAAAAAAAAAAADVG9wTGVmdAAbAAAAAVgAAAAAAAAAAAABWQAAAAAAAAAAAAADVG9wUmlnaHQAGwAAAAFYAAAAAAAAAAAAAVkAAAAAAAAAAAAAA0JvdHRvbUxlZnQAGwAAAAFYAAAAAAAAAAAAAVkAAAAAAAAAAAAAA0JvdHRvbVJpZ2h0ABsAAAABWAAAAAAAAAAAAAFZAAAAAAAAAAAAAANTaXplAC4AAAAISXNFbXB0eQAAAVdpZHRoAAAAAAAAAAAAAUhlaWdodAAAAAAAAAAAAAADTG9jYXRpb24AGwAAAAFYAAAAAAAAAAAAAVkAAAAAAAAAAAAACElzRW1wdHkAAAAACFVzZUF1dG9tYXRpY01ham9yVW5pdAABCFVzZUF1dG9tYXRpY01pbmltdW1TY2FsZQABCFVzZUF1dG9tYXRpY01heGltdW1TY2FsZQABA0ZvbnRDb2xvcgBVAAAAEEEA/wAAABBSAEAAAAAQRwBAAAAAEEIAQAAAAAFTY0EAAAAAAAAA8D8BU2NSAAAAAMD9P6o/AVNjRwAAAADA/T+qPwFTY0IAAAAAwP0/qj8AEEZvbnRTY2hlbWVDb2xvcgACAAAAEEZvbnRUaGVtZUNvbG9yAAAAAAABRm9udFRpbnRBbmRTaGFkZQAAAAAAAAAAAAJMYWJlbFBvc2l0aW9uAAUAAABOb25lAANBeGlzTGluZVN0eWxlADMBAAACX3R5cGUAcgAAAG1pby5Db21tb24uUG93ZXJQb2ludC5NYW5hZ2VkLkNvbnRyYWN0cy5DdXN0b21pemluZy5TdHlsZXMuQXhpc0xpbmVTdHlsZSwgbWlvLkNvbW1vbi5Qb3dlclBvaW50Lk1hbmFnZWQuQ29udHJhY3RzAAFMaW5lV2VpZ2h0AAAAAAAAAOA/AkRhc2hTdHlsZQAKAAAATGluZVNvbGlkAAhWaXNpYmxlAAEDQ29sb3IAcwAAABBUaGVtZUNvbG9yAA0AAAABVGludEFuZFNoYWRlAAAAAAAAAAAAEFRpbnRJbmRleAD/////EFNjaGVtZUNvbG9yAAAAAAADQ29sb3IAIQAAABBBAAAAAAAQUgD/AAAAEEcA/wAAABBCAP8AAAAAAAADTnVtYmVyRm9ybWF0AB8AAAAFX2lkABAAAAAEAAAAAAAAAAAAAAAAAAAA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AAzEAJwwAAAJBeGlzVHlwZQAIAAAAeGxWYWx1ZQACQXhpc0dyb3VwAAwAAAB4bFNlY29uZGFyeQAIU2NoZW1lQ29sb3JBcHBsaWVkAAAIRm9udFN0eWxlVW5kZXJsaW5lZAAACEFwcGx5T3ZlcmFsbEZvbnRzaXplAAAISXNWaXNpYmxlAAAIWGxBdXRvbWF0aWNDb2xvckluZGV4QXBwbGllZAAACFVzZUV4Y2VsRm9ybWF0c1doZW5EYXRlQXhpcwAAA0F4aXNUaXRsZURhdGEARwgAAANQb3NpdGlvbgA6AAAAAkFuY2hvcgALAAAAQXhpc0NlbnRlcgABUmVsYXRpdmVBbmNob3JPZmZzZXQAAAAAAAAAAAAACFdhbnRUb0JlVmlzaWJsZQAAA1RleHRCb3hEYXRhAGIGAAAFTWFuYWdlZElkABAAAAAEvIw3aZ7XDkmqGIwHR9GOfghIYXNDaGFuZ2VzAAEIVXNlTmFtZUluc3RlYWRPZlRhZ0FzSWQAAQhTaGFwZVByZXZpb3VzbHlDcmVhdGVkAAADRmlsbENvbG9yAFUAAAAQQQAAAAAAEFIAAAAAABBHAAAAAAAQQgAAAAAAAVNjQQAAAAAAAADwvwFTY1IAAAAAAAAA8L8BU2NHAAAAAAAAAPC/AVNjQgAAAAAAAADwvwAQRmlsbFRoZW1lQ0MAAAAFQgAAAEQAAADnDwAAAAAAAAAAAAB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NAAAAbXNvQWxpZ25MZWZ0AAJUZXh0VmVydGljYWxBbGlnbm1lbnQADQAAAG1zb0FuY2hvclRvcAADRm9udFN0eWxlACwBAAAQRm9udEJhY2tncm91bmQAAAAAAAhGb250Qm9sZAAAA0ZvbnRDb2xvcgBVAAAAEEEA/wAAABBSAAAAAAAQRwAAAAAAEEIAAAAAAAFTY0EAAAAAAAAA8D8BU2NSAAAAAAAAAAAAAVNjRwAAAAAAAAAAAAFTY0IAAAAAAAAAAAAAEEZvbnRUaGVtZUNvbG9yAAAAAAABRm9udFRpbnRBbmRTaGFkZQAAAAAAAAAAABBGb250U2NoZW1lQ29sb3IAAgAAAAhGb250SXRhbGljAAABRm9udFNpemUAAAAAAAAAKEAIRm9udFN0cmlrZXRocm91Z2gAAAhGb250U3Vic2NyaXB0AAAIRm9udFN1cGVyc2NyaXB0AAAIRm9udFVuZGVybGluZQAAAAhTaXplVG9UZXh0V2lkdGgAAQhTaXplVG9UZXh0SGVpZ2h0AAEDVGV4dE1hcmdpbgA/AAAAAUxlZnQAAAAAAAAAAAABVG9wAAAAAAAAAAAAAVJpZ2h0AAAAAAAAAAAAAUJvdHRvbQAAAAAAAAAAAAABSGVpZ2h0AAAAAAAAAAAAAVdpZHRoAAAAAAAAAAAAAVRvcAAAAAAAAAAQQAFMZWZ0AAAAAAAAABBACEZsaXBIb3Jpem9udGFsbHkAAAhGbGlwSG9yaXpvbnRhbGx5QXBwbGllZAAACEZsaXBWZXJ0aWNhbGx5AAAIRmxpcFZlcnRpY2FsbHlBcHBsaWVkAAABUm90YXRpb24AAAAAAADgcE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Qb3NzaWJsZUFyZWE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AIVXNlQXV0b21hdGljTWFqb3JVbml0AAEIVXNlQXV0b21hdGljTWluaW11bVNjYWxlAAEIVXNlQXV0b21hdGljTWF4aW11bVNjYWxlAAEDRm9udENvbG9yAFUAAAAQQQD/AAAAEFIAAAAAABBHAAAAAAAQQgAAAAAAAVNjQQAAAAAAAADwPwFTY1IAAAAAAAAAAAABU2NHAAAAAAAAAAAAAVNjQgAAAAAAAAAAAAAQRm9udFNjaGVtZUNvbG9yAAIAAAAQRm9udFRoZW1lQ29sb3IAAAAAAAFGb250VGludEFuZFNoYWRlAAAAAAAAAAAAAkxhYmVsUG9zaXRpb24AAgAAADAAA051bWJlckZvcm1hdAAfAAAABV9pZAAQAAAABAAAAAAAAAAAAAAAAAA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AAMyAJ8NAAACQXhpc1R5cGUACwAAAHhsQ2F0ZWdvcnkAAkF4aXNHcm91cAAKAAAAeGxQcmltYXJ5AAhTY2hlbWVDb2xvckFwcGxpZWQAAQhGb250U3R5bGVVbmRlcmxpbmVkAAAIQXBwbHlPdmVyYWxsRm9udHNpemUAAQhJc1Zpc2libGUAAQhYbEF1dG9tYXRpY0NvbG9ySW5kZXhBcHBsaWVkAAAIVXNlRXhjZWxGb3JtYXRzV2hlbkRhdGVBeGlzAAEDQXhpc1RpdGxlRGF0YQB5CAAAA1Bvc2l0aW9uADoAAAACQW5jaG9yAAsAAABBeGlzQ2VudGVyAAFSZWxhdGl2ZUFuY2hvck9mZnNldAAAAAAAAAAAAAAIV2FudFRvQmVWaXNpYmxlAAADVGV4dEJveERhdGEAlAYAAAVNYW5hZ2VkSWQAEAAAAAQwKscwLPG4Sp5wGipNn8gk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NAAAAbXNvQWxpZ25MZWZ0AAJUZXh0VmVydGljYWxBbGlnbm1lbnQADQAAAG1zb0FuY2hvclRvcA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AAAAAAAAUJvdHRvbQAAAAAAAAAAAAACRGlzcGxheVRleHQAAQAAAAABSGVpZ2h0AAAAAMCOQANAAVdpZHRoAAAAAKCZmbk/AVRvcAAAAAAAAAAQQAFMZWZ0AAAAAAAAABBACEZsaXBIb3Jpem9udGFsbHkAAAhGbGlwSG9yaXpvbnRhbGx5QXBwbGlEAAAABUMAAAD/////EwjUBwAAAAAAAAAA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G9zc2libGVBcmVhAG8BAAABWAAAAAAAAAAAAAFZAAAAAAAAAAAAAVdpZHRoAAAAAAAAAAAAAUhlaWdodAAAAAAAAAAAAAFMZWZ0AAAAAAAAAAAAAVRvcAAAAAAAAAAAAAFSaWdodAAAAAAAAAAAAAFCb3R0b20AAAAAAAAAAAADVG9wTGVmdAAbAAAAAVgAAAAAAAAAAAABWQAAAAAAAAAAAAADVG9wUmlnaHQAGwAAAAFYAAAAAAAAAAAAAVkAAAAAAAAAAAAAA0JvdHRvbUxlZnQAGwAAAAFYAAAAAAAAAAAAAVkAAAAAAAAAAAAAA0JvdHRvbVJpZ2h0ABsAAAABWAAAAAAAAAAAAAFZAAAAAAAAAAAAAANTaXplAC4AAAAISXNFbXB0eQAAAVdpZHRoAAAAAAAAAAAAAUhlaWdodAAAAAAAAAAAAAADTG9jYXRpb24AGwAAAAFYAAAAAAAAAAAAAVkAAAAAAAAAAAAACElzRW1wdHkAAAAACFVzZUF1dG9tYXRpY01ham9yVW5pdAABCFVzZUF1dG9tYXRpY01pbmltdW1TY2FsZQABCFVzZUF1dG9tYXRpY01heGltdW1TY2FsZQABA0ZvbnRDb2xvcgBVAAAAEEEA/wAAABBSAEAAAAAQRwBAAAAAEEIAQAAAAAFTY0EAAAAAAAAA8D8BU2NSAAAAAMD9P6o/AVNjRwAAAADA/T+qPwFTY0IAAAAAwP0/qj8AEEZvbnRTY2hlbWVDb2xvcgACAAAAEEZvbnRUaGVtZUNvbG9yAAAAAAABRm9udFRpbnRBbmRTaGFkZQAAAAAAAAAAAAJMYWJlbFBvc2l0aW9uAAUAAABOb25lAANBeGlzTGluZVN0eWxlADMBAAACX3R5cGUAcgAAAG1pby5Db21tb24uUG93ZXJQb2ludC5NYW5hZ2VkLkNvbnRyYWN0cy5DdXN0b21pemluZy5TdHlsZXMuQXhpc0xpbmVTdHlsZSwgbWlvLkNvbW1vbi5Qb3dlclBvaW50Lk1hbmFnZWQuQ29udHJhY3RzAAFMaW5lV2VpZ2h0AAAAAAAAAOA/AkRhc2hTdHlsZQAKAAAATGluZVNvbGlkAAhWaXNpYmxlAAEDQ29sb3IAcwAAABBUaGVtZUNvbG9yAA0AAAABVGludEFuZFNoYWRlAAAAAAAAAAAAEFRpbnRJbmRleAD/////EFNjaGVtZUNvbG9yAAAAAAADQ29sb3IAIQAAABBBAAAAAAAQUgD/AAAAEEcA/wAAABBCAP8AAAAAAAADTnVtYmVyRm9ybWF0AB8AAAAFX2lkABAAAAAEAAAAAAAAAAAAAAAAAAAA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AAAACTmFtZQAJAAAAQXhlc0RhdGEAEFZlcnNpb24ABQAAAAlMYXN0V3JpdGUA5Who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QAAAAMAAAAA/////wYAYQ4AAAAAAAAAAAAAAgD///////9QAAAAAwAQAAtsxXbgvQ4eRa/MG8wg7tKOQQAAAAIAAwAAADMARQAAAAEAAwAAADMARQAAAAEAAQACAP///////1AAAAAEABAACxefCu0LSXFJv0BOL8Qu6OFBAAAAAwBFAAAAAABFAAAAAgBFAAAAAABFAAAAAwACAAEA////////UAAAAAUAEAALax9R7s2AnUKrxlsKoiov20EAAAAEAEUAAAABAEUAAAADAAMAAwD///////9QAAAABgAQAAse/djveUWdSr5DFYpiFBdZQQAAAAUARQAAAAIARQAAAAQARQAAAAEARQAAAAQAAwAAADMARQAAAAQABAADAP///////1AAAAAHABAAC7Wjs/F83jFKhlwI+stZlfFBAAAABgBFAAAAAwBFAAAABQBFAAAAAwD///////9FAAAAAwD///////8FAAEA////////UAAAAAgAEAAL/UbM+WnsFkybQooSLfnAdUEAAAAHAEUAAAAE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YAAAAF/////0cAAADnDwAAAAAAAAAAAAClKwAABV9pZAAQAAAABGsfUe7NgJ1Cq8ZbCqIqL9sDRGF0YQA9KwAABENhdGVnb3J5QXhpc0xhYmVsRGF0YQDvKgAAAzAABwcAAANUZXh0Qm94RGF0YQC4BgAABU1hbmFnZWRJZAAQAAAABK3Xr5hpLxVMjNTBhhlcD5M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SAAAARXhpc3RlbnpiZWRyb2hlbmQAAlRleHRIb3Jpem9udGFsQWxpZ25tZW50AA4AAABtc29BbmNob3JOb25lAAJQYXJhZ3JhcGhBbGlnbm1lbnQADwAAAG1zb0FsaWduQ2VudGVyAAJUZXh0VmVydGljYWxBbGlnbm1lbnQADQAAAG1zb0FuY2hvclRvcA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JEAIRm9udFN0cmlrZXRocm91Z2gAAAhGb250U3Vic2NyaXB0AAAIRm9udFN1cGVyc2NyaXB0AAAIRm9udFVuZGVybGluZQAAAAhTaXplVG9UZXh0V2lkdGgAAQhTaXplVG9UZXh0SGVpZ2h0AAADVGV4dE1hcmdpbgA/AAAAAUxlZnQAAAAAAAAAAAABVG9wAAAAAAAAAAAAAVJpZ2h0AAAAAAAAAAAAAUJvdHRvbQAAAAAAAAAAAAACRGlzcGxheVRleHQAEgAAAEV4aXN0ZW56YmVkcm9oZW5kAAFIZWlnaHQAAAAAAD9tQ0ABV2lkdGgAAAAAwMxsVUABVG9wAAAAAIA7GmZAAUxlZnQAAAAAwOKlM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k9yaWVudGF0aW9uAAUAAABOb25lAAhMYWJlbFZpc2libGUAAQJUZXh0QWxpZ25tZW50AAUAAABMZWZ0AAADMQBIBwAAA1RleHRCb3hEYXRhAPkGAAAFTWFuYWdlZElkABAAAAAEFwKX2x3JDUmGEztkXcZ+Jw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DIAAABSZWluZXMgQmVtw7xoZW4gdW0gZGFzIHdpcnRzY2hhZnRsaWNoZSDDnGJlcmxlYmVuAAJUZXh0SG9yaXpvbnRhbEFsaWdubWVudAAOAAAAbXNvQW5jaG9yTm9uZQACUGFyYWdyYXBoQWxpZ25tZW50AA8AAABtc29BbGlnbkNlbnRlcgACVGV4dFZlcnRpY2FsQWxpZ25tZW50AA0AAABtc29BbmNob3JUb3AAA0ZvbnRTdHlsZQBB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DMAAABSZWluZXMgQmVtw7xoZW4gdW0gZGFzDQp3aXJ0c2NoYWZ0bGljaGUgw5xiZXJsZWJlbgABSGVpZ2h0AAAAAAA/bUNAAVdpZHRoAAAAAGDxsl1AAVRvcAAAAACAOxpmQAFMZWZ0AAAAAMBXuV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JPcmllbnRhdGlvbgAFAAAATm9uZQAITGFiZWxWaXNpYmxlAAECVGV4dEFsaWdubWVudAAFAAAATGVmdAAAAzIAaQcAAANUZXh0Qm94RGF0YQAaBwAABU1hbmFnZWRJZAAQAAAABNEsacHo4VNBtQ76AF896bY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BHAAAABUYAAABIAAAA5w8AAAAAAAAAAAAAAAAAAAAAAAFTY1IAAAAAAAAAAAABU2NHAAAAAAAAAAAAAVNjQgAAAAAAAAAAAAAQUGF0dGVyblRoZW1lQ29sb3IAAAAAAAFQYXR0ZXJuVGludEFuZFNoYWRlAAAAAAAAAAAACEZpbGxWaXNpYmxlAAAIVmlzaWJsZQABAkZpbGxQYXR0ZXJuABAAAABtc29QYXR0ZXJuTWl4ZWQAAlRleHQAQgAAAFdpcnRzY2hhZnRsaWNoZSBTcGllbHLDpHVtZSBiencuICJhdG1lbmRlIEJ1ZGdldHMiIHNpbmQgdm9yaGFuZGVuAAJUZXh0SG9yaXpvbnRhbEFsaWdubWVudAAOAAAAbXNvQW5jaG9yTm9uZQACUGFyYWdyYXBoQWxpZ25tZW50AA8AAABtc29BbGlnbkNlbnRlcgACVGV4dFZlcnRpY2FsQWxpZ25tZW50AA0AAABtc29BbmNob3JUb3AAA0ZvbnRTdHlsZQBB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EQAAABXaXJ0c2NoYWZ0bGljaGUgU3BpZWxyw6R1bWUNCmJ6dy4gImF0bWVuZGUgQnVkZ2V0cyINCnNpbmQgdm9yaGFuZGVuAAFIZWlnaHQAAAAAAD9tQ0ABV2lkdGgAAAAAwPKyXUABVG9wAAAAAIA7GmZAAUxlZnQAAAAAACS2b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k9yaWVudGF0aW9uAAUAAABOb25lAAhMYWJlbFZpc2libGUAAQJUZXh0QWxpZ25tZW50AAUAAABMZWZ0AAADMwAsBwAAA1RleHRCb3hEYXRhAN0GAAAFTWFuYWdlZElkABAAAAAEwqQYn2FocEWtjKkH/kOQqg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CQAAABBbmdlbWVzc2VuZSBSZW5kaXRlbiB3ZXJkZW4gZXJ6aWVsdAACVGV4dEhvcml6b250YWxBbGlnbm1lbnQADgAAAG1zb0FuY2hvck5vbmUAAlBhcmFncmFwaEFsaWdubWVudAAPAAAAbXNvQWxpZ25DZW50ZXIAAlRleHRWZXJ0aWNhbEFsaWdubWVudAANAAAAbXNvQW5jaG9yVG9w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lAAAAQW5nZW1lc3NlbmUgUmVuZGl0ZW4NCndlcmRlbiBlcnppZWx0AAFIZWlnaHQAAAAAAD9tQ0ABV2lkdGgAAAAAwPKyXUABVG9wAAAAAIA7GmZAAUxlZnQAAAAAYM5Hdk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k9yaWVudGF0aW9uAAUAAABOb25lAAhMYWJlbFZpc2libGUAAQJUZXh0QWxpZ25tZW50AAUAAABMZWZ0AAADNAD3BgAAA1RleHRCb3hEYXRhAKgGAAAFTWFuYWdlZElkABAAAAAEJ0bq5vMExkWVPGhC6IL3/w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oAAABTb25zdGlnZXMAAlRleHRIb3Jpem9udGFsQWxpZ25tZW50AA4AAABtc29BbmNob3JOb25lAAJQYXJhZ3JhcGhBbGlnbm1lbnQADwAAAG1zb0FsaWduQ2VudGVyAAJUZXh0VmVydGljYWxBbGlnbm1lbnQADQAAAG1zb0FuY2hvclRvcAADRm9udFN0eWxlAEEBAAAQRm9udEJhY2tncm91bmQAAAAASAAAAAVHAAAA/////9cLEAQAAAAAAAAAAAAIRm9udEJvbGQAAANGb250Q29sb3IAVQAAABBBAP8AAAAQUgAAAAAAEEcAAAAAABBCAAAAAAABU2NBAAAAAAAAAPA/AVNjUgAAAAAAAAAAAAFTY0cAAAAAAAAAAAABU2NCAAAAAAAAAAAAABBGb250VGhlbWVDb2xvcgAAAAAAAUZvbnRUaW50QW5kU2hhZGUAAAAAAAAAAAAQRm9udFNjaGVtZUNvbG9yAAIAAAAIRm9udEl0YWxpYwAAAkZvbnROYW1lAAcAAAArbW4tbHQAAUZvbnRTaXplAAAAAAAAACRACEZvbnRTdHJpa2V0aHJvdWdoAAAIRm9udFN1YnNjcmlwdAAACEZvbnRTdXBlcnNjcmlwdAAACEZvbnRVbmRlcmxpbmUAAAAIU2l6ZVRvVGV4dFdpZHRoAAEIU2l6ZVRvVGV4dEhlaWdodAAAA1RleHRNYXJnaW4APwAAAAFMZWZ0AAAAAAAAAAAAAVRvcAAAAAAAAAAAAAFSaWdodAAAAAAAAAAAAAFCb3R0b20AAAAAAAAAAAAAAkRpc3BsYXlUZXh0AAoAAABTb25zdGlnZXMAAUhlaWdodAAAAAAAP21DQAFXaWR0aAAAAACgRwFGQAFUb3AAAAAAgDsaZkABTGVmdAAAAABAagWA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CT3JpZW50YXRpb24ABQAAAE5vbmUACExhYmVsVmlzaWJsZQABAlRleHRBbGlnbm1lbnQABQAAAExlZnQAAAM1AP0GAAADVGV4dEJveERhdGEArgYAAAVNYW5hZ2VkSWQAEAAAAAQ6qsZTDYzpTrg8l05B/ANX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DQAAAEtlaW5lIEFuZ2FiZQACVGV4dEhvcml6b250YWxBbGlnbm1lbnQADgAAAG1zb0FuY2hvck5vbmUAAlBhcmFncmFwaEFsaWdubWVudAAPAAAAbXNvQWxpZ25DZW50ZXIAAlRleHRWZXJ0aWNhbEFsaWdubWVudAANAAAAbXNvQW5jaG9yVG9w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kQAhGb250U3RyaWtldGhyb3VnaAAACEZvbnRTdWJzY3JpcHQAAAhGb250U3VwZXJzY3JpcHQAAAhGb250VW5kZXJsaW5lAAAACFNpemVUb1RleHRXaWR0aAABCFNpemVUb1RleHRIZWlnaHQAAANUZXh0TWFyZ2luAD8AAAABTGVmdAAAAAAAAAAAAAFUb3AAAAAAAAAAAAABUmlnaHQAAAAAAAAAAAABQm90dG9tAAAAAAAAAAAAAAJEaXNwbGF5VGV4dAANAAAAS2VpbmUgQW5nYWJlAAFIZWlnaHQAAAAAAD9tQ0ABV2lkdGgAAAAAIFwvT0ABVG9wAAAAAIA7GmZAAUxlZnQAAAAAoFdyg0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k9yaWVudGF0aW9uAAUAAABOb25lAAhMYWJlbFZpc2libGUAAQJUZXh0QWxpZ25tZW50AAUAAABMZWZ0AAAACFdhbnRzVG9CZVZpc2libGUAAQJMYWJlbFRleHRBbGlnbm1lbnQABwAAAENlbnRlcgAAAk5hbWUAGQAAAENhdGVnb3J5QXhpc0RhdGFQcm9wZXJ0eQAQVmVyc2lvbgABAAAACUxhc3RXcml0ZQByyZQ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kAAAAF/////0oAAADnDwAAAAAAAAAAAADhJwAABV9pZAAQAAAABB792O95RZ1KvkMVimIUF1kDRGF0YQCJJwAABFNhdmVkQXhpc0xhYmVsRGF0YQBwJwAAAzAAnA0AAAJBeGlzVHlwZQAIAAAAeGxWYWx1ZQACQXhpc0dyb3VwAAoAAAB4bFByaW1hcnkACFNjaGVtZUNvbG9yQXBwbGllZAAACEZvbnRTdHlsZVVuZGVybGluZWQAAAhBcHBseU92ZXJhbGxGb250c2l6ZQABCElzVmlzaWJsZQAACFhsQXV0b21hdGljQ29sb3JJbmRleEFwcGxpZWQAAAhVc2VFeGNlbEZvcm1hdHNXaGVuRGF0ZUF4aXMAAANBeGlzVGl0bGVEYXRhAHkIAAADUG9zaXRpb24AOgAAAAJBbmNob3IACwAAAEF4aXNDZW50ZXIAAVJlbGF0aXZlQW5jaG9yT2Zmc2V0AAAAAAAAAAAAAAhXYW50VG9CZVZpc2libGUAAANUZXh0Qm94RGF0YQCUBgAABU1hbmFnZWRJZAAQAAAABBhsShj/Ew1MsxLr53u+Cjo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0AAABtc29BbGlnbkxlZnQAAlRleHRWZXJ0aWNhbEFsaWdubWVudAANAAAAbXNvQW5jaG9yVG9w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AAAAAAABQm90dG9tAAAAAAAAAAAAAAJEaXNwbGF5VGV4dAABAAAAAAFIZWlnaHQAAAAAwI5AA0ABV2lkdGgAAAAAoJmZuT8BVG9wAAAAAAAAABBAAUxlZnQAAAAAAAAAEEAIRmxpcEhvcml6b250YWxseQAACEZsaXBIb3Jpem9udGFsbHlBcHBsaWVkAAAIRmxpcFZlcnRpY2FsbHkAAAhGbGlwVmVydGljYWxseUFwcGxpZWQAAAFSb3RhdGlvbgAAAAAAAOBwQ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Bvc3NpYmxlQXJlYQ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AAhVc2VBdXRvbWF0aWNNYWpvclVuaXQAAQhVc2VBdXRvbWF0aWNNaW5pbXVtU2NhbGUAAQhVc2VBdXRvbWF0aWNNYXhpbXVtU2NhbGUAAQNGb250Q29sb3IAVQAAABBBAP8AAAAQUgBAAAAAEEcAQAAAABBCAEAAAAABU2NBAAAAAAAAAPA/AVNjUgAAAADA/T+qPwFTY0cAAAAAwP0/qj8BU2NCAAAAAMD9P6o/ABBGb250U2NoZW1lQ29sb3IAAgAAABBGb250VGhlbWVDb2xvcgAAAAAAAUZvbnRUaW50QW5kU2hhZGUAAAAAAAAAAAACTGFiZWxQb3NpdGlvbgAFAAAATm9uZQADQXhpc0xpbmVTdHlsZQAzAQAAAl90eXBlAHIAAABtaW8uQ29tbW9uLlBvd2VyUG9pbnQuTWFuYWdlZC5Db250cmFjdHMuQ3VzdG9taXppbmcuU3R5bGVzLkF4aXNMaW5lU3R5bGUsIG1pby5Db21tb24uUG93ZXJQb2ludC5NYW5hZ2VkLkNvbnRyYWN0cwABTGluZVdlaWdodAAAAAAAAADgPwJEYXNoU3R5bGUACgAAAExpbmVTb2xpZAAIVmlzaWJsZQABA0NvbG9yAHMAAAAQVGhlbWVDb2xvcgANAAAAAVRpbnRBbmRTaGFkZQAAAAAAAAAAABBUaW50SW5kZXgA/////xBTY2hlbWVDb2xvcgAAAAAAA0NvbG9yACEAAAAQQQAAAAAAEFIA/wAAABBHAP8AAAAQQgD/AAAAAAAAA051bWJlckZvcm1hdAAfAAAABV9pZAAQAAAABAAAAAAAAAAAAAAAAAA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AAMxACcMAAACQXhpc1R5cGUACAAAAHhsVmFsdWUAAkF4aXNHcm91cAAMAAAAeGxTZWNvbmRhcnkACFNjaGVtZUNvbG9yQXBwbGllZAAACEZvbnRTdHlsZVVuZGVybGluZWQAAAhBcHBseU92ZXJhbGxGb250c2l6ZQAACElzVmlzaWJsZQAACFhsQXV0b21hdGljQ29sb3JJbmRleEFwcGxpZWQAAAhVc2VFeGNlbEZvcm1hdHNXaGVuRGF0ZUF4aXMAAANBeGlzVGl0bGVEYXRhAEcIAAADUG9zaXRpb24AOgAAAAJBbmNob3IACwAAAEF4aXNDZW50ZXIAAVJlbGF0aXZlQW5jaG9yT2Zmc2V0AAAAAAAAAAAAAAhXYW50VG9CZVZpc2libGUAAANUZXh0Qm94RGF0YQBiBgAABU1hbmFnZWRJZAAQAAAABLyMN2me1w5JqhiMB0fRjn4ISGFzQ2hhbmdlcwABCFVzZU5hbWVJbnN0ZWFkT2ZUYWdBc0lkAAEIU2hhcGVQcmV2aW91c2x5Q3JlYXRlZAAAA0ZpbGxDb2xvcgBVAAAAEEEAAAAAABBSAAAAAAAQRwAAAAAAEEIAAAAAAAFTY0EAAAAAAAAA8L8BU2NSAAAAAAAAAPC/AVNjRwAAAAAAAADwvwFTY0IAAAAAAAAA8L8AEEZpbGxUaGVtZUNKAAAABUkAAABLAAAA5w8AAAAAAAAAAAAA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DQAAAG1zb0FsaWduTGVmdAACVGV4dFZlcnRpY2FsQWxpZ25tZW50AA0AAABtc29BbmNob3JUb3AAA0ZvbnRTdHlsZQAs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UZvbnRTaXplAAAAAAAAAChACEZvbnRTdHJpa2V0aHJvdWdoAAAIRm9udFN1YnNjcmlwdAAACEZvbnRTdXBlcnNjcmlwdAAACEZvbnRVbmRlcmxpbmUAAAAIU2l6ZVRvVGV4dFdpZHRoAAEIU2l6ZVRvVGV4dEhlaWdodAABA1RleHRNYXJnaW4APwAAAAFMZWZ0AAAAAAAAAAAAAVRvcAAAAAAAAAAAAAFSaWdodAAAAAAAAAAAAAFCb3R0b20AAAAAAAAAAAAAAUhlaWdodAAAAAAAAAAAAAFXaWR0aAAAAAAAAAAAAAFUb3AAAAAAAAAAEEABTGVmdAAAAAAAAAAQQAhGbGlwSG9yaXpvbnRhbGx5AAAIRmxpcEhvcml6b250YWxseUFwcGxpZWQAAAhGbGlwVmVydGljYWxseQAACEZsaXBWZXJ0aWNhbGx5QXBwbGllZAAAAVJvdGF0aW9uAAAAAAAA4HB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G9zc2libGVBcmVhAG8BAAABWAAAAAAAAAAAAAFZAAAAAAAAAAAAAVdpZHRoAAAAAAAAAAAAAUhlaWdodAAAAAAAAAAAAAFMZWZ0AAAAAAAAAAAAAVRvcAAAAAAAAAAAAAFSaWdodAAAAAAAAAAAAAFCb3R0b20AAAAAAAAAAAADVG9wTGVmdAAbAAAAAVgAAAAAAAAAAAABWQAAAAAAAAAAAAADVG9wUmlnaHQAGwAAAAFYAAAAAAAAAAAAAVkAAAAAAAAAAAAAA0JvdHRvbUxlZnQAGwAAAAFYAAAAAAAAAAAAAVkAAAAAAAAAAAAAA0JvdHRvbVJpZ2h0ABsAAAABWAAAAAAAAAAAAAFZAAAAAAAAAAAAAANTaXplAC4AAAAISXNFbXB0eQAAAVdpZHRoAAAAAAAAAAAAAUhlaWdodAAAAAAAAAAAAAADTG9jYXRpb24AGwAAAAFYAAAAAAAAAAAAAVkAAAAAAAAAAAAACElzRW1wdHkAAAAACFVzZUF1dG9tYXRpY01ham9yVW5pdAABCFVzZUF1dG9tYXRpY01pbmltdW1TY2FsZQABCFVzZUF1dG9tYXRpY01heGltdW1TY2FsZQABA0ZvbnRDb2xvcgBVAAAAEEEA/wAAABBSAAAAAAAQRwAAAAAAEEIAAAAAAAFTY0EAAAAAAAAA8D8BU2NSAAAAAAAAAAAAAVNjRwAAAAAAAAAAAAFTY0IAAAAAAAAAAAAAEEZvbnRTY2hlbWVDb2xvcgACAAAAEEZvbnRUaGVtZUNvbG9yAAAAAAABRm9udFRpbnRBbmRTaGFkZQAAAAAAAAAAAAJMYWJlbFBvc2l0aW9uAAIAAAAw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DMgCfDQAAAkF4aXNUeXBlAAsAAAB4bENhdGVnb3J5AAJBeGlzR3JvdXAACgAAAHhsUHJpbWFyeQAIU2NoZW1lQ29sb3JBcHBsaWVkAAEIRm9udFN0eWxlVW5kZXJsaW5lZAAACEFwcGx5T3ZlcmFsbEZvbnRzaXplAAEISXNWaXNpYmxlAAEIWGxBdXRvbWF0aWNDb2xvckluZGV4QXBwbGllZAAACFVzZUV4Y2VsRm9ybWF0c1doZW5EYXRlQXhpcwABA0F4aXNUaXRsZURhdGEAeQgAAANQb3NpdGlvbgA6AAAAAkFuY2hvcgALAAAAQXhpc0NlbnRlcgABUmVsYXRpdmVBbmNob3JPZmZzZXQAAAAAAAAAAAAACFdhbnRUb0JlVmlzaWJsZQAAA1RleHRCb3hEYXRhAJQGAAAFTWFuYWdlZElkABAAAAAEMCrHMCzxuEqecBoqTZ/IJA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DQAAAG1zb0FsaWduTGVmdAACVGV4dFZlcnRpY2FsQWxpZ25tZW50AA0AAABtc29BbmNob3JUb3AAA0ZvbnRTdHlsZQBB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BA1RleHRNYXJnaW4APwAAAAFMZWZ0AAAAAAAAAAAAAVRvcAAAAAAAAAAAAAFSaWdodAAAAAAAAAAAAAFCb3R0b20AAAAAAAAAAAAAAkRpc3BsYXlUZXh0AAEAAAAAAUhlaWdodAAAAADAjkADQAFXaWR0aAAAAACgmZm5PwFUb3AAAAAAAAAAEEABTGVmdAAAAAAAAAAQQAhGbGlwSG9yaXpvbnRhbGx5AAAIRmxpcEhvcml6b250YWxseUFwcGxpSwAAAAVKAAAA/////xMI1AcAAAAAAAAAAG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Bvc3NpYmxlQXJlYQ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AAhVc2VBdXRvbWF0aWNNYWpvclVuaXQAAQhVc2VBdXRvbWF0aWNNaW5pbXVtU2NhbGUAAQhVc2VBdXRvbWF0aWNNYXhpbXVtU2NhbGUAAQNGb250Q29sb3IAVQAAABBBAP8AAAAQUgBAAAAAEEcAQAAAABBCAEAAAAABU2NBAAAAAAAAAPA/AVNjUgAAAADA/T+qPwFTY0cAAAAAwP0/qj8BU2NCAAAAAMD9P6o/ABBGb250U2NoZW1lQ29sb3IAAgAAABBGb250VGhlbWVDb2xvcgAAAAAAAUZvbnRUaW50QW5kU2hhZGUAAAAAAAAAAAACTGFiZWxQb3NpdGlvbgAFAAAATm9uZQADQXhpc0xpbmVTdHlsZQAzAQAAAl90eXBlAHIAAABtaW8uQ29tbW9uLlBvd2VyUG9pbnQuTWFuYWdlZC5Db250cmFjdHMuQ3VzdG9taXppbmcuU3R5bGVzLkF4aXNMaW5lU3R5bGUsIG1pby5Db21tb24uUG93ZXJQb2ludC5NYW5hZ2VkLkNvbnRyYWN0cwABTGluZVdlaWdodAAAAAAAAADgPwJEYXNoU3R5bGUACgAAAExpbmVTb2xpZAAIVmlzaWJsZQABA0NvbG9yAHMAAAAQVGhlbWVDb2xvcgANAAAAAVRpbnRBbmRTaGFkZQAAAAAAAAAAABBUaW50SW5kZXgA/////xBTY2hlbWVDb2xvcgAAAAAAA0NvbG9yACEAAAAQQQAAAAAAEFIA/wAAABBHAP8AAAAQQgD/AAAAAAAAA051bWJlckZvcm1hdAAfAAAABV9pZAAQAAAABAAAAAAAAAAAAAAAAAA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AAAAAk5hbWUACQAAAEF4ZXNEYXRhABBWZXJzaW9uAAQAAAAJTGFzdFdyaXRlANxoa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wAAAAF/////00AAADnDwAAAAAAAAAAAACNMAAABV9pZAAQAAAABP1GzPlp7BZMm0KKEi35wHUERGF0YQA1MAAAAzAABQgAAAVfaWQAEAAAAATXffSboXAERbWJoUmnuHVPAl90eXBlAFcAAABlbXBvd2VyLkNoYXJ0cy5EYXRhLkRhdGFDaGFydHMuT3ZlcmxheXMuRGF0YS5Db2x1bW5TdW1PdmVybGF5RGF0YSwgZW1wb3dlci5DaGFydHMuRGF0YQAQQ29sdW1uAAEAAAAQU2VyaWVzAP////8DVGV4dEVsZW1lbnQA6wYAAAJBdXRvU2hhcGVUeXBlAAoAAABSZWN0YW5nbGUABEFkanVzdG1lbnRzAAUAAAAABU1hbmFnZWRJZAAQAAAABP5ufixZElxJqNpMcCREZxE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MBHISxAAVdpZHRoAAAAAMBjNDZ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CBzPSpAAAJDb2x1bW5TdW1Qb3NpdGlvbgAMAAAARGVmYXVsdERvY2sACERlbGV0ZWQAAQNOdW1iZXJGb3JtYXQAHwAAAAVfaWQAEAAAAAQAAAAAAAAAAAAAAAAAAAAAAAhJc05ldwABAUZvbnRTaXplAAAAAAAAACRAAAMxAAUIAAAFX2lkABAAAAAEayJ+YO5EEUKpjl7ClB+EBwJfdHlwZQBXAAAAZW1wb3dlci5DaGFydHMuRGF0YS5EYXRhQ2hhcnRzLk92ZXJsYXlzLkRhdGEuQ29sdW1uU3VtT3ZlcmxheURhdGEsIGVtcG93ZXIuQ2hhcnRzLkRhdGEAEENvbHVtbgACAAAAEFNlcmllcwD/////A1RleHRFbGVtZW50AOsGAAACQXV0b1NoYXBlVHlwZQAKAAAAUmVjdGFuZ2xlAARBZGp1c3RtZW50cwAFAAAAAAVNYW5hZ2VkSWQAEAAAAAREkpnarvGaR5JOZv56JGQ7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J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DARyEsQAFXaWR0aAAAAADAYzQ2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Agcz0qQAACQ29sdW1uU3VtUG9zaXRpb24ADAAAAERlZmF1bHREb2NrAAhNAAAABUwAAABOAAAA5w8AAAAAAAAAAAAARGVsZXRlZAABA051bWJlckZvcm1hdAAfAAAABV9pZAAQAAAABAAAAAAAAAAAAAAAAAAAAAAACElzTmV3AAEBRm9udFNpemUAAAAAAAAAJEAAAzIABQgAAAVfaWQAEAAAAARn445C0KwwRZEUhNsLT1w1Al90eXBlAFcAAABlbXBvd2VyLkNoYXJ0cy5EYXRhLkRhdGFDaGFydHMuT3ZlcmxheXMuRGF0YS5Db2x1bW5TdW1PdmVybGF5RGF0YSwgZW1wb3dlci5DaGFydHMuRGF0YQAQQ29sdW1uAAMAAAAQU2VyaWVzAP////8DVGV4dEVsZW1lbnQA6wYAAAJBdXRvU2hhcGVUeXBlAAoAAABSZWN0YW5nbGUABEFkanVzdG1lbnRzAAUAAAAABU1hbmFnZWRJZAAQAAAABJGQ22g/j8NKu2X2Zh/BVuE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MBHISxAAVdpZHRoAAAAAMBjNDZ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CBzPSpAAAJDb2x1bW5TdW1Qb3NpdGlvbgAMAAAARGVmYXVsdERvY2sACERlbGV0ZWQAAQNOdW1iZXJGb3JtYXQAHwAAAAVfaWQAEAAAAAQAAAAAAAAAAAAAAAAAAAAAAAhJc05ldwABAUZvbnRTaXplAAAAAAAAACRAAAMzAAUIAAAFX2lkABAAAAAEUdwiWVdEmUGfctrjyazjrgJfdHlwZQBXAAAAZW1wb3dlci5DaGFydHMuRGF0YS5EYXRhQ2hhcnRzLk92ZXJsYXlzLkRhdGEuQ29sdW1uU3VtT3ZlcmxheURhdGEsIGVtcG93ZXIuQ2hhcnRzLkRhdGEAEENvbHVtbgAEAAAAEFNlcmllcwD/////A1RleHRFbGVtZW50AOsGAAACQXV0b1NoYXBlVHlwZQAKAAAAUmVjdGFuZ2xlAARBZGp1c3RtZW50cwAFAAAAAAVNYW5hZ2VkSWQAEAAAAATsA9hQnWxeQbUACwIL2/JK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J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DARyEsQAFXaWR0aAAAAADAYzQ2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AgTgAAAAVNAAAAWAAAAOcPAAAAAAAAAAAAAHM9KkAAAkNvbHVtblN1bVBvc2l0aW9uAAwAAABEZWZhdWx0RG9jawAIRGVsZXRlZAABA051bWJlckZvcm1hdAAfAAAABV9pZAAQAAAABAAAAAAAAAAAAAAAAAAAAAAACElzTmV3AAEBRm9udFNpemUAAAAAAAAAJEAAAzQABQgAAAVfaWQAEAAAAAT1tR7MxY+9T5FbMP/7O76kAl90eXBlAFcAAABlbXBvd2VyLkNoYXJ0cy5EYXRhLkRhdGFDaGFydHMuT3ZlcmxheXMuRGF0YS5Db2x1bW5TdW1PdmVybGF5RGF0YSwgZW1wb3dlci5DaGFydHMuRGF0YQAQQ29sdW1uAAUAAAAQU2VyaWVzAP////8DVGV4dEVsZW1lbnQA6wYAAAJBdXRvU2hhcGVUeXBlAAoAAABSZWN0YW5nbGUABEFkanVzdG1lbnRzAAUAAAAABU1hbmFnZWRJZAAQAAAABEg/IjUuQZ9Nq+4JRZhUuC0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k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MBHISxAAVdpZHRoAAAAAMBjNDZ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CBzPSpAAAJDb2x1bW5TdW1Qb3NpdGlvbgAMAAAARGVmYXVsdERvY2sACERlbGV0ZWQAAQNOdW1iZXJGb3JtYXQAHwAAAAVfaWQAEAAAAAQAAAAAAAAAAAAAAAAAAAAAAAhJc05ldwABAUZvbnRTaXplAAAAAAAAACRAAAM1AAUIAAAFX2lkABAAAAAEr3tKuLwSqUyEPnlIp/lMswJfdHlwZQBXAAAAZW1wb3dlci5DaGFydHMuRGF0YS5EYXRhQ2hhcnRzLk92ZXJsYXlzLkRhdGEuQ29sdW1uU3VtT3ZlcmxheURhdGEsIGVtcG93ZXIuQ2hhcnRzLkRhdGEAEENvbHVtbgAGAAAAEFNlcmllcwD/////A1RleHRFbGVtZW50AOsGAAACQXV0b1NoYXBlVHlwZQAKAAAAUmVjdGFuZ2xlAARBZGp1c3RtZW50cwAFAAAAAAVNYW5hZ2VkSWQAEAAAAAQ0KhEfmMtKRY37c+phX6bx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JE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CgmVkoQAFXaWR0aAAAAABg1PE2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E8AAAAD//////////8xAE8AAAAAAAAAAAAAACAD////////////////AAAA////////////////UAAAAAQA////////UAAAAAQA////////UAAAAAQA////////UAAAAAQA////////UAAAAAQA////////////////////////////////////////////////////////////////////////////////////////////////////////////////////////////////////////////////////////////////////////////////////////////////////////////////////////////////////////////////////////////////////////////////////////////////////////////////////////////////////////////////////////////////////////////////////////////////////////////////////////////////////////////////AQAgA////////////////wAADv///////08AAAAkAP///////////////////////////////////////////////////////////////////////////////////////////////////////////////////////////////////////////////////////////////////////////////////////////////////////////////////////////////////////////////////////////////////////////////////////////////////////////////////////////////////////////////////////////////////////////////////////////////////////////////////////////////////////////////////////////////////////////////////////////////////////////////////////wIAAQMDAAAAAgAFAAAAAgAcAAZFeGNlbENvbG9yTW9kZURhdGFQcm9wZXJ0eV8yBgAAAAAATwAAABcATwAAABIAAwADAwMAAAADAAUAAAADABsABlNoYXBlQ29uc3RydWN0ZWRDaGFydERhdGFfMAYAAAABAE8AAAAZAE8AAAAhAE8AAAAZAE8AAAAhAE8AAAAtAP///////wQABQMDAAAABAAFAAAABAAgAAZBenVyZUluZm9ybWF0aW9uUHJvdGVjdGlvbkRhdGFfMAYAAAACAFAAAAABAE8AAAAYAFAAAAAEAFAAAAAHAFAAAAAEAE8AAAAKAFAAAAAEAE8AAAAKAFAAAAAEAE8AAAAUAAUAAgMDAAAABQAFAAAABQATAAZDb2xvckRhdGFQcm9wZXJ0eV8wBgAAAAMATwAAACoATwAAAAsAUAAAAAcATwAAAAsABgABAwMAAAAGAAUAAAAGAA0ABkxlYWRlckxpbmVzXzAGAAAABABPAAAAJwBPAAAAEQAHAAEDAwAAAAcABQAAAAcAKQAGUG9pbnRBbmRTZXJpZXNBZGRpdGlvblN0eWxlc0RlZmluaXRpb25zXzEGAAAABQBPAAAACQBPAAAAFAAIAAMDAwAAAAgABQAAAAgADQAGTWFya2Vyc0RhdGFfMQcAAAAAAE8AAAAvAE8AAAAPAE8AAAAlAE8AAAAPAE8AAAAlAE8AAAAPAAkAAgMDAAAACQAFAAAACQApAAZQb2ludEFuZFNlcmllc0FkZGl0aW9uU3R5bGVzRGVmaW5pdGlvbnNfMAYAAAAGAE8AAAANAE8AAAAHAE8AAAAgAE8AAAAUAAoABAMDAAAACgAFAAAACgAMAAZEYXRhTGFiZWxzXzYIAAAAAABPAAAADgBPAAAAFQBPAAAADgBPAAAALABPAAAABABPAAAAHABPAAAABABPAAAAJQALAAIDAwAAAAsABQAAAAsADgAGQ29sb3JJbmRpY2VzXzIIAAAAAQBPAAAABQBPAAAAHgBPAAAABQBPAAAADgAMAAMDAwAAAAwABQAAAAwADwAGTnVtYmVyRm9ybWF0c18yCAAAAAIATwAAAA8AUAAAAAgATwAAAA8ATwAAACAATwAAAA8ATwAAACAADQABAwMAAAANAAUAAAANABAABlBsb3RBcmVhQm9yZGVyXzARAAAAAABPAAAAIABPAAAACQAOAAIDAwAAAA4ABQAAAA4AFgAGRGF0YUNoYXJ0Q29BdXRob3JpbmdfMBEAAAABAE8AAAAQAE8AAAAKAE8AAAALAE8AAAAKAA8AAwMDAAAADwAFAAAADwAPAAZOdW1iZXJGb3JtYXRzXzERAAAAAgBPAAAACABPAAAADABPAAAACABPAAAADABPAAAACABPAAAADAAQAAEDAwAAABAABQAAABAAEAAGQ29tbW9uU2V0dGluZ3NfMBIAAAAAAE8AAAAeAE8AAAAOABEAAgMDAAAAEQAFAAAAEQAMAAZMZWdlbmREYXRhXzESAAAAAQBPAAAABgBPAAAAHwBPAAAAJwBPAAAAHwASAAEDAwAAABIABQAAABIADQAGRXhjZWxNaXJyb3JfMRIAAAACAE8AAAACAE8AAAAoABMAAgMDAAAAEwAFAAAAEwAgAAZQb2ludEFuZFNlcmllc1N0eWxlRGVmaW5pdGlvbnNfMhIAAAADAE8AAAAmAE8AAAAWAE8AAAAUAFAAAAACABQABQMDAAAAFAAFAAAAFAAmAAZQb2ludEFuZFNlcmllc01hcmtlclN0eWxlRGVmaW5pdGlvbnNfMBIAAAAEAE8AAAAHAE8AAAAjAE8AAAAJAE8AAAATAE8AAAAgAFAAAAACAE8AAAAlAFAAAAACAE8AAAAEAE8AAAAtABUAAQMDAAAAFQAFAAAAFQAMAAZEYXRhTGFiZWxzXzcSAAAABQBPAAAACgBPAAAALAAWAAEDAwAAABYABQAAABYADAAGU2VyaWVzRGF0YV8wEgAAAAYATwAAABMAUAAAAAIAFwACAwMAAAAXAAUAAAAXABwABkV4Y2VsQ29sb3JNb2RlRGF0YVByb3BlcnR5XzESAAAABwBQAAAAAwBPAAAAAgBQAAAAAwBPAAAAKAAYAAEDAwAAABgABQAAABgAFQAGQnJlYWtNYW5hZ2VtZW50RGF0YV8wEgAAAAgATwAAAAQAUAAAAAUAGQACAwMAAAAZAAUAAAAZAA4ABlNlcmllc0xhYmVsc181EgAAAAkATwAAAC0ATwAAAAMATwAAAC0ATwAAAAMAGgABAwMAAAAaAAUAAAAaAAoABk92ZXJsYXlzXzgSAAAACgBPAAAALgBPAAAAIAAbAAEDAwAAABsABQAAABsAHgAGQ2hhcnRTdHlsZVN0YXR1c0luZm9ybWF0aW9uc18wEgAAAAsAUAAAAAcATwAAACoAHAADAwMAAAAcAAUAAAAcABIABkdyaWRsaW5lU2V0dGluZ3NfMBIAAAAMAFAAAAAAAE8AAAAnAFAAAAAAAE8AAAAnAE8AAAAKAE8AAAAlAB0AAQMDAAAAHQAFAAAAHQAUAAZBZGRpdGlvbmFsQXhpc0RhdGFfMSQAAAAAAFAAAAAEAE8AAAAiAB4AAQMDAAAAHgAFAAAAHgAUAAZDb2x1bW5TdW1zU2V0dGluZ3NfMCQAAAABAE8AAAALAE8AAAAQAB8AAgMDAAAAHwAFAAAAHwAMAAZMZWdlbmREYXRhXzIkAAAAAgBPAAAAEQBPAAAAJQBPAAAAEQBPAAAAJQAgAAMDAwAAACAABQAAACAADAAGUGVyc29uYWxJZF8wJAAAAAMATwAAABoATwAAAA0ATwAAAAwATwAAAAkATwAAAAwATwAAABQAIQACAwMAAAAhAAUAAAAhAAsABldhdGVyZmFsbF8wJAAAAAQATwAAAAMATwAAACQATwAAAAMA////////IgABAwMAAAAiAAUAAAAiABwABkF1dG9tYXRpY0JyZWFrU2V0dGluZ3NEYXRhXzAkAAAABQBPAAAAHQBQAAAABgAjAAEDAwAAACMABQAAACMAIAAGUG9pbnRBbmRTZXJpZXNTdHlsZURlZmluaXRpb25zXzAkAAAABgBPAAAAFABPAAAAJgAkAAEDAwAAACQABQAAACQACwAGV2F0ZXJmYWxsXzEkAAAABwBPAAAAIQBPAAAAAQAlAAQDAwAAACUABQAAACUADgAGTGlua0RhdGFMaXN0XzAkAAAACABPAAAAHwBPAAAALwBPAAAAHwBPAAAACABPAAAAHABPAAAACABPAAAACgBPAAAAFAAmAAEDAwAAACYABQAAACYAIAAGUG9pbnRBbmRTZXJpZXNTdHlsZURlZmluaXRpb25zXzEnAAAAAABPAAAAIwBPAAAAEwAnAAIDAwAAACcABQAAACcAEgAGR3JpZGxpbmVTZXR0aW5nc18xJwAAAAEATwAAABwATwAAAAYATwAAABwATwAAABEAKAACAwMAAAAoAAUAAAAoABYABkdlbmVyYWxFeGNlbFNldHRpbmdzXzAnAAAAAgBPAAAAEgBPAAAAMABPAAAAFwBQAAAAAAApAAEDAwAAACkABQAAACkACgAGT3ZlcmxheXNfNicAAAADAFAAAAAIAE8AAAAuACoAAQMDAAAAKgAFAAAAKgAeAAZDaGFydFN0eWxlU3RhdHVzSW5mb3JtYXRpb25zXzEnAAAABABPAAAAGwBPAAAABQArAAEDAwAAACsABQAAACsADAAGRGF0YUxhYmVsc185KwAAAAAATwAAACwAUAAAAAMALAACAwMAAAAsAAUAAAAsAAwABkRhdGFMYWJlbHNfOCsAAAABAE8AAAAVAE8AAAArAE8AAAAKAFAAAAADAC0ABQMDAAAALQAFAAAALQAOAAZTZXJpZXNMYWJlbHNfNCsAAAACAFAAAAACAE8AAAAZAFAAAAACAE8AAAAZAFAAAAACAE8AAAADAFAAAAACAP///////08AAAAUAP///////y4AAQMDAAAALgAFAAAALgAKAAZPdmVybGF5c183KwAAAAMATwAAACkATwAAABoALwABAwMAAAAvAAUAAAAvAA4ABkxpbmtEYXRhTGlzdF8xKwAAAAQATwAAACUATwAAAAgAMAABAwMAAAAwAAUAAAAwABUABkdsb2JhbENoYXJ0U2V0dGluZ3NfNCsAAAAFAE8AAAAoAFAAAAAAAAAAAAAAAAAAAAAAAAAAAAAAAAAAAAAAAAAAAAAAAAAAAAAAAAAAAAAAAAAAAAAAAAAAAAAAAAAAAAAAAAAAAAAAAAAAAAAAAAAAAAAAAABQAAAAAwAAAAD/////CQCGDQAAAAAAAAAAAAACAwMAAAAxAAUAAAAxABUABkdsb2JhbENoYXJ0U2V0dGluZ3NfNUAAAAAAAE8AAAAwAE8AAAAcAE8AAAAoAE8AAAAcAAEAAQMDAAAAMgAFAAAAMgAKAAZBeGVzRGF0YV81QQAAAAAAUAAAAAYATwAAAAQAAgAEAwMAAAAzAAUAAAAzAA4ABlNlcmllc0xhYmVsc18zQQAAAAEATwAAABYATwAAAC0ATwAAABMATwAAAC0ATwAAABQATwAAAC0ATwAAABQATwAAAC0AAwACA0UAAAAAAAUAAAA0AAoABkRhdGFMaW5rXzFBAAAAAgBPAAAAKwBPAAAAFwBPAAAALABPAAAAFwAEAAUDRQAAAAEABQAAADUAFAAGQWRkaXRpb25hbEF4aXNEYXRhXzBBAAAAAwBPAAAAAABPAAAAHQBPAAAAAABPAAAABABPAAAAAABPAAAABABPAAAAAABPAAAABABPAAAAAABPAAAABAAFAAEDRQAAAAIABQAAADYAGgAGQ2F0ZWdvcnlBeGlzRGF0YVByb3BlcnR5XzFBAAAABABPAAAAGABQAAAABwAGAAEDRQAAAAMABQAAADcACgAGQXhlc0RhdGFfNEEAAAAFAE8AAAAiAFAAAAABAAcAAgNFAAAABAAFAAAAOAAjAAZDYXRlZ29yeUxhYmVsU2V0dGluZ3NEYXRhUHJvcGVydHlfMEEAAAAGAFAAAAAFAE8AAAAbAE8AAAAEAE8AAAAFAAgAAQNFAAAABQAFAAAAOQAKAAZPdmVybGF5c181QQAAAAcATwAAAAwATwAAACk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UQAAAAX//////////1kIjgcAAAAAAAAAAFkIAAAFX2lkABAAAAAEaxhMA+Sdt068pttpNtXoSwNEYXRhAO8HAAAIRXhjZWxDb2xvck1vZGVBY3RpdmUAAAhDb2xvckNhY2hlUmVwYWlyZWRGb3JMaW5rZWRDaGFydHMAAARDb2xvckNhY2hlAKMHAAADMACIAAAAA0NlbGxBZGRyZXNzABoAAAAQUm93AAAAAAAQQ29sdW1uAAAAAAAAA0NvbG9yAFUAAAAQQQD/AAAAEFIApgAAABBHAKYAAAAQQgCmAAAAAVNjQQAAAAAAAADwPwFTY1IAAAAAYKVn2D8BU2NHAAAAAGClZ9g/AVNjQgAAAABgpWfYPwAAAzEAiAAAAANDZWxsQWRkcmVzcwAaAAAAEFJvdwAAAAAAEENvbHVtbgABAAAAAANDb2xvcgBVAAAAEEEA/wAAABBSAKYAAAAQRwCmAAAAEEIApgAAAAFTY0EAAAAAAAAA8D8BU2NSAAAAAGClZ9g/AVNjRwAAAABgpWfYPwFTY0IAAAAAYKVn2D8AAAMyAIgAAAADQ2VsbEFkZHJlc3MAGgAAABBSb3cAAAAAABBDb2x1bW4AAgAAAAADQ29sb3IAVQAAABBBAP8AAAAQUgCmAAAAEEcApgAAABBCAKYAAAABU2NBAAAAAAAAAPA/AVNjUgAAAABgpWfYPwFTY0cAAAAAYKVn2D8BU2NCAAAAAGClZ9g/AAADMwCIAAAAA0NlbGxBZGRyZXNzABoAAAAQUm93AAAAAAAQQ29sdW1uAAMAAAAAA0NvbG9yAFUAAAAQQQD/AAAAEFIApgAAABBHAKYAAAAQQgCmAAAAAVNjQQAAAAAAAADwPwFTY1IAAAAAYKVn2D8BU2NHAAAAAGClZ9g/AVNjQgAAAABgpWfYPwAAAzQAiAAAAANDZWxsQWRkcmVzcwAaAAAAEFJvdwAAAAAAEENvbHVtbgAEAAAAAANDb2xvcgBVAAAAEEEA/wAAABBSAKYAAAAQRwCmAAAAEEIApgAAAAFTY0EAAAAAAAAA8D8BU2NSAAAAAGClZ9g/AVNjRwAAAABgpWfYPwFTY0IAAAAAYKVn2D8AAAM1AIgAAAADQ2VsbEFkZHJlc3MAGgAAABBSb3cAAAAAABBDb2x1bW4ABQAAAAADQ29sb3IAVQAAABBBAP8AAAAQUgCmAAAAEEcApgAAABBCAKYAAAABU2NBAAAAAAAAAPA/AVNjUgAAAABgpWfYPwFTY0cAAAAAYKVn2D8BU2NCAAAAAGClZ9g/AAADNgCIAAAAA0NlbGxBZGRyZXNzABoAAAAQUm93AAEAAAAQQ29sdW1uAAAAAAAAA0NvbG9yAFUAAAAQQQD/AAAAEFIA3QAAABBHAN0AAAAQQgDdAAAAAVNjQQAAAAAAAADwPwFTY1IAAAAAgEQj5z8BU2NHAAAAAIBEI+c/AVNjQgAAAACARCPnPwAAAzcAiAAAAANDZWxsQWRkcmVzcwAaAAAAEFJvdwABAAAAEENvbHVtbgABAAAAAANDb2xvcgBVAAAAEEEAAAAAABBSAP8AAAAQRwD/AAAAEEIA/wAAAAFTY0EAAAAAAAAAAAABU2NSAAAAAAAAAPA/AVNjRwAAAAAAAADwPwFTY0IAAAAAAAAA8D8AAAM4AIgAAAADQ2VsbEFkZHJlc3MAGgAAABBSb3cAAQAAABBDb2x1bW4AAgAAAAADQ29sb3IAVQAAABBBAAAAAAAQUgD/AAAAEEcA/wAAABBCAP8AAAABU2NBAAAAAAAAAAAAAVNjUgAAAAAAAADwPwFTY0cAAAAAAAAA8D8BU2NCAAAAAAAAAPA/AAADOQCIAAAAA0NlbGxBZGRyZXNzABoAAAAQUm93AAEAAAAQQ29sdW1uAAMAAAAAA0NvbG9yAFUAAAAQQQAAAAAAEFIA/wAAABBHAP8AAAAQQgD/AAAAAVNjQQAAAAAAAAAAAAFTY1IAAAAAAAAA8D8BU2NHAAAAAAAAAPA/AVNjQgAAAAAAAADwPwAAAzEwAIgAAAADQ2VsbEFkZHJlc3MAGgAAABBSb3cAAQAAABBDb2x1bW4ABAAAAAADQ29sb3IAVQAAABBBAAAAAAAQUgD/AAAAEEcA/wAAABBCAP8AAAABU2NBAAAAAAAAAAAAAVNjUgAAAAAAAADwPwFTY0cAAAAAAAAA8D8BU2NCAAAAAAAAAPA/AAADMTEAiAAAAANDZWxsQWRkcmVzcwAaAAAAEFJvdwABAAAAEENvbHVtbgAFAAAAAANDb2xvcgBVAAAAEEEAAAAAABBSAP8AAAAQRwD/AAAAEEIA/wAAAAFTY0EAAAAAAAAAAAABU2NSAAAAAAAAAPA/AVNjRwAAAAAAAADwPwFTY0IAAAAAAAAA8D8AAAMxMgCIAAAAA0NlbGxBZGRyZXNzABoAAAAQUm93AAAAAAAQQ29sdW1uAAYAAAAAA0NvbG9yAFUAAAAQQQD/AAAAEFIApgAAABBHAKYAAAAQQgCmAAAAAVNjQQAAAAAAAADwPwFTY1IAAAAAYKVn2D8BU2NHAAAAAGClZ9g/AVNjQgAAAABgpWfYPwAAAzEzAIgAAAADQ2VsbEFkZHJlc3MAGgAAABBSb3cAAQAAABBDb2x1bW4ABgAAAAADQ29sb3IAVQAAABBBAAAAAAAQUgD/AAAAEEcA/wAAABBCAP8AAAABU2NBAAAAAAAAAAAAAVNjUgAAAAAAAADwPwFTY0cAAAAAAAAA8D8BU2NCAAAAAAAAAPA/AAAAAAJOYW1lABsAAABFeGNlbENvbG9yTW9kZURhdGFQcm9wZXJ0eQAQVmVyc2lvbgACAAAACUxhc3RXcml0ZQAJtGc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IAAAAF//////////9ZCI4HAAAAAAAAAABZCAAABV9pZAAQAAAABKsIr1cisodNs/6Z08iYZ6cDRGF0YQDvBwAACEV4Y2VsQ29sb3JNb2RlQWN0aXZlAAAIQ29sb3JDYWNoZVJlcGFpcmVkRm9yTGlua2VkQ2hhcnRzAAAEQ29sb3JDYWNoZQCjBwAAAzAAiAAAAANDZWxsQWRkcmVzcwAaAAAAEFJvdwAAAAAAEENvbHVtbgAAAAAAAANDb2xvcgBVAAAAEEEA/wAAABBSAKYAAAAQRwCmAAAAEEIApgAAAAFTY0EAAAAAAAAA8D8BU2NSAAAAAGClZ9g/AVNjRwAAAABgpWfYPwFTY0IAAAAAYKVn2D8AAAMxAIgAAAADQ2VsbEFkZHJlc3MAGgAAABBSb3cAAAAAABBDb2x1bW4AAQAAAAADQ29sb3IAVQAAABBBAP8AAAAQUgCmAAAAEEcApgAAABBCAKYAAAABU2NBAAAAAAAAAPA/AVNjUgAAAABgpWfYPwFTY0cAAAAAYKVn2D8BU2NCAAAAAGClZ9g/AAADMgCIAAAAA0NlbGxBZGRyZXNzABoAAAAQUm93AAAAAAAQQ29sdW1uAAIAAAAAA0NvbG9yAFUAAAAQQQD/AAAAEFIApgAAABBHAKYAAAAQQgCmAAAAAVNjQQAAAAAAAADwPwFTY1IAAAAAYKVn2D8BU2NHAAAAAGClZ9g/AVNjQgAAAABgpWfYPwAAAzMAiAAAAANDZWxsQWRkcmVzcwAaAAAAEFJvdwAAAAAAEENvbHVtbgADAAAAAANDb2xvcgBVAAAAEEEA/wAAABBSAKYAAAAQRwCmAAAAEEIApgAAAAFTY0EAAAAAAAAA8D8BU2NSAAAAAGClZ9g/AVNjRwAAAABgpWfYPwFTY0IAAAAAYKVn2D8AAAM0AIgAAAADQ2VsbEFkZHJlc3MAGgAAABBSb3cAAAAAABBDb2x1bW4ABAAAAAADQ29sb3IAVQAAABBBAP8AAAAQUgCmAAAAEEcApgAAABBCAKYAAAABU2NBAAAAAAAAAPA/AVNjUgAAAABgpWfYPwFTY0cAAAAAYKVn2D8BU2NCAAAAAGClZ9g/AAADNQCIAAAAA0NlbGxBZGRyZXNzABoAAAAQUm93AAAAAAAQQ29sdW1uAAUAAAAAA0NvbG9yAFUAAAAQQQD/AAAAEFIApgAAABBHAKYAAAAQQgCmAAAAAVNjQQAAAAAAAADwPwFTY1IAAAAAYKVn2D8BU2NHAAAAAGClZ9g/AVNjQgAAAABgpWfYPwAAAzYAiAAAAANDZWxsQWRkcmVzcwAaAAAAEFJvdwABAAAAEENvbHVtbgAAAAAAAANDb2xvcgBVAAAAEEEA/wAAABBSAN0AAAAQRwDdAAAAEEIA3QAAAAFTY0EAAAAAAAAA8D8BU2NSAAAAAIBEI+c/AVNjRwAAAACARCPnPwFTY0IAAAAAgEQj5z8AAAM3AIgAAAADQ2VsbEFkZHJlc3MAGgAAABBSb3cAAQAAABBDb2x1bW4AAQAAAAADQ29sb3IAVQAAABBBAAAAAAAQUgD/AAAAEEcA/wAAABBCAP8AAAABU2NBAAAAAAAAAAAAAVNjUgAAAAAAAADwPwFTY0cAAAAAAAAA8D8BU2NCAAAAAAAAAPA/AAADOACIAAAAA0NlbGxBZGRyZXNzABoAAAAQUm93AAEAAAAQQ29sdW1uAAIAAAAAA0NvbG9yAFUAAAAQQQAAAAAAEFIA/wAAABBHAP8AAAAQQgD/AAAAAVNjQQAAAAAAAAAAAAFTY1IAAAAAAAAA8D8BU2NHAAAAAAAAAPA/AVNjQgAAAAAAAADwPwAAAzkAiAAAAANDZWxsQWRkcmVzcwAaAAAAEFJvdwABAAAAEENvbHVtbgADAAAAAANDb2xvcgBVAAAAEEEAAAAAABBSAP8AAAAQRwD/AAAAEEIA/wAAAAFTY0EAAAAAAAAAAAABU2NSAAAAAAAAAPA/AVNjRwAAAAAAAADwPwFTY0IAAAAAAAAA8D8AAAMxMACIAAAAA0NlbGxBZGRyZXNzABoAAAAQUm93AAEAAAAQQ29sdW1uAAQAAAAAA0NvbG9yAFUAAAAQQQAAAAAAEFIA/wAAABBHAP8AAAAQQgD/AAAAAVNjQQAAAAAAAAAAAAFTY1IAAAAAAAAA8D8BU2NHAAAAAAAAAPA/AVNjQgAAAAAAAADwPwAAAzExAIgAAAADQ2VsbEFkZHJlc3MAGgAAABBSb3cAAQAAABBDb2x1bW4ABQAAAAADQ29sb3IAVQAAABBBAAAAAAAQUgD/AAAAEEcA/wAAABBCAP8AAAABU2NBAAAAAAAAAAAAAVNjUgAAAAAAAADwPwFTY0cAAAAAAAAA8D8BU2NCAAAAAAAAAPA/AAADMTIAiAAAAANDZWxsQWRkcmVzcwAaAAAAEFJvdwAAAAAAEENvbHVtbgAGAAAAAANDb2xvcgBVAAAAEEEA/wAAABBSAKYAAAAQRwCmAAAAEEIApgAAAAFTY0EAAAAAAAAA8D8BU2NSAAAAAGClZ9g/AVNjRwAAAABgpWfYPwFTY0IAAAAAYKVn2D8AAAMxMwCIAAAAA0NlbGxBZGRyZXNzABoAAAAQUm93AAEAAAAQQ29sdW1uAAYAAAAAA0NvbG9yAFUAAAAQQQAAAAAAEFIA/wAAABBHAP8AAAAQQgD/AAAAAVNjQQAAAAAAAAAAAAFTY1IAAAAAAAAA8D8BU2NHAAAAAAAAAPA/AVNjQgAAAAAAAADwPwAAAAACTmFtZQAbAAAARXhjZWxDb2xvck1vZGVEYXRhUHJvcGVydHkAEFZlcnNpb24AAQAAAAlMYXN0V3JpdGUA87Nn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TAAAABTMAAAD/////ygwdAwAAAAAAAAAA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DAAAAMSUAAUhlaWdodAAAAACgIp4qQAFXaWR0aAAAAAAgeGIxQAFUb3AAAAAAAMPUY0ABTGVmdAAAAADgeyWE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FgNVHA7F0JAvpXM//ARlL0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IDABWuEQAFZAAAAAPshjWRAAAhIYXNMZWFkZXJMaW5lAAAISXNDZW50ZXJBdXRvbWF0aWNBZGp1c3RlZAAACElzVXNlclBvc2l0aW9uAAACU2VwYXJhdG9yAAIAAAAKAAJUZXh0AAMAAAAxJQAIUmVxdWlyZVJlbGF0aXZlUG9zaXRpb25VcGdyYWRlAAAISXNHZW9tZXRyeU91dE9mQm91bmRzAAAISXNMZWFkZXJMaW5lSW5BdXRvTW9kZQABCERlbGV0ZWQAAAAACExhYmVsc1Zpc2libGUAAQhBdXRvbWF0aWNMYWJlbEJhY2tncm91bmRzRW5hYmxlZAABAAAIRGlzYWJsZUF1dG9tYXRpY0RlYWN0aXZhdGlvbgAAAAJOYW1lAAsAAABEYXRhTGFiZWxzABBWZXJzaW9uAAkAAAAJTGFzdFdyaXRlAK3Jl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VAAAAAU+AAAA/////5wASw8AAAAAAAAAAHVtblN1bVBvc2l0aW9uAAwAAABEZWZhdWx0RG9jawAIQWRkUHJlZml4U3BhY2UAAAhBZGRQb3N0Zml4U3BhY2UAAAhEZWxldGVkAAEISXNOZXcAAQFGb250U2l6ZQAAAAAAAAAkQAAAAk5hbWUACQAAAE92ZXJsYXlzABBWZXJzaW9uAAcAAAAJTGFzdFdyaXRlAEGzZz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UAAAAFOwAAAP/////iAwUMAAAAAAAAAAB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TGFiZWxzVmlzaWJsZQABCEF1dG9tYXRpY0xhYmVsQmFja2dyb3VuZHNFbmFibGVkAAEAA1NlY29uZGFyeQAmAgAABERhdGFMYWJlbHMABQAA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TGFiZWxzVmlzaWJsZQAACEF1dG9tYXRpY0xhYmVsQmFja2dyb3VuZHNFbmFibGVkAAEAAAhEaXNhYmxlQXV0b21hdGljRGVhY3RpdmF0aW9uAAAAAk5hbWUACwAAAERhdGFMYWJlbHMAEFZlcnNpb24ACAAAAAlMYXN0V3JpdGUArMmU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AAAABSoAAAD/////2AAPDwAAAAAAAAAAYWNlV2l0aGluAAAAAAAAAAAAAVBvc2l0aW9uaW5nSGVpZ2h0AAAAAGDfCydAAAJDb2x1bW5TdW1Qb3NpdGlvbgAMAAAARGVmYXVsdERvY2sACERlbGV0ZWQAAQNOdW1iZXJGb3JtYXQAHwAAAAVfaWQAEAAAAAQAAAAAAAAAAAAAAAAAAAAAAAhJc05ldwABAUZvbnRTaXplAAAAAAAAACRAAAACTmFtZQAJAAAAT3ZlcmxheXMAEFZlcnNpb24ABgAAAAlMYXN0V3JpdGUAOLNn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VwAAAAUfAAAA/////+IDBQwAAAAAAAAAAG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MYWJlbHNWaXNpYmxlAAEIQXV0b21hdGljTGFiZWxCYWNrZ3JvdW5kc0VuYWJsZWQAAQADU2Vjb25kYXJ5ACYCAAAERGF0YUxhYmVscwAF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MYWJlbHNWaXNpYmxlAAAIQXV0b21hdGljTGFiZWxCYWNrZ3JvdW5kc0VuYWJsZWQAAQAACERpc2FibGVBdXRvbWF0aWNEZWFjdGl2YXRpb24AAAACTmFtZQALAAAARGF0YUxhYmVscwAQVmVyc2lvbgAHAAAACUxhc3RXcml0ZQCkyZQ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gAAAAFTgAAAP/////YAA8PAAAAAAAAAABhY2VXaXRoaW4AAAAAAAAAAAABUG9zaXRpb25pbmdIZWlnaHQAAAAAYN8LJ0AAAkNvbHVtblN1bVBvc2l0aW9uAAwAAABEZWZhdWx0RG9jawAIRGVsZXRlZAABA051bWJlckZvcm1hdAAfAAAABV9pZAAQAAAABAAAAAAAAAAAAAAAAAAAAAAACElzTmV3AAEBRm9udFNpemUAAAAAAAAAJEAAAAJOYW1lAAkAAABPdmVybGF5cwAQVmVyc2lvbgAFAAAACUxhc3RXcml0ZQA4s2c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ZAAAABRAAAAD/////4gMFDAAAAAAAAAAA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xhYmVsc1Zpc2libGUAAQhBdXRvbWF0aWNMYWJlbEJhY2tncm91bmRzRW5hYmxlZAABAANTZWNvbmRhcnkAJgIAAAREYXRhTGFiZWxzAAU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xhYmVsc1Zpc2libGUAAAhBdXRvbWF0aWNMYWJlbEJhY2tncm91bmRzRW5hYmxlZAABAAAIRGlzYWJsZUF1dG9tYXRpY0RlYWN0aXZhdGlvbgAAAAJOYW1lAAsAAABEYXRhTGFiZWxzABBWZXJzaW9uAAYAAAAJTGFzdFdyaXRlAKPJl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74329094261"/>
  <p:tag name="EMPOWERCHARTSPROPERTIES_B_LENGTH" val="368640"/>
</p:tagLst>
</file>

<file path=ppt/tags/tag69.xml><?xml version="1.0" encoding="utf-8"?>
<p:tagLst xmlns:a="http://schemas.openxmlformats.org/drawingml/2006/main" xmlns:r="http://schemas.openxmlformats.org/officeDocument/2006/relationships" xmlns:p="http://schemas.openxmlformats.org/presentationml/2006/main">
  <p:tag name="MIO_SHAPETYPES_TEXTELEMENT" val="MIO_FOOTNOTE"/>
  <p:tag name="MIO_GUID" val="a157cc83-2741-44ad-8ec9-61ce4e2c7685"/>
  <p:tag name="MIO_EK" val="652"/>
  <p:tag name="MIO_EKGUID" val="8b0b4110-6ccd-4223-a904-7c58940fb73f"/>
  <p:tag name="MIO_UPDATE" val="True"/>
  <p:tag name="MIO_VERSION" val="08.02.2021 13:37:34"/>
  <p:tag name="MIO_DBID" val="F71ED0A2-672B-4E8B-BF42-C978919BF8E2"/>
  <p:tag name="MIO_LASTDOWNLOADED" val="12.04.2023 15:50:42.919"/>
  <p:tag name="MIO_OBJECTNAME" val="Fußnote_Quelle"/>
  <p:tag name="MIO_LASTEDITORNAME" val="Daniela Heis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9hXwCDzIeDN3lvjgMGqRA"/>
</p:tagLst>
</file>

<file path=ppt/tags/tag7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qgsAAAAAAAAAAAAAIAD///////////////8AAAD///////////////8DAAAAAgD///////8DAAAAAgD///////8DAAAAAwD///////8DAAAAAwD///////8DAAAAAwD///////////////////////////////////////////////////////////////////////////////////////////////////////////////////////////////////////////////////////////////////////////////////////////////////////////////////////////////////////////////////////////////////////////////////////////////////////////////////////////////////////////////////////////////////////////////////////////////////////////////////////////////////////////////8BACAA////////////////AAAO////////AwAAAAQA////////////////////////////////////////////////////////////////////////////////////////////////////////////////////////////////////////////////////////////////////////////////////////////////////////////////////////////////////////////////////////////////////////////////////////////////////////////////////////////////////////////////////////////////////////////////////////////////////////////////////////////////////////////////////////////////////////////////////////////////////////////////////////AgACAP///////wUAAAACABAAC+X5cDzlN+dGifBKK2NzzVEEAAAAAAADAAAAAAADAAAAAwADAAAAAAADAAAAAwADAAUA////////BQAAAAMAEAAL9bqDdH7cwkWJ/MjiAoGK/QQAAAABAAMAAAACAAMAAAAEAAMAAAACAAMAAAAEAAMAAAAAAAMAAAAEAAMAAAAAAAMAAAAEAAMAAAAAAAMAAAAEAAQABQD///////8FAAAABAAQAAvz0bLjPC7SQ6TR6VaHjwRQBAAAAAIAAwAAAAMAAwAAAAEAAwAAAAMA////////AwAAAAM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5flwPOU350aJ8EorY3PNUQREYXRhAAUAAAAAAk5hbWUADQAAAExpbmtEYXRhTGlzdAAQVmVyc2lvbgABAAAACUxhc3RXcml0ZQBxwKE1lwEAAAABAP////9hAGEAAAAFX2lkABAAAAAE9bqDdH7cwkWJ/MjiAoGK/QREYXRhAAUAAAAAAk5hbWUADQAAAExpbmtEYXRhTGlzdAAQVmVyc2lvbgAAAAAACUxhc3RXcml0ZQBxwKE1lwEAAAACAP////9wAHAAAAAFX2lkABAAAAAE89Gy4zwu0kOk0elWh48EUANEYXRhABYAAAACUGVyc29uYWxJZAABAAAAAAACTmFtZQALAAAAUGVyc29uYWxJZAAQVmVyc2lvbgAAAAAACUxhc3RXcml0ZQCRwKE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UAAAADAP///////////////////////////////////////////////////////////////////////////////////////////////////////////////////////////////////////////////////////////////////////////////////////////////////////////////////////////////////////////////////////////////////////////////////////////////////////////////////////////////////////////////////////////////////////////////////////////////////////////////////////////////////////////////wEAIAH///////////////8AAA7///////8FAAAABAD///////////////////////////////////////////////////////////////////////////////////////////////////////////////////////////////////////////////////////////////////////////////////////////////////////////////////////////////////////////////////////////////////////////////////////////////////////////////////////////////////////////////////////////////////////////////////////////////////////////////////////////////////////////////////////////////////////////////////////////////////////////////////////8CAAIBAwAAAAIA////////DgAGTGlua0RhdGFMaXN0XzEEAAAAAAAFAAAAAwAFAAAABAAFAAAAAwD///////8DAAUBAwAAAAMA////////DgAGTGlua0RhdGFMaXN0XzAEAAAAAQAFAAAAAAAFAAAAAg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82825309097"/>
  <p:tag name="EMPOWERCHARTSPROPERTIES_B_LENGTH" val="24576"/>
  <p:tag name="DOWN_MIGRATION_INITIAL_LAYOUT_REQUIRED" val="9.2.99"/>
  <p:tag name="RUNTIME_ID" val="aa757304-a160-40cd-98d7-51f217a5e0fd"/>
</p:tagLst>
</file>

<file path=ppt/tags/tag71.xml><?xml version="1.0" encoding="utf-8"?>
<p:tagLst xmlns:a="http://schemas.openxmlformats.org/drawingml/2006/main" xmlns:r="http://schemas.openxmlformats.org/officeDocument/2006/relationships" xmlns:p="http://schemas.openxmlformats.org/presentationml/2006/main">
  <p:tag name="MIO_GUID" val="364de5f9-7294-4197-8dd5-fa4e50037d3c"/>
  <p:tag name="MIO_EKGUID" val="6942188f-3d13-4455-b352-24a2d9666838"/>
  <p:tag name="MIO_UPDATE" val="True"/>
  <p:tag name="MIO_VERSION" val="03.11.2020 10:14:14"/>
  <p:tag name="MIO_DBID" val="F71ED0A2-672B-4E8B-BF42-C978919BF8E2"/>
  <p:tag name="MIO_LASTDOWNLOADED" val="03.11.2020 20:29:04.748"/>
  <p:tag name="MIO_OBJECTNAME" val="Master_Neu"/>
  <p:tag name="MIO_LASTEDITORNAME" val="Janine Eulert"/>
  <p:tag name="SLIDE_ID_ON_LAST_LINK_INDEX_UPDATE" val="283"/>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 name="EMPOWER_OVERLAY_IGNORE" val="Yes please."/>
  <p:tag name="MIO_SELECTION_PROXY" val="0000011b-000a-0000-517e-96ff00000000"/>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uS77tk6Sr4di2oHQ2xy7Fg"/>
</p:tagLst>
</file>

<file path=ppt/tags/tag7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G/9GAHKWFBiIAF7NV+vPYEAAAAAAADAAAABAADAAAAAwADAAEA////////BQAAAAMAEAALQDtH/x1Jm0Ot9ZsBUIyPgQQAAAABAAMAAAACAAMAAAABAAQAAQD///////8FAAAABAAQAAtA+39XzTBqQYOZtZS6+yoc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4b/0YAcpYUGIgAXs1X689gREYXRhAAUAAAAAAk5hbWUADQAAAExpbmtEYXRhTGlzdAAQVmVyc2lvbgAAAAAACUxhc3RXcml0ZQBjN72GlgEAAAABAP////9hAGEAAAAFX2lkABAAAAAEQDtH/x1Jm0Ot9ZsBUIyPgQREYXRhAAUAAAAAAk5hbWUADQAAAExpbmtEYXRhTGlzdAAQVmVyc2lvbgABAAAACUxhc3RXcml0ZQBoN72GlgEAAAACAP////9wAHAAAAAFX2lkABAAAAAEQPt/V80wakGDmbWUuvsqHANEYXRhABYAAAACUGVyc29uYWxJZAABAAAAAAACTmFtZQALAAAAUGVyc29uYWxJZAAQVmVyc2lvbgAAAAAACUxhc3RXcml0ZQCFN72G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16140696640244"/>
  <p:tag name="EMPOWERCHARTSPROPERTIES_B_LENGTH" val="24576"/>
  <p:tag name="DOWN_MIGRATION_INITIAL_LAYOUT_REQUIRED" val="9.2.99"/>
  <p:tag name="RUNTIME_ID" val="6476778f-4596-4f2f-8780-cc33663b1a86"/>
</p:tagLst>
</file>

<file path=ppt/tags/tag7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x8VFCs/wHlPorby6yCSEVwEAAAAAAADAAAAAAADAAAAAwADAAAAAAD///////8DAAEA////////BQAAAAMAEAALyQ07xkrYuEaFWuyICgXYUQQAAAABAAMAAAACAAMAAAAEAAQAAQD///////8FAAAABAAQAAtdpP7Tgv6kQ4hvwSTZbGrK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xUUKz/AeU+itvLrIJIRXAREYXRhAAUAAAAAAk5hbWUADQAAAExpbmtEYXRhTGlzdAAQVmVyc2lvbgAAAAAACUxhc3RXcml0ZQDVN72GlgEAAAABAP////9hAGEAAAAFX2lkABAAAAAEyQ07xkrYuEaFWuyICgXYUQREYXRhAAUAAAAAAk5hbWUADQAAAExpbmtEYXRhTGlzdAAQVmVyc2lvbgABAAAACUxhc3RXcml0ZQDYN72GlgEAAAACAP////9wAHAAAAAFX2lkABAAAAAEXaT+04L+pEOIb8Ek2WxqygNEYXRhABYAAAACUGVyc29uYWxJZAABAAAAAAACTmFtZQALAAAAUGVyc29uYWxJZAAQVmVyc2lvbgAAAAAACUxhc3RXcml0ZQD1N72G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16140697836157"/>
  <p:tag name="EMPOWERCHARTSPROPERTIES_B_LENGTH" val="24576"/>
  <p:tag name="DOWN_MIGRATION_INITIAL_LAYOUT_REQUIRED" val="9.2.99"/>
  <p:tag name="RUNTIME_ID" val="58514b21-bb3b-48b7-8a01-d18078d769c4"/>
</p:tagLst>
</file>

<file path=ppt/tags/tag7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MA////////////////////////////////////////////////////////////////////////////////////////////////////////////////////////////////////////////////////////////////////////////////////////////////////////////////////////////////////////////////////////////////////////////////////////////////////////////////////////////////////////////////////////////////////////////////////////////////////////////////////////////////////////////////////////////////////////////////////////////////////////////////////////AgACAP///////wUAAAACABAAC7Bo1RgZi/pAojC603BE3BwEAAAAAAADAAAAAAADAAAABAADAAAAAAADAAAABAADAAEA////////BQAAAAMAEAALKFUK8DrRVUKLpGZvEn2vFwQAAAABAAMAAAAEAAMAAAABAAQAAgD///////8FAAAABAAQAAuKzkGH6A60RoI8NU05VUP+BAAAAAIAAwAAAAI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GjVGBmL+kCiMLrTcETcHAREYXRhAAUAAAAAAk5hbWUADQAAAExpbmtEYXRhTGlzdAAQVmVyc2lvbgAAAAAACUxhc3RXcml0ZQC2Ob2GlgEAAAABAP////9hAGEAAAAFX2lkABAAAAAEKFUK8DrRVUKLpGZvEn2vFwREYXRhAAUAAAAAAk5hbWUADQAAAExpbmtEYXRhTGlzdAAQVmVyc2lvbgABAAAACUxhc3RXcml0ZQC3Ob2GlgEAAAACAP////9wAHAAAAAFX2lkABAAAAAEis5Bh+gOtEaCPDVNOVVD/gNEYXRhABYAAAACUGVyc29uYWxJZAABAAAAAAACTmFtZQALAAAAUGVyc29uYWxJZAAQVmVyc2lvbgAAAAAACUxhc3RXcml0ZQDOOb2G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16140702474931"/>
  <p:tag name="EMPOWERCHARTSPROPERTIES_B_LENGTH" val="24576"/>
  <p:tag name="DOWN_MIGRATION_INITIAL_LAYOUT_REQUIRED" val="9.2.99"/>
  <p:tag name="RUNTIME_ID" val="d16fe02a-d7ac-4650-aecf-f44c70cf12b9"/>
</p:tagLst>
</file>

<file path=ppt/tags/tag78.xml><?xml version="1.0" encoding="utf-8"?>
<p:tagLst xmlns:a="http://schemas.openxmlformats.org/drawingml/2006/main" xmlns:r="http://schemas.openxmlformats.org/officeDocument/2006/relationships" xmlns:p="http://schemas.openxmlformats.org/presentationml/2006/main">
  <p:tag name="UNIQUEID" val="e58f45ad-a14b-4ce4-86e0-de4e2ce78589"/>
  <p:tag name="COLUMNSUMS - VISIBLE" val="False"/>
  <p:tag name="DATALABELS - BACKGROUND" val="True"/>
  <p:tag name="DATALABELS - VALUE" val="True"/>
  <p:tag name="METADATA - EXCELNUMBERFORMAT" val="General"/>
  <p:tag name="MIO_CHART_TEMPLATE_TYPE" val="BCF9DEBA-2C0F-40E3-8BE4-6647FACBE9D3"/>
  <p:tag name="MIO_SKIP_CDCHECK" val="true"/>
  <p:tag name="NA_EXTENSION_LIST_ADDED" val="yes."/>
  <p:tag name="EMPOWER DO NOT TRANSLATE" val="true"/>
  <p:tag name="METADATA - EXACTFONTSIZE" val="10"/>
  <p:tag name="DOWN_MIGRATION_INITIAL_LAYOUT_REQUIRED" val="9.2.99"/>
  <p:tag name="LAST_TOUCHED_CHARTS_VERSION" val="9.5"/>
  <p:tag name=" - MIN_VERSION_NEEDED" val="8.10.200.0"/>
  <p:tag name="RUNTIME_ID" val="2a822d89-0c61-4b6f-a7f7-8fcb50a24485"/>
  <p:tag name="ISLINKED" val="FALSE"/>
  <p:tag name="EMPOWERCHARTSPROPERTIES_B_0" val="AAAAAAH//////////wEAAAAAAAAAAAAAACoqIFRoaXMgaXMgYSBMaXRlREIgZmlsZSAqKgd+AisBAABhAQ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OAAAAAAAAAANAAAACQAAAF9pZD0kLl9pZAEDAAAAAAADAAAAAQBJAAAACwAAAE5hbWU9JC5OYW1lAAQAAAAAAAQAAAABAEQAAAARAAAAVmVyc2lvbj0kLlZlcnNpb24ABQAAAAAABQAAAAEABQAAACMAAABDb21iaUluZGV4PSQuTmFtZSArICdfJyArICQuVmVyc2lvbgFOAAAAAABOAAAAAQBPAAAAAAAAAAD///////8AAAAAAAD/////AAAAAAD///////8AAAAAAAD/////AAAAAAD///////8AAAAAAAD/////AAAAAAD///////8AAAAAAAD/////AAAAAAD///////8AAAAAAAD/////AAAAAAD///////8AAAAAAAD/////AAAAAAD///////8AAAAAAAD/////AAAAAAD///////8AAAAAAAD/////AAAAAAD///////8AAAAAAAD/////AAAAAAD///////8AAAAAAAD/////AAAAAAD///////8AAAAAAAD/////AAAAAAD///////8AAA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sGBgEBAQEBAQEBAQEBAV4AAAAAAAAAAwAAAAP//////////zUARgAAAAAAAAAAAAAAIAD///////////////8AAAD///////////////8DAAAAAgD///////8DAAAAAgD///////8DAAAAEAD///////8DAAAAGAD///////8DAAAAHAD///////8DAAAAHwD///////8DAAAAHwD///////////////////////////////////////////////////////////////////////////////////////////////////////////////////////////////////////////////////////////////////////////////////////////////////////////////////////////////////////////////////////////////////////////////////////////////////////////////////////////////////////////////////////////////////////////////////////////////////////////////8BACAA////////////////AAAO////////SQAAAAQA////////////////////////////////////////////////////////////////////////////////////////////////////////////////////////////////////////////////////////////////////////////////////////////////////////////////////////////////////////////////////////////////////////////////////////////////////////////////////////////////////////////////////////////////////////////////////////////////////////////////////////////////////////////////////////////////////////////////////////////////////////////////////////AgACAP///////04AAAACABAACwxlqQFdZa5Hs/eYT1vjZqoGAAAAAAADAAAAAAADAAAAAwADAAAAAAADAAAABQADAAEA////////TgAAAAMAEAALB8jxBrNOiEa8dEyEbohPUgYAAAABAAMAAAACAAMAAAAEAAQAAQD///////9OAAAABAAQAAvEnpANuHC5QZ+3D2eeDq6TBgAAAAIAAwAAAAMAAwAAAAUABQACAP///////04AAAAFABAAC9CngxW1QDpLix1EJtXnb6kGAAAAAwADAAAABAADAAAABgADAAAAAgADAAAABgAGAAIA////////TgAAAAYAEAALlVggFiJOUEu38KbbfiZV1AYAAAAEAAMAAAAFAAMAAAAHAAMAAAAFAAMAAAAKAAcAAQD///////9OAAAABwAQAAsR4BsXP0IcTokRQ94PuAZQBgAAAAUAAwAAAAYAAwAAAAgACAABAP///////04AAAAIABAACxvVkRk9wUxGjJfmey0qU4AGAAAABgADAAAABwADAAAACQAJAAEA////////TgAAAAkAEAALPUvSGrmtiEiMcnB1jfBm4wYAAAAHAAMAAAAIAAMAAAAKAAoAAgD///////9OAAAACgAQAAuA2d4cgXbhRr4ZwMp/8Ji4BgAAAAgAAwAAAAkAAwAAAAsAAwAAAAYAAwAAAAsACwACAP///////04AAAALABAAC4sjvSHpSHRPlXoC7T2zCzUKAAAAAAADAAAACgADAAAADAADAAAACgADAAAADQAMAAEA////////TgAAAAwAEAALgJoiJoWKVEaO9O6eYZdCZgoAAAABAAMAAAALAAMAAAANAA0AAgD///////9OAAAADQAQAAtH2/AmvCBeQrt6aUkk9ZsFCgAAAAIAAwAAAAwAAwAAAA4AAwAAAAsAAwAAABAADgABAP///////04AAAAOABAAC+4GGyjTHFtBjThrFQxLN48KAAAAAwADAAAADQADAAAADwAPAAEA////////TgAAAA8AEAALaHX1KdU4eka4KOhdwYmNLgoAAAAEAAMAAAAOAAMAAAAQABAAAwD///////9OAAAAEAAQAAuun0Q0z6ESR5e4BiB7qW4fCgAAAAUAAwAAAA8AAwAAABEAAwAAAA0AAwAAABEAAwAAAAAAAwAAABEAEQADAP///////04AAAARABAAC0obHzij7Y1Cl8XidDHWDycKAAAABgADAAAAEAADAAAAEgADAAAAEAADAAAAFQADAAAAEAADAAAAFQASAAEA////////TgAAABIAEAALdx1pQmrd602VpZvYlq7fbg0AAAAAAAMAAAARAAMAAAATABMAAQD///////9OAAAAEwAQAAsVjP1GbHWkSbDkK51IkqmgDQAAAAEAAwAAABIAAwAAABQAFAABAP///////04AAAAUABAAC7feZEi57aZBtz2UblNtEzMNAAAAAgADAAAAEwADAAAAFQAVAAMA////////TgAAABUAEAALJTcUTq9YDE6RcOd8FaV1Ng0AAAADAAMAAAAUAAMAAAAWAAMAAAARAAMAAAAWAAMAAAARAAMAAAAYABYAAgD///////9OAAAAFgAQAAuNfatU4BHJT5ekJpqHuSJ/DQAAAAQAAwAAABUAAwAAABcAAwAAABUAAwAAABcAFwACAP///////04AAAAXABAACw3D21maCpNPkZChc3jvtV8OAAAAAAADAAAAFgADAAAAGAADAAAAFgADAAAAGAAYAAQA////////TgAAABgAEAAL5OBxXF3D8kWEJNj6zKLveA4AAAABAAMAAAAXAAMAAAAZAAMAAAAXAAMAAAAaAAMAAAAVAAMAAAAcAAMAAAAAAAMAAAAcABkAAQD///////9OAAAAGQAQAAsEcztnqpITQK4ARKjKOeSqDgAAAAIAAwAAABgAAwAAABoAGgACAP///////04AAAAaABAAC6IgdXCcz3pDo3HLNDawTOgOAAAAAwADAAAAGQADAAAAGwADAAAAGAADAAAAHAAbAAEA////////TgAAABsAEAAL5uRJdE7JHk6ZJmSC6WkpkA4AAAAEAAMAAAAaAAMAAAAcABwABQD///////9OAAAAHAAQAAubVlh9xxKJQIzpSavOYeifDgAAAAUAAwAAABsAAwAAAB0AAwAAABoAAwAAAB8AAwAAABgAAwAAAB8AAwAAABgAAwAAAB8AAwAAAAAAAwAAAB8AHQABAP///////04AAAAdABAAC6XGxX9SiB9LmNN6OfkClsUaAAAAAAADAAAAHAADAAAAHgAeAAEA////////TgAAAB4AEAAL6pqVgdn9xk60ohIUuFnKehoAAAABAAMAAAAdAAMAAAAfAB8ABwD///////9OAAAAHwAQAAuGmzuIog6xSbnZu8XhZQMrGgAAAAIAAwAAAB4AAwAAACAAAwAAABwAAwAAACEAAwAAABwAAwAAACEAAwAAABwAAwAAACQAAwAAABwASQAAAAQAAwAAAAAA////////AwAAAAAA////////IAABAP///////04AAAAgABAAC4YOaYpIIvZEv/llCXAu3WgaAAAAAwADAAAAHwADAAAAIQAhAAMA////////TgAAACEAEAAL8Kt0pH+kS0GpmzjnQdPDZBoAAAAEAAMAAAAgAAMAAAAiAAMAAAAfAAMAAAAkAAMAAAAfAAMAAAAkACIAAQD///////9OAAAAIgAQAAudnW+nuLOtSa21JQ3j19xLGgAAAAUAAwAAACEAAwAAACMAIwABAP///////04AAAAjABAAC8dsU6lTKm5AitmJ6SXw1lsaAAAABgADAAAAIgADAAAAJAAkAAQA////////TgAAACQAEAALHyrOq3hKTEWXpiwp6ufcFigAAAAAAAMAAAAjAAMAAAAlAAMAAAAhAAMAAAApAAMAAAAhAAMAAAApAAMAAAAfAEkAAAAEACUAAQD///////9OAAAAJQAQAAuXDxWtb0ldQ4bt1l9fQWS6KAAAAAEAAwAAACQAAwAAACYAJgABAP///////04AAAAmABAAC6FylK6mxT9Gq+Z+KXhr6mooAAAAAgADAAAAJQADAAAAJwAnAAEA////////TgAAACcAEAALui4nsOQsWkCI5rELnkvUvSgAAAADAAMAAAAmAAMAAAAoACgAAQD///////9OAAAAKAAQAAuNyam1C5DAT7tXOmbb2vEwKAAAAAQAAwAAACcAAwAAACkAKQADAP///////04AAAApABAAC5K1/Li4i0lAkEX8ZS3DvE8oAAAABQADAAAAKAADAAAAKgADAAAAJAADAAAALgADAAAAJAADAAAAMwAqAAEA////////TgAAACoAEAALeMUsuZ53lUm62oGqxsV9EigAAAAGAAMAAAApAAMAAAArACsAAQD///////9OAAAAKwAQAAsMeP65HO+5RLjKlDAjc7lAKAAAAAcAAwAAACoAAwAAACwALAABAP///////04AAAAsABAAC7vVqbsdB/ZPh5kcKauKY5goAAAACAADAAAAKwADAAAALQAtAAEA////////TgAAAC0AEAALDyXhyu1QCU2DQoxAhKZ7rT0AAAAAAAMAAAAsAAMAAAAuAC4AAgD///////9OAAAALgAQAAvRKrXOY5UcSL7CPcOc7GRFPQAAAAEAAwAAAC0AAwAAAC8AAwAAACkAAwAAADIALwABAP///////04AAAAvABAAC6ryNtK4hLBAsU7xMSkCQl09AAAAAgADAAAALgADAAAAMAAwAAEA////////TgAAADAAEAALuo8O1S1cI0evkyVfslPPHT0AAAADAAMAAAAvAAMAAAAxADEAAQD///////9OAAAAMQAQAAt/OjTXMm32R4mv+E7+fza5PQAAAAQAAwAAADAAAwAAADIAMgACAP///////08AAAAAABAAC7TgMdhEk1dLnLk5pTrR95E9AAAABQADAAAAMQADAAAAMwADAAAALgADAAAAMwAzAAMA////////TwAAAAEAEAALplxC3LvZOkOOL4vKBMd940UAAAAAAAMAAAAyAAMAAAA0AAMAAAAyAAMAAAA0AAMAAAApAEkAAAAEADQAAgD///////9PAAAAAgAQAAtwA0zef1IXTrhcBIwlO2BKPQAAAAYAAwAAADMASQAAAAAAAwAAADMASQAAAAEAAAAAAAAAAAAAAAAAAAAAAAAAAAAAAAAAAAAAAAAAAAAAAAAAAAAAAAAAAAAAAAAAAAAAAAAAAAAAAAAAAAAAAAAAAAAAAAQAAAAD//////////8yADcAAAAAAAAAAAAAACAB////////////////AAAA////////////////BAAAABEA////////BAAAABEA////////BAAAABkA////////BAAAABkA////////BAAAACcA////////BAAAAA8A////////BAAAAA8A////////BAAAAA8A////////BAAAAA8A////////BAAAAA8A////////BAAAAA8A////////////////////////////////////////////////////////////////////////////////////////////////////////////////////////////////////////////////////////////////////////////////////////////////////////////////////////////////////////////////////////////////////////////////////////////////////////////////////////////////////////////////AQAgAf///////////////wAADv///////wQAAAAaAP///////////////////////////////////////////////////////////////////////////////////////////////////////////////////////////////////////////////////////////////////////////////////////////////////////////////////////////////////////////////////////////////////////////////////////////////////////////////////////////////////////////////////////////////////////////////////////////////////////////////////////////////////////////////////////////////////////////////////////////////////////////////////////wIAAQEFAAAAAgD///////8UAAZHZW5lcmFsRXhjZWxTZXR0aW5ncwYAAAAAAEQAAAAEAAQAAAAsAAMAAQEFAAAAAwD///////8MAAZTZXJpZXNMYWJlbHMGAAAAAQAEAAAAKgAEAAAAHgAEAAEBBQAAAAQA////////GgAGQXV0b21hdGljQnJlYWtTZXR0aW5nc0RhdGEGAAAAAgAEAAAAMQAEAAAAGQAFAAIBBQAAAAUA////////CwAGTGVhZGVyTGluZXMGAAAAAwAEAAAAHwAEAAAADAAEAAAAHwAEAAAADAAGAAMBBQAAAAYA////////CAAGT3ZlcmxheXMGAAAABAAEAAAAJQAEAAAAHQBEAAAAAQAEAAAAHQAEAAAADAAEAAAAHQAHAAEBBQAAAAcA////////DQAGTnVtYmVyRm9ybWF0cwYAAAAFAEQAAAABAAQAAAAlAAgAAQEFAAAACAD///////8MAAZMaW5rRGF0YUxpc3QGAAAABgAEAAAAIAAEAAAAGwAJAAMBBQAAAAkA////////DgAGQ29tbW9uU2V0dGluZ3MGAAAABwAEAAAADwAEAAAAGAAEAAAADwAEAAAAIgAEAAAADwAEAAAADAAKAAUBBQAAAAoA////////JwAGUG9pbnRBbmRTZXJpZXNBZGRpdGlvblN0eWxlc0RlZmluaXRpb25zBgAAAAgARAAAAAMABAAAAAsARAAAAAMABAAAAA0ARAAAAAMABAAAACsABAAAACYA////////BAAAACYA////////CwABAQUAAAALAP///////ycABlBvaW50QW5kU2VyaWVzQWRkaXRpb25TdHlsZXNEZWZpbml0aW9ucwoAAAAAAAQAAAAKAAQAAAANAAwAAwEFAAAADAD///////8KAAZMZWdlbmREYXRhCgAAAAEABAAAAAUABAAAACAABAAAAAUABAAAABsABAAAAAkABAAAAAYADQACAQUAAAANAP///////yQABlBvaW50QW5kU2VyaWVzTWFya2VyU3R5bGVEZWZpbml0aW9ucwoAAAACAAQAAAALAAQAAAAVAAQAAAAKAAQAAAAVAA4AAQEFAAAADgD///////8aAAZFeGNlbENvbG9yTW9kZURhdGFQcm9wZXJ0eQoAAAADAAQAAAApAAQAAAASAA8ACwEFAAAADwD///////8SAAZDb2x1bW5TdW1zU2V0dGluZ3MKAAAABAAEAAAAIwAEAAAACQAEAAAAJwAEAAAACQAEAAAAJwAEAAAACQAEAAAAJwAEAAAAJgAEAAAAJwAEAAAAJgAEAAAAAAD///////8EAAAAAAD///////8EAAAAAAD///////8EAAAAAAD///////8EAAAAAAD///////8EAAAAAAD///////8QAAEBBQAAABAA////////CQAGV2F0ZXJmYWxsCgAAAAUABAAAABwABAAAABoAEQACAQUAAAARAP///////xIABkFkZGl0aW9uYWxBeGlzRGF0YQoAAAAGAAQAAAAAAAQAAAAxAAQAAAAAAAQAAAAZABIAAgEFAAAAEgD///////8aAAZFeGNlbENvbG9yTW9kZURhdGFQcm9wZXJ0eQ0AAAAAAAQAAAAOAEQAAAAEAAQAAAAiAEQAAAAEABMAAgEFAAAAEwD///////8eAAZBenVyZUluZm9ybWF0aW9uUHJvdGVjdGlvbkRhdGENAAAAAQAEAAAALwBEAAAABgAEAAAALwAEAAAAJwAUAAIBBQAAABQA////////EAAGR3JpZGxpbmVTZXR0aW5ncw0AAAACAEQAAAAFAAQAAAAfAEQAAAAEAAQAAAAfABUAAgEFAAAAFQD///////8eAAZQb2ludEFuZFNlcmllc1N0eWxlRGVmaW5pdGlvbnMNAAAAAwAEAAAADQAEAAAAMAAEAAAADQAEAAAAHgAWAAEBBQAAABYA////////HAAGQ2hhcnRTdHlsZVN0YXR1c0luZm9ybWF0aW9ucw0AAAAEAAQAAAAnAAQAAAAtABcAAQEFAAAAFwD///////8KAAZEYXRhTGFiZWxzDgAAAAAABAAAABgABAAAACIAGAABAQUAAAAYAP///////xQABkRhdGFDaGFydENvQXV0aG9yaW5nDgAAAAEABAAAAAkABAAAABcAGQAEAQUAAAAZAP///////wgABkF4ZXNEYXRhDgAAAAIABAAAAAQABAAAAC8ABAAAABEABAAAAC8ABAAAAAAABAAAACcABAAAAAAABAAAACcAGgABAQUAAAAaAP///////wkABldhdGVyZmFsbA4AAAADAAQAAAAQAAQAAAABABsAAgEFAAAAGwD///////8MAAZMaW5rRGF0YUxpc3QOAAAABAAEAAAACABEAAAAAQAEAAAADABEAAAAAQAcAAEBBQAAABwA////////GQAGU2hhcGVDb25zdHJ1Y3RlZENoYXJ0RGF0YQ4AAAAFAAQAAAArAAQAAAAQAB0AAwEFAAAAHQD///////8IAAZPdmVybGF5cxoAAAAAAAQAAAAGAAQAAAAmAAQAAAAGAAQAAAAmAAQAAAAGAAQAAAAmAB4AAgEFAAAAHgD///////8MAAZTZXJpZXNMYWJlbHMaAAAAAQAEAAAAAwAEAAAAKwAEAAAAFQAEAAAAKwAfAAIBBQAAAB8A////////EAAGR3JpZGxpbmVTZXR0aW5ncxoAAAACAAQAAAAUAAQAAAAFAAQAAAAUAAQAAAAFACAAAQEFAAAAIAD///////8KAAZMZWdlbmREYXRhGgAAAAMABAAAAAwABAAAAAgAIQADAQUAAAAhAP///////woABlBlcnNvbmFsSWQaAAAABABEAAAAAgBEAAAAAwAEAAAAJgBEAAAAAwAEAAAAJgBEAAAAAwAiAAIBBQAAACIA////////CgAGRGF0YUxhYmVscxoAAAAFAAQAAAAXAAQAAAAkAAQAAAAJAAQAAAASACMAAQEFAAAAIwD///////8MAAZDb2xvckluZGljZXMaAAAABgBEAAAAAAAEAAAADwAkAAEBBQAAACQA////////CgAGRGF0YUxhYmVscygAAAAAAAQAAAAiAAQAAAAoACUAAQEFAAAAJQD///////8NAAZOdW1iZXJGb3JtYXRzKAAAAAEABAAAAAcABAAAAAYAJgAFAQUAAAAmAP///////wgABk92ZXJsYXlzKAAAAAIABAAAAB0ARAAAAAIABAAAAB0ABAAAACEABAAAAB0ABAAAACEABAAAAA8ABAAAAAoABAAAAA8ABAAAAAoAJwAFAQUAAAAnAP///////yEABkNhdGVnb3J5TGFiZWxTZXR0aW5nc0RhdGFQcm9wZXJ0eSgAAAADAAQAAAAuAAQAAAAWAAQAAAATAAQAAAAPAAQAAAAZAAQAAAAPAAQAAAAZAAQAAAAPAAQAAAAAAAQAAAAPACgAAQEFAAAAKAD///////8KAAZEYXRhTGFiZWxzKAAAAAQABAAAACQABAAAACkAKQABAQUAAAApAP///////wgABkRhdGFMaW5rKAAAAAUABAAAACgABAAAAA4AKgABAQUAAAAqAP///////woABlNlcmllc0RhdGEoAAAABgBEAAAABwAEAAAAAwArAAMBBQAAACsA////////DAAGU2VyaWVzTGFiZWxzKAAAAAcABAAAAB4ABAAAABwABAAAAB4A////////BAAAAAoA////////LAABAQUAAAAsAP///////xMABkdsb2JhbENoYXJ0U2V0dGluZ3MoAAAACAAEAAAAAgBEAAAABQAtAAEBBQAAAC0A////////HAAGQ2hhcnRTdHlsZVN0YXR1c0luZm9ybWF0aW9ucz0AAAAAAAQAAAAWAEQAAAAAAC4AAQEFAAAALgD///////8YAAZDYXRlZ29yeUF4aXNEYXRhUHJvcGVydHk9AAAAAQBEAAAABgAEAAAAJwAvAAIBBQAAAC8A////////CAAGQXhlc0RhdGE9AAAAAgAEAAAAGQAEAAAAEwAEAAAAGQAEAAAAEwAwAAEBBQAAADAA////////HgAGUG9pbnRBbmRTZXJpZXNTdHlsZURlZmluaXRpb25zPQAAAAMABAAAABUARAAAAAcAMQABAQUAAAAxAP///////xIABkFkZGl0aW9uYWxBeGlzRGF0YT0AAAAEAAQAAAARAAQAAAAEAAAAAAAAAAAAAAAAAAAAAAAAAAAAAAAAAAAAAAAAAAAAAAAAAAAAAAAAAAAAAAAAAAAAAAAAAAAFAAAAAwAAAAD/////OgDtAAAAAAAAAAAAAAAgAv///////////////wAAAP///////////////wUAAAACAP///////wUAAAAEAP///////wUAAAAaAP///////wUAAAAaAP///////wUAAAAaAP///////wUAAAAaAP///////////////////////////////////////////////////////////////////////////////////////////////////////////////////////////////////////////////////////////////////////////////////////////////////////////////////////////////////////////////////////////////////////////////////////////////////////////////////////////////////////////////////////////////////////////////////////////////////////////////////////////////wEAIAL///////////////8AAA7///////8FAAAAJAD///////////////////////////////////////////////////////////////////////////////////////////////////////////////////////////////////////////////////////////////////////////////////////////////////////////////////////////////////////////////////////////////////////////////////////////////////////////////////////////////////////////////////////////////////////////////////////////////////////////////////////////////////////////////////////////////////////////////////////////////////////////////////////8CAAECTgAAAAIABAAAAAIABAACAAAAAAYAAAAAAAUAAAAAAAUAAAAEAAMABAJOAAAAAwAEAAAAAwAEAAIFAAAABgAAAAEABQAAACwABQAAAC8ABQAAACwABQAAAC8ABQAAACwA////////BQAAACwA////////BAACAk4AAAAEAAQAAAAEAAQAAgAAAAAGAAAAAgAFAAAAAgAFAAAABQAFAAAAAAAFAAAACgAFAAECTgAAAAUABAAAAAUABAACAAAAAAYAAAADAAUAAAAEAAUAAAAJAAYAAQJOAAAABgAEAAAABgAEAAIHAAAABgAAAAQABQAAACgABQAAACIABwADAk4AAAAHAAQAAAAHAAQAAgEAAAAGAAAABQAFAAAAOAAFAAAACAAFAAAANQAFAAAACwAFAAAANQAFAAAACwAIAAECTgAAAAgABAAAAAgABAACAQAAAAYAAAAGAAUAAAAHAAUAAAALAAkAAQJOAAAACQAEAAAACQAEAAIAAAAABgAAAAcABQAAAAUABQAAAAoACgACAk4AAAAKAAQAAAAKAAQAAgAAAAAGAAAACAAFAAAACQAFAAAADQAFAAAABAAFAAAAEwALAAMCTgAAAAsABAAAAAsABAACAQAAAAoAAAAAAAUAAAAIAAUAAAAQAAUAAAAHAAUAAAAQAAUAAAAHAAUAAAARAAwAAQJOAAAADAAEAAAADAAEAAICAAAACgAAAAEABQAAADkABQAAAA4ADQABAk4AAAANAAQAAAANAAQAAgAAAAAKAAAAAgAFAAAACgAFAAAADwAOAAICTgAAAA4ABAAAAA4ABAACAgAAAAoAAAADAAUAAAAMAAUAAAAjAAUAAAA5AAUAAAAjAA8AAQJOAAAADwAEAAAADwAEAAIAAAAACgAAAAQABQAAAA0ABQAAABMAEAACAk4AAAAQAAQAAAAQAAQAAgEAAAAKAAAABQAFAAAACwAFAAAAEQAFAAAACwAFAAAAEQARAAUCTgAAABEABAAAABEABAACAQAAAAoAAAAGAAUAAAAQAAUAAAASAAUAAAAQAAUAAAAUAAUAAAALAAUAAAAuAAUAAAA1AAUAAAAuAAUAAAAaAAUAAAAuABIAAQJOAAAAEgAEAAAAEgAEAAIBAAAADQAAAAAABQAAABEABQAAABQAEwACAk4AAAATAAQAAAATAAQAAgAAAAANAAAAAQAFAAAADwAFAAAAFQAFAAAACgAFAAAAGgAUAAICTgAAABQABAAAABQABAACAQAAAA0AAAACAAUAAAASAAUAAAAgAAUAAAARAAUAAAAgABUAAQJOAAAAFQAEAAAAFQAEAAIAAAAADQAAAAMABQAAABMABQAAABYAFgABAk4AAAAWAAQAAAAWAAQAAgAAAAANAAAABAAFAAAAFQAFAAAAGAAXAAICTgAAABcABAAAABcABAACCAAAAA4AAAAAAAUAAAAiAAUAAAAmAAUAAAAiAP///////xgAAQJOAAAAGAAEAAAAGAAEAAIAAAAADgAAAAEABQAAABYABQAAABoAGQADAk4AAAAZAAQAAAAZAAQAAgQAAAAOAAAAAgAFAAAAHgAFAAAAKwAFAAAAMAAFAAAAKwAFAAAAOQAFAAAAKwAaAAYCTgAAABoABAAAABoABAACAAAAAA4AAAADAAUAAAAYAAUAAAAbAAUAAAATAAUAAAAcAAUAAAAAAAUAAAAfAAUAAAAAAAUAAAAfAAUAAAAAAAUAAAARAAUAAAAAAAUAAAAuABsAAQJOAAAAGwAEAAAAGwAEAAIAAAAADgAAAAQABQAAABoABQAAABwAHAACAk4AAAAcAAQAAAAcAAQAAgAAAAAOAAAABQAFAAAAGwAFAAAAHwAFAAAAGgAFAAAAHwAdAAECTgAAAB0ABAAAAB0ABAACBgAAABoAAAAAAAUAAAA3AAUAAAAoAB4AAQJOAAAAHgAEAAAAHgAEAAIDAAAAGgAAAAEABQAAADAABQAAABkAHwAEAk4AAAAfAAQAAAAfAAQAAgAAAAAaAAAAAgAFAAAAHAAFAAAAIQAFAAAAHAAFAAAAIQAFAAAAGgAFAAAAIQAFAAAAGgAFAAAAIQAgAAICTgAAACAABAAAACAABAACAQAAABoAAAADAAUAAAAUAAUAAAApAAUAAAAUAAUAAAAuACEABAJOAAAAIQAEAAAAIQAEAAIAAAAAGgAAAAQABQAAAB8ABQAAACcABQAAAB8ABQAAACoABQAAAB8ABQAAACoABQAAAB8ABQAAACoAIgACAk4AAAAiAAQAAAAiAAQAAgcAAAAaAAAABQAFAAAABgAFAAAAFwAFAAAANwAFAAAAFwAjAAICTgAAACMABAAAACMABAACAgAAABoAAAAGAAUAAAAOAAUAAAAlAAUAAAAOAAUAAAAwACQAAQJOAAAAJAAEAAAAJAAEAAIJAAAAKAAAAAAABQAAACYABQAAAAEAJQABAk4AAAAlAAQAAAAlAAQAAgIAAAAoAAAAAQAFAAAAIwAFAAAAMAAmAAECTgAAACYABAAAACYABAACCAAAACgAAAACAAUAAAAXAAUAAAAkACcAAQJOAAAAJwAEAAAAJwAEAAIAAAAAKAAAAAMABQAAACEABQAAACoAKAABAk4AAAAoAAQAAAAoAAQAAgYAAAAoAAAABAAFAAAAHQAFAAAABgApAAECTgAAACkABAAAACkABAACAQAAACgAAAAFAAUAAAAgAAUAAAAtACoABAJOAAAAKgAEAAAAKgAEAAIAAAAAKAAAAAYABQAAACcABQAAADEABQAAACEABQAAADUABQAAACEABQAAADUABQAAACEABQAAADUAKwADAk4AAAArAAQAAAArAAQAAgQAAAAoAAAABwAFAAAAGQAFAAAALAAFAAAAGQAFAAAALAAFAAAAGQAFAAAALAAsAAQCTgAAACwABAAAACwABAACBAAAACgAAAAIAAUAAAArAAUAAAADAAUAAAArAAUAAAADAAUAAAArAAUAAAADAAUAAAA2AAUAAAADAC0AAQJOAAAALQAEAAAALQAEAAIBAAAAPQAAAAAABQAAACkABQAAAC4ALgAGAk4AAAAuAAQAAAAuAAQAAgEAAAA9AAAAAQAFAAAALQAFAAAAMwAFAAAAIAAFAAAANgAFAAAAEQAFAAAANgAFAAAAEQAFAAAANgAFAAAAEQD///////8FAAAAGgD///////8vAAICTgAAAC8ABAAAAC8ABAACBQAAAD0AAAACAAUAAAADAAUAAAA0AAUAAAADAAUAAAA0ADAAAgJOAAAAMAAEAAAAMAAEAAICAAAAPQAAAAMABQAAACUABQAAAB4ABQAAACMABQAAABkAMQABAk4AAAAxAAQAAAAxAAQAAgAAAAA9AAAABAAFAAAAKgAFAAAAMgAyAAECTwAAAAAARAAAAAAABAACAAAAAD0AAAAFAAUAAAAxAAUAAAA1ADMAAQJPAAAAAQBEAAAAAQAEAAIBAAAARQAAAAAABQAAAC4ABQAAADYANAACAk8AAAACAEQAAAACAAQAAgUAAAA9AAAABgAFAAAALwAFAAAANwAFAAAALwAFAAAANwA1AAQCTwAAAAMARAAAAAMABAACAAAAAD0AAAAHAAUAAAAyAAUAAAA4AAUAAAAqAAUAAAAHAAUAAAAqAAUAAAAHAAUAAAAqAAUAAAARADYABAJPAAAABABEAAAABAAEAAIBAAAAPQAAAAgABQAAADMABQAAADkABQAAAC4ABQAAADkABQAAAC4ABQAAADkABQAAAC4ABQAAACwANwACAk8AAAAFAEQAAAAFAAQAAgUAAABNAAAAAAAFAAAANAAFAAAAHQAFAAAANAAFAAAAIgA4AAECTwAAAAYARAAAAAYABAACAAAAAD0AAAAJAAUAAAA1AAUAAAAHADkAAwJPAAAABwBEAAAABwAEAAIBAAAAPQAAAAoABQAAADYABQAAAAwABQAAADYABQAAAA4ABQAAADYABQAAABk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AAAAT//////////wkAtwQAAAAAAAAAAAAA/////3kAeQAAAAVfaWQAEAAAAAQMZakBXWWuR7P3mE9b42aqA0RhdGEAFQAAAAhTaGFwZXNSZW1vdmVkAAAAAk5hbWUAFQAAAEdlbmVyYWxFeGNlbFNldHRpbmdzABBWZXJzaW9uAAAAAAAJTGFzdFdyaXRlAMlMj6h8AQAAAAEA/////3MAcwAAAAVfaWQAEAAAAAQHyPEGs06IRrx0TIRuiE9SA0RhdGEAFwAAAARTZXJpZUxhYmVscwAFAAAAAAACTmFtZQANAAAAU2VyaWVzTGFiZWxzABBWZXJzaW9uAAUAAAAJTGFzdFdyaXRlAHdbT16NAQAAAAIA/////5kAmQAAAAVfaWQAEAAAAATEnpANuHC5QZ+3D2eeDq6TA0RhdGEALwAAAAhJc0FjdGl2ZQAABFVuYnJlYWthYmxlU2VyaWVzSW5kaWNlcwAFAAAAAAACTmFtZQAbAAAAQXV0b21hdGljQnJlYWtTZXR0aW5nc0RhdGEAEFZlcnNpb24AAAAAAAlMYXN0V3JpdGUAodvZ0nABAAAAAwD/////sgCyAAAABV9pZAAQAAAABNCngxW1QDpLix1EJtXnb6kDRGF0YQBXAAAAA1NldHRpbmdzUGVyQXhpcwBBAAAAA1ByaW1hcnkAFAAAAAhJc0luQXV0b01vZGUAAQADU2Vjb25kYXJ5ABQAAAAISXNJbkF1dG9Nb2RlAAEAAAACTmFtZQAMAAAATGVhZGVyTGluZXMAEFZlcnNpb24AAAAAAAlMYXN0V3JpdGUA8vg/aY0BAAAABAAHAAAAAAAFAP////+nAacBAAAFX2lkABAAAAAEEeAbFz9CHE6JEUPeD7gGUANEYXRhAEoBAAADTnVtYmVyRm9ybWF0VmFsdWVTdHJpbmdzACsBAAACTnVtYmVyRm9ybWF0SWRQcmltYXJ5ACUAAAAwMDAwMDAwMC0wMDAwLTAwMDAtMDAwMC0wMDAwMDAwMDAwMDAAAlBlcmNlbnRGb3JtYXRJZFByaW1hcnkADgAAAFskLTQwN10jLCMjMCUAAk51bWJlckZvcm1hdElkU2Vjb25kYXJ5ACUAAAAwMDAwMDAwMC0wMDAwLTAwMDAtMDAwMC0wMDAwMDAwMDAwMDAAAk51bWJlckZvcm1hdElkUHJpbWFyeUNhdGVnb3J5ACUAAAAwMDAwMDAwMC0wMDAwLTAwMDAtMDAwMC0wMDAwMDAwMDAwMDAAAlBlcmNlbnRGb3JtYXRJZFByaW1hcnlDYXRlZ29yeQAOAAAAWyQtNDA3XSMsIyMwJQAAAAJOYW1lAA4AAABOdW1iZXJGb3JtYXRzABBWZXJzaW9uAAEAAAAJTGFzdFdyaXRlAM9wT16NAQAAAAYA/////2EAYQAAAAVfaWQAEAAAAAQb1ZEZPcFMRoyX5nstKlOABERhdGEABQAAAAACTmFtZQANAAAATGlua0RhdGFMaXN0ABBWZXJzaW9uAAEAAAAJTGFzdFdyaXRlAJXRizWXAQAAAAcA/////3sAewAAAAVfaWQAEAAAAAQ9S9Iaua2ISIxycHWN8GbjA0RhdGEAHQAAAAhEb05vdFNob3dGdWxsRW1mQWdhaW4AAAACTmFtZQAPAAAAQ29tbW9uU2V0dGluZ3MAEFZlcnNpb24AAAAAAAlMYXN0V3JpdGUAx19PRoABAAAACAD/////LgYuBgAABV9pZAAQAAAABIDZ3hyBduFGvhnAyn/wmLgDRGF0YQC3BQAABFBvaW50QWRkaXRpb25hbFN0eWxlcwCrBAAAAzAAdAAAAANQb2ludEFkZHJlc3MAMwAAABBTZXJpZXNJbmRleAABAAAAEFBvaW50SW5kZXgAAQAAAAhJc1BvaW50U3VtAAAAA0FkZGl0aW9uYWxTdHlsZXMAHAAAAAJGaWxsUGF0dGVybgAGAAAAVW5zZXQAAAADMQB0AAAAA1BvaW50QWRkcmVzcwAzAAAAEFNlcmllc0luZGV4AAEAAAAQUG9pbnRJbmRleAACAAAACElzUG9pbnRTdW0AAAADQWRkaXRpb25hbFN0eWxlcwAcAAAAAkZpbGxQYXR0ZXJuAAYAAABVbnNldAAAAAMyAHQAAAADUG9pbnRBZGRyZXNzADMAAAAQU2VyaWVzSW5kZXgAAQAAABBQb2ludEluZGV4AAMAAAAISXNQb2ludFN1bQAAAANBZGRpdGlvbmFsU3R5bGVzABwAAAACRmlsbFBhdHRlcm4ABgAAAFVuc2V0AAAAAzMAdAAAAANQb2ludEFkZHJlc3MAMwAAABBTZXJpZXNJbmRleAABAAAAEFBvaW50SW5kZXgABAAAAAhJc1BvaW50U3VtAAAAA0FkZGl0aW9uYWxTdHlsZXMAHAAAAAJGaWxsUGF0dGVybgAGAAAAVW5zZXQAAAADNAB0AAAAA1BvaW50QWRkcmVzcwAzAAAAEFNlcmllc0luZGV4AAEAAAAQUG9pbnRJbmRleAAFAAAACElzUG9pbnRTdW0AAAADQWRkaXRpb25hbFN0eWxlcwAcAAAAAkZpbGxQYXR0ZXJuAAYAAABVbnNldAAAAAM1AHQAAAADUG9pbnRBZGRyZXNzADMAAAAQU2VyaWVzSW5kZXgAAQAAABBQb2ludEluZGV4AAYAAAAISXNQb2ludFN1bQAAAANBZGRpdGlvbmFsU3R5bGVzABwAAAACRmlsbFBhdHRlcm4ABgAAAFVuc2V0AAAAAzYAdAAAAANQb2ludEFkZHJlc3MAMwAAABBTZXJpZXNJbmRleAABAAAAEFBvaW50SW5kZXgABwAAAAhJc1BvaW50U3VtAAAAA0FkZGl0aW9uYWxTdHlsZXMAHAAAAAJGaWxsUGF0dGVybgAGAAAAVW5zZXQAAAADNwB0AAAAA1BvaW50QWRkcmVzcwAzAAAAEFNlcmllc0luZGV4AAEAAAAQUG9pbnRJbmRleAAIAAAACElzUG9pbnRTdW0AAAADQWRkaXRpb25hbFN0eWxlcwAcAAAAAkZpbGxQYXR0ZXJuAAYAAABVbnNldAAAAAM4AHQAAAADUG9pbnRBZGRyZXNzADMAAAAQU2VyaWVzSW5kZXgAAQAAABBQb2ludEluZGV4AAkAAAAISXNQb2ludFN1bQAAAANBZGRpdGlvbmFsU3R5bGVzABwAAAACRmlsbFBhdHRlcm4ABgAAAFVuc2V0AAAAAzkAdAAAAANQb2ludEFkZHJlc3MAMwAAABBTZXJpZXNJbmRleAABAAAAEFBvaW50SW5kZXgACgAAAAhJc1BvaW50U3VtAAAAA0FkZGl0aW9uYWxTdHlsZXMAHAAAAAJGaWxsUGF0dGVybgAGAAAAVW5zZXQAAAAAA1Nlcmllc0FkZGl0aW9uYWxTdHlsZXMA2AAAAAMxANAAAAAQU2VyaWVzSW5kZXgAAQAAAANBZGRpdGlvbmFsU3R5bGVzAKgAAAACRmlsbFBhdHRlcm4ACAAAAERlZmF1bHQAA0ZpbGxDb2xvck9yVGhlbWVDb2xvcgBzAAAAEFRoZW1lQ29sb3IAAAAAAAFUaW50QW5kU2hhZGUAAAAAAAAAAAAQVGludEluZGV4AP////8QU2NoZW1lQ29sb3IAAAAAAANDb2xvcgAhAAAAEEEA/wAAABBSAAAAAAAQRwAAAAAAEEIAAAAAAAAAAAAAAAJOYW1lACgAAABQb2ludEFuZFNlcmllc0FkZGl0aW9uU3R5bGVzRGVmaW5pdGlvbnMAEFZlcnNpb24AAAAAAAlMYXN0V3JpdGUAfSKM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F/////wgAAADnDwAAAAAAAAAAAABJUAAABV9pZAAQAAAABJVYIBYiTlBLt/Cm234mVdQERGF0YQDxTwAAAzAA+wcAAAVfaWQAEAAAAASTSiR1daGPRbdsxzjh7oLnAl90eXBlAFcAAABlbXBvd2VyLkNoYXJ0cy5EYXRhLkRhdGFDaGFydHMuT3ZlcmxheXMuRGF0YS5Db2x1bW5TdW1PdmVybGF5RGF0YSwgZW1wb3dlci5DaGFydHMuRGF0YQAQQ29sdW1uAAEAAAAQU2VyaWVzAP////8DVGV4dEVsZW1lbnQA6wYAAAJBdXRvU2hhcGVUeXBlAAoAAABSZWN0YW5nbGUABEFkanVzdG1lbnRzAAUAAAAABU1hbmFnZWRJZAAQAAAABC6pjBgNu5ROjbbqUNqaJsY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m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CDXwypAAVdpZHRoAAAAAOCu8jh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JDb2x1bW5TdW1Qb3NpdGlvbgAMAAAARGVmYXVsdERvY2sACEFkZFByZWZpeFNwYWNlAAAIQWRkUG9zdGZpeFNwYWNlAAAIRGVsZXRlZAABCElzTmV3AAEBRm9udFNpemUAAAAAAAAAJEAAAzEA+wcAAAVfaWQAEAAAAAQ1+/6DdZhYQ4DSe/Iuh2XVAl90eXBlAFcAAABlbXBvd2VyLkNoYXJ0cy5EYXRhLkRhdGFDaGFydHMuT3ZlcmxheXMuRGF0YS5Db2x1bW5TdW1PdmVybGF5RGF0YSwgZW1wb3dlci5DaGFydHMuRGF0YQAQQ29sdW1uAAIAAAAQU2VyaWVzAP////8DVGV4dEVsZW1lbnQA6wYAAAJBdXRvU2hhcGVUeXBlAAoAAABSZWN0YW5nbGUABEFkanVzdG1lbnRzAAUAAAAABU1hbmFnZWRJZAAQAAAABK6REHGA7ItJnlAAQ5fC2Vg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m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CDXwypAAVdpZHRoAAAAAOCu8jh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JDb2x1bW5TdW1Qb3NpdGlvbgAMAAAARGVmYXVsdERvY2sACEFkZFByZWZpeFMIAAAABQcAAAAJAAAA5w8AAAAAAAAAAAAAcGFjZQAACEFkZFBvc3RmaXhTcGFjZQAACERlbGV0ZWQAAQhJc05ldwABAUZvbnRTaXplAAAAAAAAACRAAAMyAPsHAAAFX2lkABAAAAAEiVaj3F7hoEezn1wzojeLMAJfdHlwZQBXAAAAZW1wb3dlci5DaGFydHMuRGF0YS5EYXRhQ2hhcnRzLk92ZXJsYXlzLkRhdGEuQ29sdW1uU3VtT3ZlcmxheURhdGEsIGVtcG93ZXIuQ2hhcnRzLkRhdGEAEENvbHVtbgADAAAAEFNlcmllcwD/////A1RleHRFbGVtZW50AOsGAAACQXV0b1NoYXBlVHlwZQAKAAAAUmVjdGFuZ2xlAARBZGp1c3RtZW50cwAFAAAAAAVNYW5hZ2VkSWQAEAAAAAQ2lSobScvaSarvsDb3oevi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Jk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Ag18MqQAFXaWR0aAAAAADgrvI4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CQ29sdW1uU3VtUG9zaXRpb24ADAAAAERlZmF1bHREb2NrAAhBZGRQcmVmaXhTcGFjZQAACEFkZFBvc3RmaXhTcGFjZQAACERlbGV0ZWQAAQhJc05ldwABAUZvbnRTaXplAAAAAAAAACRAAAMzAPsHAAAFX2lkABAAAAAEJFLTvb7VHEe66npVj675YQJfdHlwZQBXAAAAZW1wb3dlci5DaGFydHMuRGF0YS5EYXRhQ2hhcnRzLk92ZXJsYXlzLkRhdGEuQ29sdW1uU3VtT3ZlcmxheURhdGEsIGVtcG93ZXIuQ2hhcnRzLkRhdGEAEENvbHVtbgAEAAAAEFNlcmllcwD/////A1RleHRFbGVtZW50AOsGAAACQXV0b1NoYXBlVHlwZQAKAAAAUmVjdGFuZ2xlAARBZGp1c3RtZW50cwAFAAAAAAVNYW5hZ2VkSWQAEAAAAAT83U6jREgURaLMWGUsuRHW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Jk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Ag18MqQAFXaWR0aAAAAADgrvI4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CQ29sdW1uU3VtUG9zaXRpb24ADAAAAERlCQAAAAUIAAAAnwAAAOcPAAAAAAAAAAAAAGZhdWx0RG9jawAIQWRkUHJlZml4U3BhY2UAAAhBZGRQb3N0Zml4U3BhY2UAAAhEZWxldGVkAAEISXNOZXcAAQFGb250U2l6ZQAAAAAAAAAkQAADNAD7BwAABV9pZAAQAAAABFn+wGIXWtxJliow3p6EeHkCX3R5cGUAVwAAAGVtcG93ZXIuQ2hhcnRzLkRhdGEuRGF0YUNoYXJ0cy5PdmVybGF5cy5EYXRhLkNvbHVtblN1bU92ZXJsYXlEYXRhLCBlbXBvd2VyLkNoYXJ0cy5EYXRhABBDb2x1bW4ABQAAABBTZXJpZXMA/////wNUZXh0RWxlbWVudADrBgAAAkF1dG9TaGFwZVR5cGUACgAAAFJlY3RhbmdsZQAEQWRqdXN0bWVudHMABQAAAAAFTWFuYWdlZElkABAAAAAE66+5iX3pYUm1fv53NU3Xsg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kZvbnROYW1lAAcAAAArbW4tbHQAAUZvbnRTaXplAAAAAAAAACZ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INfDKkABV2lkdGgAAAAA4K7yOE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kNvbHVtblN1bVBvc2l0aW9uAAwAAABEZWZhdWx0RG9jawAIQWRkUHJlZml4U3BhY2UAAAhBZGRQb3N0Zml4U3BhY2UAAAhEZWxldGVkAAEISXNOZXcAAQFGb250U2l6ZQAAAAAAAAAkQAADNQD7BwAABV9pZAAQAAAABHlb4hW9lilPpdtxfVEf4TICX3R5cGUAVwAAAGVtcG93ZXIuQ2hhcnRzLkRhdGEuRGF0YUNoYXJ0cy5PdmVybGF5cy5EYXRhLkNvbHVtblN1bU92ZXJsYXlEYXRhLCBlbXBvd2VyLkNoYXJ0cy5EYXRhABBDb2x1bW4ABgAAABBTZXJpZXMA/////wNUZXh0RWxlbWVudADrBgAAAkF1dG9TaGFwZVR5cGUACgAAAFJlY3RhbmdsZQAEQWRqdXN0bWVudHMABQAAAAAFTWFuYWdlZElkABAAAAAErUmzZM7OT06OVDcQVz32Rw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Z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INfDKkABV2lkdGgAAAAA4K7yOE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kNvbAoAAAAE//////////8HAPYDAAAAAAAAAAAAAP////8uBi4GAAAFX2lkABAAAAAEiyO9IelIdE+VegLtPbMLNQNEYXRhALcFAAAEUG9pbnRBZGRpdGlvbmFsU3R5bGVzAKsEAAADMAB0AAAAA1BvaW50QWRkcmVzcwAzAAAAEFNlcmllc0luZGV4AAEAAAAQUG9pbnRJbmRleAABAAAACElzUG9pbnRTdW0AAAADQWRkaXRpb25hbFN0eWxlcwAcAAAAAkZpbGxQYXR0ZXJuAAYAAABVbnNldAAAAAMxAHQAAAADUG9pbnRBZGRyZXNzADMAAAAQU2VyaWVzSW5kZXgAAQAAABBQb2ludEluZGV4AAIAAAAISXNQb2ludFN1bQAAAANBZGRpdGlvbmFsU3R5bGVzABwAAAACRmlsbFBhdHRlcm4ABgAAAFVuc2V0AAAAAzIAdAAAAANQb2ludEFkZHJlc3MAMwAAABBTZXJpZXNJbmRleAABAAAAEFBvaW50SW5kZXgAAwAAAAhJc1BvaW50U3VtAAAAA0FkZGl0aW9uYWxTdHlsZXMAHAAAAAJGaWxsUGF0dGVybgAGAAAAVW5zZXQAAAADMwB0AAAAA1BvaW50QWRkcmVzcwAzAAAAEFNlcmllc0luZGV4AAEAAAAQUG9pbnRJbmRleAAEAAAACElzUG9pbnRTdW0AAAADQWRkaXRpb25hbFN0eWxlcwAcAAAAAkZpbGxQYXR0ZXJuAAYAAABVbnNldAAAAAM0AHQAAAADUG9pbnRBZGRyZXNzADMAAAAQU2VyaWVzSW5kZXgAAQAAABBQb2ludEluZGV4AAUAAAAISXNQb2ludFN1bQAAAANBZGRpdGlvbmFsU3R5bGVzABwAAAACRmlsbFBhdHRlcm4ABgAAAFVuc2V0AAAAAzUAdAAAAANQb2ludEFkZHJlc3MAMwAAABBTZXJpZXNJbmRleAABAAAAEFBvaW50SW5kZXgABgAAAAhJc1BvaW50U3VtAAAAA0FkZGl0aW9uYWxTdHlsZXMAHAAAAAJGaWxsUGF0dGVybgAGAAAAVW5zZXQAAAADNgB0AAAAA1BvaW50QWRkcmVzcwAzAAAAEFNlcmllc0luZGV4AAEAAAAQUG9pbnRJbmRleAAHAAAACElzUG9pbnRTdW0AAAADQWRkaXRpb25hbFN0eWxlcwAcAAAAAkZpbGxQYXR0ZXJuAAYAAABVbnNldAAAAAM3AHQAAAADUG9pbnRBZGRyZXNzADMAAAAQU2VyaWVzSW5kZXgAAQAAABBQb2ludEluZGV4AAgAAAAISXNQb2ludFN1bQAAAANBZGRpdGlvbmFsU3R5bGVzABwAAAACRmlsbFBhdHRlcm4ABgAAAFVuc2V0AAAAAzgAdAAAAANQb2ludEFkZHJlc3MAMwAAABBTZXJpZXNJbmRleAABAAAAEFBvaW50SW5kZXgACQAAAAhJc1BvaW50U3VtAAAAA0FkZGl0aW9uYWxTdHlsZXMAHAAAAAJGaWxsUGF0dGVybgAGAAAAVW5zZXQAAAADOQB0AAAAA1BvaW50QWRkcmVzcwAzAAAAEFNlcmllc0luZGV4AAEAAAAQUG9pbnRJbmRleAAKAAAACElzUG9pbnRTdW0AAAADQWRkaXRpb25hbFN0eWxlcwAcAAAAAkZpbGxQYXR0ZXJuAAYAAABVbnNldAAAAAADU2VyaWVzQWRkaXRpb25hbFN0eWxlcwDYAAAAAzEA0AAAABBTZXJpZXNJbmRleAABAAAAA0FkZGl0aW9uYWxTdHlsZXMAqAAAAAJGaWxsUGF0dGVybgAIAAAARGVmYXVsdAADRmlsbENvbG9yT3JUaGVtZUNvbG9yAHMAAAAQVGhlbWVDb2xvcgAAAAAAAVRpbnRBbmRTaGFkZQAAAAAAAAAAABBUaW50SW5kZXgA/////xBTY2hlbWVDb2xvcgAAAAAAA0NvbG9yACEAAAAQQQD/AAAAEFIAAAAAABBHAAAAAAAQQgAAAAAAAAAAAAAAAk5hbWUAKAAAAFBvaW50QW5kU2VyaWVzQWRkaXRpb25TdHlsZXNEZWZpbml0aW9ucwAQVmVyc2lvbgABAAAACUxhc3RXcml0ZQCXIow1lwEAAAABAAsAAAAAAAIA/////+AA4AAAAAVfaWQAEAAAAARH2/AmvCBeQrt6aUkk9ZsFA0RhdGEAbAAAAARQb2ludE1hcmtlclN0eWxlcwAFAAAAAANTZXJpZXNNYXJrZXJTdHlsZXMABQAAAAAIU3VwcHJlc3NNYXJrZXJzAAAITWFya2Vyc1N1cHByZXNzZWRPblByZXZpb3VzTGF5b3V0AAAAAk5hbWUAJQAAAFBvaW50QW5kU2VyaWVzTWFya2VyU3R5bGVEZWZpbml0aW9ucwAQVmVyc2lvbgAAAAAACUxhc3RXcml0ZQDDX09GgAEAAAADAF4BAAAAAAQA/////5oAmgAAAAVfaWQAEAAAAARodfUp1Th6Rrgo6F3BiY0uA0RhdGEAOAAAAAhBcmVOZWdhdGl2ZVN1bXNBdE90aGVyRW5kAAAIQXJlQ29sdW1uU3Vtc1Zpc2libGUAAAACTmFtZQATAAAAQ29sdW1uU3Vtc1NldHRpbmdzABBWZXJzaW9uAAAAAAAJTGFzdFdyaXRlAA6Vwn5uAQAAAAUA/////5EAkQAAAAVfaWQAEAAAAASun0Q0z6ESR5e4BiB7qW4fA0RhdGEAOAAAAARPblRvcFNlcmllc0luZGl6ZXMABQAAAAAESGlkZGVuU2VyaWVzSW5kaXplcwAFAAAAAAACTmFtZQAKAAAAV2F0ZXJmYWxsABBWZXJzaW9uAAEAAAAJTGFzdFdyaXRlAI1bT16NAQAAAAYA/////4ADgAMAAAVfaWQAEAAAAARKGx84o+2NQpfF4nQx1g8nA0RhdGEAHgMAAANCb3VuZHM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hJc1Zpc2libGUAAAhJc1JldmVyc2VkAAAIU2hvd0dyaWRMaW5lcwAAAU1ham9yVW5pdAAAAAAAAAAAAAFNYXhpbXVtU2NhbGUAAAAAAAAAAAABTWluaW11bVNjYWxlAAAAAAAAAAAACFVzZUF1dG9tYXRpY01ham9yVW5pdAABCFVzZUF1dG9tYXRpY01pbmltdW1TY2FsZQABCFVzZUF1dG9tYXRpY01heGltdW1TY2FsZQABA0FkZGl0aW9uYWxBeGlzVGlja0xhYmVsc0RhdGEAtwAAAARJdGVtRGF0YQAFAAAAAANGb250Q29sb3IAVQAAABBBAAAAAAAQUgAAAAAAEEcAAAAAABBCAAAAAAABU2NBAAAAAAAAAAAAAVNjUgAAAAAAAAAAAAFTY0cAAAAAAAAAAAABU2NCAAAAAAAAAAAAABBGb250U2NoZW1lQ29sb3IAAAAAABBGb250VGhlbWVDb2xvcgAAAAAAAUZvbnRUaW50QW5kU2hhZGUAAAAAAAAAAAAABEdyaWRMaW5lSXRlbURhdGEABQAAAAAAAk5hbWUAEwAAAEFkZGl0aW9uYWxBeGlzRGF0YQAQVmVyc2lvbgABAAAACUxhc3RXcml0ZQDOrl1oi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AAAABf////8MAAAA5w8AAAAAAAAAAAAAnBUAAAVfaWQAEAAAAASAmiImhYpURo707p5hl0JmA0RhdGEAQhUAAARJdGVtRGF0YQCBFAAAAzAAeRQAABBJbmRleAABAAAACElzRGVsZXRlZAAAA1RleHRTaGFwZURhdGEA2QYAAAVNYW5hZ2VkSWQAEAAAAARUxhoYx+mKS6PZaLaS8I+9CEhhc0NoYW5nZXMAAQ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HAAAAEjDpHVmaWdrZWl0IG5hY2ggVGVpbG5laG1lcgACVGV4dEhvcml6b250YWxBbGlnbm1lbnQADgAAAG1zb0FuY2hvck5vbmUAAlBhcmFncmFwaEFsaWdubWVudAACAAAAMAACVGV4dFZlcnRpY2FsQWxpZ25tZW50AA0AAABtc29BbmNob3JUb3AAA0ZvbnRTdHlsZQBA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YAAABBcmlhbAABRm9udFNpemUAAAAAAAAAJEAIRm9udFN0cmlrZXRocm91Z2gAAAhGb250U3Vic2NyaXB0AAAIRm9udFN1cGVyc2NyaXB0AAAIRm9udFVuZGVybGluZQAAAAhTaXplVG9UZXh0V2lkdGgAAQhTaXplVG9UZXh0SGVpZ2h0AAEDVGV4dE1hcmdpbgA/AAAAAUxlZnQAAAAAAAAAAAABVG9wAAAAAAAAAAAAAVJpZ2h0AAAAAAAAAAAAAUJvdHRvbQAAAAAAAAAAAAACRGlzcGxheVRleHQAHAAAAEjDpHVmaWdrZWl0IG5hY2ggVGVpbG5laG1lcgABSGVpZ2h0AAAAAKCZWShAAVdpZHRoAAAAAEB+IV5AAVRvcAAAAABgW6R0QAFMZWZ0AAAAAIDnVnJ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NYXJrZXJTaGFwZURhdGEAdAYAAAJBdXRvU2hhcGVUeXBlAAoAAABSZWN0YW5nbGUABU1hbmFnZWRJZAAQAAAABNhTUSiAWcRHpbZTF9V6UvQISGFzQ2hhbmdlcwABCFVzZU5hbWVJbnN0ZWFkT2ZUYWdBc0lkAAEIU2hhcGVQcmV2aW91c2x5Q3JlYXRlZAAAA0ZpbGxDb2xvcgBVAAAAEEEA/wAAABBSAPcAAAAQRwB4AAAAEEIAeAAAAAFTY0EAAAAAAAAA8D8BU2NSAAAAAOB3w+0/AVNjRwAAAADgggrIPwFTY0IAAAAA4IIKyD8AEEZpbGxUaGVtZUNvbG9yAAY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g3wsXQAFXaWR0aAAAAABg3wsXQAFUb3AAAAAAIKrXdEABTGVmdAAAAAAguMpxQAhGbGlwSG9yaXpvbnRhbGx5AAAIRmxpcEhvcml6b250YWxseUFwcGxpZWQAAAhGbGlwVmVydGljYWxseQAACEZsaXBWZXJ0aWNhbGx5QXBwbGllZAAAAVJvdGF0aW9uAAAAAAAAAAAAAVpPcmRlcgAAAAAAAAAkQ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luZVNoYXBlRGF0YQDhBgAAA1N0YXJ0ABsAAAABWAAAAAAAAAAAAAFZAAAAAAAAAAAAAANFbmQAGwAAAAFYAAAAAAAAAAAAAVkAAAAAAAAAAAAAAlN0YXJ0QXJyb3dIZWFkABEAAABtc29BcnJvd2hlYWROb25lAAJFbmRBcnJvd0hlYWQAEQAAAG1zb0Fycm93aGVhZE5vbmUABU1hbmFnZWRJZAAQAAAABPjL0mUNIEZFvgYdl8zHISA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DAAAAAULAAAA/////7UFMgoAAAAAAAAAA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CQWxpZ25tZW50AAcAAABIaWRkZW4ACElzVXNlclBvc2l0aW9uAAADQ3VzdG9tQ2VudGVyUG9zaXRpb24AGwAAAAFYAAAAAAAAAAAAAVkAAAAAAAAAAAAAAkl0ZW1PcmRlcgAKAAAAQXNjZW5kaW5nABBSb3dDb3VudAABAAAAEENvbHVtbkNvdW50AAAAAAACSXRlbUZsb3dEaXJlY3Rpb24ACwAAAEhvcml6b250YWwAAAJOYW1lAAsAAABMZWdlbmREYXRhABBWZXJzaW9uAAIAAAAJTGFzdFdyaXRlADoUj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0AAAAEAAAAAP////8FAPUHAAAAAAAAAAAAAGABAAAAAAEA/////3MAcwAAAAVfaWQAEAAAAAQVjP1GbHWkSbDkK51IkqmgA0RhdGEABQAAAAACTmFtZQAfAAAAQXp1cmVJbmZvcm1hdGlvblByb3RlY3Rpb25EYXRhABBWZXJzaW9uAAAAAAAJTGFzdFdyaXRlAMZfT0aAAQAAAAIA/////xAFEAUAAAVfaWQAEAAAAAS33mRIue2mQbc9lG5TbRMzA0RhdGEAsAQAAANHcmlkTGluZVN0eWxlc0RhdGEAlwQAAANQcmltYXJ5VmFsdWVBeGlzR3JpZExpbmVTdHlsZQAdAgAAA01ham9yVW5pdExpbmVTdHlsZQD4AAAAA0NvbG9yAFUAAAAQQQD/AAAAEFIAiQAAABBHAIkAAAAQQgCJAAAAAVNjQQAAAAAAAADwPwFTY1IAAAAAAJgC0D8BU2NHAAAAAACYAtA/AVNjQgAAAAAAmALQPwACU2NoZW1lQ29sb3JJbmRleAARAAAAcHBOb3RTY2hlbWVDb2xvcgAQVGhlbWVDb2xvckluZGV4AAAAAAABVGludEFuZFNoYWRlAAAAAAAAANA/AUxpbmVXZWlnaHQAAAAAAAAA4D8CRGFzaFN0eWxlAAoAAABMaW5lU29saWQACFZpc2libGUAAQhJc0F1dG9tYXRpYwABAANNaW5vclVuaXRMaW5lU3R5bGUA+AAAAANDb2xvcgBVAAAAEEEA/wAAABBSALwAAAAQRwC8AAAAEEIAvAAAAAFTY0EAAAAAAAAA8D8BU2NSAAAAAGClF+A/AVNjRwAAAABgpRfgPwFTY0IAAAAAYKUX4D8AAlNjaGVtZUNvbG9ySW5kZXgAEQAAAHBwTm90U2NoZW1lQ29sb3IAEFRoZW1lQ29sb3JJbmRleAAAAAAAAVRpbnRBbmRTaGFkZQAAAAAAAADgPwFMaW5lV2VpZ2h0AAAAAAAAAOA/AkRhc2hTdHlsZQAKAAAATGluZVNvbGlkAAhWaXNpYmxlAAAISXNBdXRvbWF0aWMAAAAAA1ByaW1hcnlDYXRlZ29yeUF4aXNHcmlkTGluZVN0eWxlAB0CAAADTWFqb3JVbml0TGluZVN0eWxlAPgAAAADQ29sb3IAVQAAABBBAP8AAAAQUgCJAAAAEEcAiQAAABBCAIkAAAABU2NBAAAAAAAAAPA/AVNjUgAAAAAAmALQPwFTY0cAAAAAAJgC0D8BU2NCAAAAAACYAtA/AAJTY2hlbWVDb2xvckluZGV4ABEAAABwcE5vdFNjaGVtZUNvbG9yABBUaGVtZUNvbG9ySW5kZXgAAAAAAAFUaW50QW5kU2hhZGUAAAAAAAAA0D8BTGluZVdlaWdodAAAAAAAAADgPwJEYXNoU3R5bGUACgAAAExpbmVTb2xpZAAIVmlzaWJsZQABCElzQXV0b21hdGljAAAAA01pbm9yVW5pdExpbmVTdHlsZQD4AAAAA0NvbG9yAFUAAAAQQQD/AAAAEFIAvAAAABBHALwAAAAQQgC8AAAAAVNjQQAAAAAAAADwPwFTY1IAAAAAYKUX4D8BU2NHAAAAAGClF+A/AVNjQgAAAABgpRfgPwACU2NoZW1lQ29sb3JJbmRleAARAAAAcHBOb3RTY2hlbWVDb2xvcgAQVGhlbWVDb2xvckluZGV4AAAAAAABVGludEFuZFNoYWRlAAAAAAAAAOA/AUxpbmVXZWlnaHQAAAAAAAAA4D8CRGFzaFN0eWxlAAoAAABMaW5lU29saWQACFZpc2libGUAAAhJc0F1dG9tYXRpYwAAAAAIU2hvd0dyaWRsaW5lc0RlZmF1bHQAAQAAAk5hbWUAEQAAAEdyaWRsaW5lU2V0dGluZ3MAEFZlcnNpb24AAQAAAAlMYXN0V3JpdGUAUTZaXo0BAAAAAwD/////egF6AQAABV9pZAAQAAAABCU3FE6vWAxOkXDnfBWldTYDRGF0YQAMAQAABFBvaW50Q29sb3JzU3R5bGUABQAAAAADU2VyaWVzQ29sb3JzU3R5bGUA3QAAAAMxANUAAAAQU2VyaWVzSW5kZXgAAQAAAANQcmltYXJ5Q29sb3JTdHlsZQCsAAAAAkNvbG9yUHJvcGVydHlUYXJnZXQACAAAAFByaW1hcnkAA0NvbG9yT3JUaGVtZUNvbG9yAHMAAAAQVGhlbWVDb2xvcgAFAAAAAVRpbnRBbmRTaGFkZQAAAAAAAAAAABBUaW50SW5kZXgA/////xBTY2hlbWVDb2xvcgAAAAAAA0NvbG9yACEAAAAQQQD/AAAAEFIAxwAAABBHACoAAAAQQgA0AAAAAAAAAAAAAk5hbWUAHwAAAFBvaW50QW5kU2VyaWVzU3R5bGVEZWZpbml0aW9ucwAQVmVyc2lvbgAAAAAACUxhc3RXcml0ZQCMs5A1lwEAAAAEAP/////NAM0AAAAFX2lkABAAAAAEjX2rVOARyU+XpCaah7kifwNEYXRhAGEAAAAISGFzU3R5bGVSZXBvc2l0b3J5QmVlbk1pZ3JhdGVkAAEISGFzQm9yZGVyU3R5bGVCZWVuTWlncmF0ZWQAAQhIYXNDaGFydEJlZW5MYXlvdXRlZEZvckZsZXgAAQACTmFtZQAdAAAAQ2hhcnRTdHlsZVN0YXR1c0luZm9ybWF0aW9ucwAQVmVyc2lvbgAAAAAACUxhc3RXcml0ZQAN+F1oi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OAAAABP//////////BgCCBwAAAAAAAAAAAAAPAAAAAAABAP/////uBu4GAAAFX2lkABAAAAAE5OBxXF3D8kWEJNj6zKLveANEYXRhAIoGAAADV2lnZ2xlU2hhcGVEYXRhAHQGAAACQXV0b1NoYXBlVHlwZQAKAAAAUmVjdGFuZ2xlAAVNYW5hZ2VkSWQAEAAAAAQOhEBffhzqSK1XAf6qT7YYCEhhc0NoYW5nZXMAAAhVc2VOYW1lSW5zdGVhZE9mVGFnQXNJZAABCFNoYXBlUHJldmlvdXNseUNyZWF0ZWQAAANGaWxsQ29sb3IAVQAAABBBAAAAAAAQUgD/AAAAEEcA/wAAABBCAP8AAAABU2NBAAAAAAAAAAAAAVNjUgAAAAAAAADwPwFTY0cAAAAAAAAA8D8BU2NCAAAAAAAAAPA/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8D8BV2lkdGgAAAAAAAAA8D8BVG9wAAAAAKCMGCJAAUxlZnQAAAAAoIwYIk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JOYW1lABUAAABEYXRhQ2hhcnRDb0F1dGhvcmluZwAQVmVyc2lvbgAAAAAACUxhc3RXcml0ZQDtspA1lwEAAAACABcAAAAAAAMA/////2sAawAAAAVfaWQAEAAAAASiIHVwnM96Q6NxyzQ2sEzoA0RhdGEAEgAAAAhJc1JldmVyc2VkAAAAAk5hbWUACgAAAFdhdGVyZmFsbAAQVmVyc2lvbgAAAAAACUxhc3RXcml0ZQB4jTDTYgEAAAAEAP////9hAGEAAAAFX2lkABAAAAAE5uRJdE7JHk6ZJmSC6WkpkAREYXRhAAUAAAAAAk5hbWUADQAAAExpbmtEYXRhTGlzdAAQVmVyc2lvbgAAAAAACUxhc3RXcml0ZQA80Ys1lwEAAAAFAP////97AHsAAAAFX2lkABAAAAAEm1ZYfccSiUCM6UmrzmHonwNEYXRhABIAAAAEU2VyaWVzAAUAAAAAAAJOYW1lABoAAABTaGFwZUNvbnN0cnVjdGVkQ2hhcnREYXRhABBWZXJzaW9uAAAAAAAJTGFzdFdyaXRlAFulXWiJ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wAAAAX/////EAAAAOcPAAAAAAAAAAAAAMbiAAAFX2lkABAAAAAEDcPbWZoKk0+RkKFzeO+1XwNEYXRhAGziAAADRGF0YUxhYmVsc1BlckF4aXMANeIAAANQcmltYXJ5APbfAAAERGF0YUxhYmVscwDV3QAAAzAALBYAABBQb2ludEluZGV4AAEAAAACQWxpZ25tZW50AAcAAABDZW50ZXIAEFNlcmllc0luZGV4AAEAAAAIUmVxdWlyZUZvbnRDb2xvck1pZ3JhdGlvbgAACE1hbnVhbERhdGFMYWJlbEJhY2tncm91bmRWaXNpYmxlAAEISGFzV2lzaENvbG9yAAADVGV4dEJveAC6BgAABU1hbmFnZWRJZAAQAAAABEgH7N99UlNJuv4pyXL/tqg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ODQlAAJUZXh0SG9yaXpvbnRhbEFsaWdubWVudAAOAAAAbXNvQW5jaG9yTm9uZQ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ZACEZvbnRTdHJpa2V0aHJvdWdoAAAIRm9udFN1YnNjcmlwdAAACEZvbnRTdXBlcnNjcmlwdAAACEZvbnRVbmRlcmxpbmUAAAAIU2l6ZVRvVGV4dFdpZHRoAAEIU2l6ZVRvVGV4dEhlaWdodAABA1RleHRNYXJnaW4APwAAAAFMZWZ0AAAAAMBarfY/AVRvcAAAAACgSCTiPwFSaWdodAAAAADAWq32PwFCb3R0b20AAAAAoEgk4j8AAkRpc3BsYXlUZXh0AAQAAAA4NCUAAUhlaWdodAAAAAAgYAgtQAFXaWR0aAAAAADArvI4QAFUb3AAAAAAgGQnIUABTGVmdAAAAABA8Vt2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DTGVhZGVyTGluZQDhBgAAA1N0YXJ0ABsAAAABWAAAAAARuL+EQAFZAAAAAMB3mjhAAANFbmQAGwAAAAFYAAAAABG4v4RAAVkAAAAA4ORDdEAAAlN0YXJ0QXJyb3dIZWFkABEAAABtc29BcnJvd2hlYWROb25lAAJFbmRBcnJvd0hlYWQAEQAAAG1zb0Fycm93aGVhZE5vbmUABU1hbmFnZWRJZAAQAAAABDrqVvSpJaJCortOQJ2nwiw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gPbpyQAFXaWR0aAAAAAAAAAAAAAFUb3AAAAAAwHeaOEABTGVmdAAAAAAguL+E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Ebi/hEABWQAAAADg5HN0QAADRW5kABsAAAABWAAAAAARuL+EQAFZAAAAAODkQ3RAAAJTdGFydEFycm93SGVhZAARAAAAbXNvQXJyb3doZWFkTm9uZQACRW5kQXJyb3dIZWFkABEAAABtc29BcnJvd2hlYWROb25lAAVNYW5hZ2VkSWQAEAAAAASKR3492Y3JQKg9oExx18EQCEhhc0NoYW5nZXMAAQhVc2VOYW1lSW5zdGVhZE9mVGFnQXNJZAABCFNoYXBlUHJldmlvdXNseUNyZWF0ZWQAAANGaWxsQ29sb3IAVQAAABBBAAAAAAAQUgAAAAAAEEcAAAAAABBCAAAAAAABU2NBAAAAAAAAAPC/AVNjUgAAAAAAAADwvwFTY0cAAAAAABAAAAAFDwAAABEAAADnDwAAAAAA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hAAVdpZHRoAAAAAAAAAAAAAVRvcAAAAADg5EN0QAFMZWZ0AAAAACC4v4RACEZsaXBIb3Jpem9udGFsbHkAAAhGbGlwSG9yaXpvbnRhbGx5QXBwbGllZAAACEZsaXBWZXJ0aWNhbGx5AAE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LaGI3dAAVkAAAAAUNmYLUAACEhhc0xlYWRlckxpbmUAAAhJc0NlbnRlckF1dG9tYXRpY0FkanVzdGVkAAAISXNVc2VyUG9zaXRpb24AAAhBZGRQcmVmaXhTcGFjZQAACEFkZFBvc3RmaXhTcGFjZQAAAlNlcGFyYXRvcgACAAAACgACVGV4dAAEAAAAODQlAAhSZXF1aXJlUmVsYXRpdmVQb3NpdGlvblVwZ3JhZGUAAAhJc0dlb21ldHJ5T3V0T2ZCb3VuZHMAAAhJc0xlYWRlckxpbmVJbkF1dG9Nb2RlAAEIRGVsZXRlZAAAAAMxACwWAAAQUG9pbnRJbmRleAACAAAAAkFsaWdubWVudAAHAAAAQ2VudGVyABBTZXJpZXNJbmRleAABAAAACFJlcXVpcmVGb250Q29sb3JNaWdyYXRpb24AAAhNYW51YWxEYXRhTGFiZWxCYWNrZ3JvdW5kVmlzaWJsZQABCEhhc1dpc2hDb2xvcgAAA1RleHRCb3gAugYAAAVNYW5hZ2VkSWQAEAAAAASL/4noEnj3R7tQIt4Ul7LQ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AAAADUyJQACVGV4dEhvcml6b250YWxBbGlnbm1lbnQADgAAAG1zb0FuY2hvck5vbmU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mQAhGb250U3RyaWtldGhyb3VnaAAACEZvbnRTdWJzY3JpcHQAAAhGb250U3VwZXJzY3JpcHQAAAhGb250VW5kZXJsaW5lAAAACFNpemVUb1RleHRXaWR0aAABCFNpemVUb1RleHRIZWlnaHQAAQNUZXh0TWFyZ2luAD8AAAABTGVmdAAAAADAWq32PwFUb3AAAAAAoEgk4j8BUmlnaHQAAAAAwFqt9j8BQm90dG9tAAAAAKBIJOI/AAJEaXNwbGF5VGV4dAAEAAAANTIlAAFIZWlnaHQAAAAAIGAILUABV2lkdGgAAAAAwK7yOEABVG9wAAAAAMCkH0RAAUxlZnQAAAAAAGRpck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0xlYWRlckxpbmUA4QYAAANTdGFydAAbAAAAAVgAAAAAYl7ifUABWQAAAADAWPVLQAADRW5kABsAAAABWAAAAABiXuJ9QAFZAAAAAEDhTnJAAAJTdGFydEFycm93SGVhZAARAAAAbXNvQXJyb3doZWFkTm9uZQACRW5kQXJyb3dIZWFkABEAAABtc29BcnJvd2hlYWROb25lAAVNYW5hZ2VkSWQAEAAAAAR0WRqUjkKfTLf4esV9UdgR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MRAAAABRAAAAASAAAA5w8AAAAAAAAAAAAA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EBsoG1AAVdpZHRoAAAAAAAAAAAAAVRvcAAAAADAWPVLQAFMZWZ0AAAAAGBe4n1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BiXuJ9QAFZAAAAAEDhfnJAAANFbmQAGwAAAAFYAAAAAGJe4n1AAVkAAAAAQOFOckAAAlN0YXJ0QXJyb3dIZWFkABEAAABtc29BcnJvd2hlYWROb25lAAJFbmRBcnJvd0hlYWQAEQAAAG1zb0Fycm93aGVhZE5vbmUABU1hbmFnZWRJZAAQAAAABNgEMa6OorhGtkWCiCDC/y0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QOFOckABTGVmdAAAAABgXuJ9QAhGbGlwSG9yaXpvbnRhbGx5AAAIRmxpcEhvcml6b250YWxseUFwcGxpZWQAAAhGbGlwVmVydGljYWxseQAB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B2+TBzQAFZAAAAAPQBPEdAAAhIYXNMZWFkZXJMaW5lAAAISXNDZW50ZXJBdXRvbWF0aWNBZGp1c3RlZAAACElzVXNlclBvc2l0aW9uAAAIQWRkUHJlZml4U3BhY2UAAAhBZGRQb3N0Zml4U3BhY2UAAAJTZXBhcmF0b3IAAgAAAAoAAlRleHQABAAAADUyJQAIUmVxdWlyZVJlbGF0aXZlUG9zaXRpb25VcGdyYWRlAAAISXNHZW9tZXRyeU91dE9mQm91bmRzAAAISXNMZWFkZXJMaW5lSW5BdXRvTW9kZQABCERlbGV0ZWQAAAADMgAsFgAAEFBvaW50SW5kZXgAAwAAAAJBbGlnbm1lbnQABwAAAENlbnRlcgAQU2VyaWVzSW5kZXgAAQAAAAhSZXF1aXJlRm9udENvbG9yTWlncmF0aW9uAAAITWFudWFsRGF0YUxhYmVsQmFja2dyb3VuZFZpc2libGUAAQhIYXNXaXNoQ29sb3IAAANUZXh0Qm94ALoGAAAFTWFuYWdlZElkABAAAAAE2e7tsU/LZkOkmWQXZL/U0A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QAAAA1MiUAAlRleHRIb3Jpem9udGFsQWxpZ25tZW50AA4AAABtc29BbmNob3JOb25lAAJQYXJhZ3JhcGhBbGlnbm1lbnQADwAAAG1zb0FsaWduQ2VudGVyAAJUZXh0VmVydGljYWxBbGlnbm1lbnQAEAAAAG1zb0FuY2hvck1pZGRsZQADRm9uEgAAAAURAAAAEwAAAOcPAAAAAAAAAAAAAH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ZACEZvbnRTdHJpa2V0aHJvdWdoAAAIRm9udFN1YnNjcmlwdAAACEZvbnRTdXBlcnNjcmlwdAAACEZvbnRVbmRlcmxpbmUAAAAIU2l6ZVRvVGV4dFdpZHRoAAEIU2l6ZVRvVGV4dEhlaWdodAABA1RleHRNYXJnaW4APwAAAAFMZWZ0AAAAAMBarfY/AVRvcAAAAACgSCTiPwFSaWdodAAAAADAWq32PwFCb3R0b20AAAAAoEgk4j8AAkRpc3BsYXlUZXh0AAQAAAA1MiUAAUhlaWdodAAAAAAgYAgtQAFXaWR0aAAAAADArvI4QAFUb3AAAAAAgLf6UUABTGVmdAAAAAAAZGly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DTGVhZGVyTGluZQDhBgAAA1N0YXJ0ABsAAAABWAAAAAAB4QNzQAFZAAAAAOC6zlVAAANFbmQAGwAAAAFYAAAAAAHhA3NAAVkAAAAAIP1ibkAAAlN0YXJ0QXJyb3dIZWFkABEAAABtc29BcnJvd2hlYWROb25lAAJFbmRBcnJvd0hlYWQAEQAAAG1zb0Fycm93aGVhZE5vbmUABU1hbmFnZWRJZAAQAAAABPN0t+A6faNEgIgoek4C3y4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n3tjQAFXaWR0aAAAAAAAAAAAAAFUb3AAAAAA4LrOVUABTGVmdAAAAAAA4QNz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eEDc0ABWQAAAAAg/cJuQAADRW5kABsAAAABWAAAAAAB4QNzQAFZAAAAACD9Ym5AAAJTdGFydEFycm93SGVhZAARAAAAbXNvQXJyb3doZWFkTm9uZQACRW5kQXJyb3dIZWFkABEAAABtc29BcnJvd2hlYWROb25lAAVNYW5hZ2VkSWQAEAAAAASlDh5Pnqf+R4ULAPvUoKA3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CEABV2lkdGgAAAAAAAAAABMAAAAFEgAAABQAAADnDwAAAAAAAAAAAAAAAVRvcAAAAAAg/WJuQAFMZWZ0AAAAAADhA3NACEZsaXBIb3Jpem9udGFsbHkAAAhGbGlwSG9yaXpvbnRhbGx5QXBwbGllZAAACEZsaXBWZXJ0aWNhbGx5AAE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Hb5MHNAAVkAAAAAGuaIU0AACEhhc0xlYWRlckxpbmUAAAhJc0NlbnRlckF1dG9tYXRpY0FkanVzdGVkAAAISXNVc2VyUG9zaXRpb24AAAhBZGRQcmVmaXhTcGFjZQAACEFkZFBvc3RmaXhTcGFjZQAAAlNlcGFyYXRvcgACAAAACgACVGV4dAAEAAAANTIlAAhSZXF1aXJlUmVsYXRpdmVQb3NpdGlvblVwZ3JhZGUAAAhJc0dlb21ldHJ5T3V0T2ZCb3VuZHMAAAhJc0xlYWRlckxpbmVJbkF1dG9Nb2RlAAEIRGVsZXRlZAAAAAMzACwWAAAQUG9pbnRJbmRleAAEAAAAAkFsaWdubWVudAAHAAAAQ2VudGVyABBTZXJpZXNJbmRleAABAAAACFJlcXVpcmVGb250Q29sb3JNaWdyYXRpb24AAAhNYW51YWxEYXRhTGFiZWxCYWNrZ3JvdW5kVmlzaWJsZQABCEhhc1dpc2hDb2xvcgAAA1RleHRCb3gAugYAAAVNYW5hZ2VkSWQAEAAAAAR5vNoHrLqTRon5FL3wcdCB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AAAADUwJQACVGV4dEhvcml6b250YWxBbGlnbm1lbnQADgAAAG1zb0FuY2hvck5vbmU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mQAhGb250U3RyaWtldGhyb3VnaAAACEZvbnRTdWJzY3JpcHQAAAhGb250U3VwZXJzY3JpcHQAAAhGb250VW5kZXJsaW5lAAAACFNpemVUb1RleHRXaWR0aAABCFNpemVUb1RleHRIZWlnaHQAAQNUZXh0TWFyZ2luAD8AAAABTGVmdAAAAADAWq32PwFUb3AAAAAAoEgk4j8BUmlnaHQAAAAAwFqt9j8BQm90dG9tAAAAAKBIJOI/AAJEaXNwbGF5VGV4dAAEAAAANTAlAAFIZWlnaHQAAAAAIGAILUABV2lkdGgAAAAAwK7yOEABVG9wAAAAAKCc5VlAAUxlZnQAAAAAIDsqck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0xlYWRlckxpbmUA4QYAAANTdGFydAAbAAAAAVgAAAAAwgroekABWQAAAABgyaJdQAADRW5kABsAAAABWAAAAADCCuh6QAFZAAAAAOCzyWxAAAJTdGFydEFycm93SGVhZAARAAAAbXNvQXJyb3doZWFkTm9uZQACRW5kQXJyb3dIZWFkABEAAABtc29BcnJvd2hlYWROb25lAAVNYW5hZ2VkSWQAEAAAAAS6djmKCazBQKbJBW2zTzVD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YJ7wW0ABV2lkdGgAAAAAAAAAAAABVG9wAAAAAGDJol1AAUxlZnQAAAAAwAroekAIRmxpcEhvcml6b250YWxseQAACEZsaXBIb3Jpem9udGFsbHlBcHBsaWVkAAAIRmxpcFZlcnRpY2FsbHkAAAhGbGlwVmVydGljYWxseUFwcGxpZWQAAAFSb3RhdGlvbgAAAAAAAAAAAAFaT3JkZXIAAAAAAAAAAAADQm9yZGVyQ29sb3IAVQAAABBBAP8AAAAUAAAABRMAAAAVAAAA5w8AAAAAAAAA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DCCuh6QAFZAAAAAOCzKW1AAANFbmQAGwAAAAFYAAAAAMIK6HpAAVkAAAAA4LPJbEAAAlN0YXJ0QXJyb3dIZWFkABEAAABtc29BcnJvd2hlYWROb25lAAJFbmRBcnJvd0hlYWQAEQAAAG1zb0Fycm93aGVhZE5vbmUABU1hbmFnZWRJZAAQAAAABAObr2ebTJZMmZMdIlYQS3U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4LPJbEABTGVmdAAAAADACuh6QAhGbGlwSG9yaXpvbnRhbGx5AAAIRmxpcEhvcml6b250YWxseUFwcGxpZWQAAAhGbGlwVmVydGljYWxseQAB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CW0PFyQAFZAAAAADrLc1tAAAhIYXNMZWFkZXJMaW5lAAAISXNDZW50ZXJBdXRvbWF0aWNBZGp1c3RlZAAACElzVXNlclBvc2l0aW9uAAAIQWRkUHJlZml4U3BhY2UAAAhBZGRQb3N0Zml4U3BhY2UAAAJTZXBhcmF0b3IAAgAAAAoAAlRleHQABAAAADUwJQAIUmVxdWlyZVJlbGF0aXZlUG9zaXRpb25VcGdyYWRlAAAISXNHZW9tZXRyeU91dE9mQm91bmRzAAAISXNMZWFkZXJMaW5lSW5BdXRvTW9kZQABCERlbGV0ZWQAAAADNAAsFgAAEFBvaW50SW5kZXgABQAAAAJBbGlnbm1lbnQABwAAAENlbnRlcgAQU2VyaWVzSW5kZXgAAQAAAAhSZXF1aXJlRm9udENvbG9yTWlncmF0aW9uAAAITWFudWFsRGF0YUxhYmVsQmFja2dyb3VuZFZpc2libGUAAQhIYXNXaXNoQ29sb3IAAANUZXh0Qm94ALoGAAAFTWFuYWdlZElkABAAAAAEr3eVzFNiwUm9d1PmXVOc1Q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QAAAA0NSUAAlRleHRIb3Jpem9udGFsQWxpZ25tZW50AA4AAABtc29BbmNob3JOb25l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kAIRm9udFN0cmlrZXRocm91Z2gAAAhGb250U3Vic2NyaXB0AAAIRm9udFN1cGVyc2NyaXB0AAAIRm9udFVuZGVybGluZQAAAAhTaXplVG9UZXh0V2lkdGgAAQhTaXplVG9UZXh0SGVpZ2h0AAEDVGV4dE1hcmdpbgA/AAAAAUxlZnQAAAAAwFqt9j8BVG9wAAAAAKBIJOI/AVJpZ2h0AAAAAMBarfY/AUJvdHRvbQAAAACgSCTiPwACRGlzcGxheVRleHQABAAAADQ1JQABSGVpZ2h0AAAAACBgCC1AAVdpZHRoAAAAAMCu8jhAAVRvcAAAAABAQehgQAFMZWZ0AAAAACAEhnF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FQAAAAUUAAAAFgAAAOcPAAAAAAAAAAAAA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DTGVhZGVyTGluZQDhBgAAA1N0YXJ0ABsAAAABWAAAAACCw6t/QAFZAAAAAABsu2JAAANFbmQAGwAAAAFYAAAAAILDq39AAVkAAAAAQKzfaEAAAlN0YXJ0QXJyb3dIZWFkABEAAABtc29BcnJvd2hlYWROb25lAAJFbmRBcnJvd0hlYWQAEQAAAG1zb0Fycm93aGVhZE5vbmUABU1hbmFnZWRJZAAQAAAABKp0m82eua9FlxcduUcYD8Y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ZFIQAFXaWR0aAAAAAAAAAAAAAFUb3AAAAAAAGy7YkABTGVmdAAAAACAw6t/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gsOrf0ABWQAAAABArD9pQAADRW5kABsAAAABWAAAAACCw6t/QAFZAAAAAECs32hAAAJTdGFydEFycm93SGVhZAARAAAAbXNvQXJyb3doZWFkTm9uZQACRW5kQXJyb3dIZWFkABEAAABtc29BcnJvd2hlYWROb25lAAVNYW5hZ2VkSWQAEAAAAAQ6ftzvUEzWRIkrpXBgmmgH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CEABV2lkdGgAAAAAAAAAAAABVG9wAAAAAECs32hAAUxlZnQAAAAAgMOrf0AIRmxpcEhvcml6b250YWxseQAACEZsaXBIb3Jpem9udGFsbHlBcHBsaWVkAAAIRmxpcFZlcnRpY2FsbHkAAQ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lplNckABWQAAAACNWK9hQAAISGFzTGVhZGVyTGluZQAACElzQ2VudGVyQXV0b21hdGljQWRqdXN0ZWQAAAhJc1VzZXJQb3NpdGlvbgAACEFkZFByZWZpeFNwYWNlAAAIQWRkUG9zdGZpeFNwYWNlAAACU2VwYXJhdG9yAAIAAAAKAAJUZXh0AAQAAAA0NSUACFJlcXVpcmVSZWxhdGl2ZVBvc2l0aW9uVXBncmFkZQAACElzR2VvbWV0cnlPdXRPZkJvdW5kcwAACElzTGVhZGVyTGluZUluQXV0b01vZGUAAQhEZWxldGVkAAAAAzUALBYAABBQbxYAAAAFFQAAAKcAAADnDwAAAAAAAAAAAABpbnRJbmRleAAGAAAAAkFsaWdubWVudAAHAAAAQ2VudGVyABBTZXJpZXNJbmRleAABAAAACFJlcXVpcmVGb250Q29sb3JNaWdyYXRpb24AAAhNYW51YWxEYXRhTGFiZWxCYWNrZ3JvdW5kVmlzaWJsZQABCEhhc1dpc2hDb2xvcgAAA1RleHRCb3gAugYAAAVNYW5hZ2VkSWQAEAAAAASsLAbZkQMYTrE4e7AJoxBp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AAAADM0JQACVGV4dEhvcml6b250YWxBbGlnbm1lbnQADgAAAG1zb0FuY2hvck5vbmU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mQAhGb250U3RyaWtldGhyb3VnaAAACEZvbnRTdWJzY3JpcHQAAAhGb250U3VwZXJzY3JpcHQAAAhGb250VW5kZXJsaW5lAAAACFNpemVUb1RleHRXaWR0aAABCFNpemVUb1RleHRIZWlnaHQAAQNUZXh0TWFyZ2luAD8AAAABTGVmdAAAAADAWq32PwFUb3AAAAAAoEgk4j8BUmlnaHQAAAAAwFqt9j8BQm90dG9tAAAAAKBIJOI/AAJEaXNwbGF5VGV4dAAEAAAAMzQlAAFIZWlnaHQAAAAAIGAILUABV2lkdGgAAAAAwK7yOEABVG9wAAAAAMCz3WRAAUxlZnQAAAAAIJY9c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0xlYWRlckxpbmUA4QYAAANTdGFydAAbAAAAAVgAAAAAgCjfdkABWQAAAAAVlipmQAADRW5kABsAAAABWAAAAACokWpoQAFZAAAAABWWKmZAAAJTdGFydEFycm93SGVhZAARAAAAbXNvQXJyb3doZWFkTm9uZQACRW5kQXJyb3dIZWFkABEAAABtc29BcnJvd2hlYWROb25lAAVNYW5hZ2VkSWQAEAAAAASKULfsH2G4Tq5oyE2hm7LL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YL9TZUABVG9wAAAAACCWKmZAAUxlZnQAAAAAoJFqaEAIRmxpcEhvcml6b250YWxseQAB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KiRCmhAAVkAAAAAFZYqZkAAA0VuZAAbAAAAAVgAAAAAqJFqaEABWQAAAAAVlipmQAACU3RhcnRBcnJvd0hlYWQAEQAAAG1zb0Fycm93aGVhZE5vbmUAAkVuZEFycm93SGVhZAARAAAAbXNvQXJyb3doZWFkTm9uZQAFTWFuYWdlZElkABAAAAAENOfRXvAtBk+qvv4uOIYqw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XAAAABf////8YAAAA5w8AAAAAAAAAAAAAFygAAAVfaWQAEAAAAAQEcztnqpITQK4ARKjKOeSqA0RhdGEAvycAAARTYXZlZEF4aXNMYWJlbERhdGEApicAAAMwALcNAAACQXhpc1R5cGUACAAAAHhsVmFsdWUAAkF4aXNHcm91cAAKAAAAeGxQcmltYXJ5AAhTY2hlbWVDb2xvckFwcGxpZWQAAAhGb250U3R5bGVVbmRlcmxpbmVkAAAIQXBwbHlPdmVyYWxsRm9udHNpemUAAQhJc1Zpc2libGUAAAhYbEF1dG9tYXRpY0NvbG9ySW5kZXhBcHBsaWVkAAAIVXNlRXhjZWxGb3JtYXRzV2hlbkRhdGVBeGlzAAADQXhpc1RpdGxlRGF0YQCUCAAAA1Bvc2l0aW9uADoAAAACQW5jaG9yAAsAAABBeGlzQ2VudGVyAAFSZWxhdGl2ZUFuY2hvck9mZnNldAAAAAAAAAAAAAAIV2FudFRvQmVWaXNpYmxlAAADVGV4dEJveERhdGEArwYAAAVNYW5hZ2VkSWQAEAAAAATcTtxopAwgSpxNt8ZONA+0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NAAAAbXNvQWxpZ25MZWZ0AAJUZXh0VmVydGljYWxBbGlnbm1lbnQADQAAAG1zb0FuY2hvclRvcA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MEAIRm9udFN0cmlrZXRocm91Z2gAAAhGb250U3Vic2NyaXB0AAAIRm9udFN1cGVyc2NyaXB0AAAIRm9udFVuZGVybGluZQAAAAhTaXplVG9UZXh0V2lkdGgAAQhTaXplVG9UZXh0SGVpZ2h0AAEDVGV4dE1hcmdpbgA/AAAAAUxlZnQAAAAAAAAAAAABVG9wAAAAAAAAAAAAAVJpZ2h0AAAAAAAAAAAAAUJvdHRvbQAAAAAAAAAAAAACRGlzcGxheVRleHQAAQAAAAABSGVpZ2h0AAAAAMCOQANAAVdpZHRoAAAAAKCZmbk/AVRvcAAAAAAAAAAQQAFMZWZ0AAAAAAAAABB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ADCcwJAAANQb3NzaWJsZUFyZWE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AIVXNlQXV0b21hdGljTWFqb3JVbml0AAEIVXNlQXV0b21hdGljTWluaW11bVNjYWxlAAEIVXNlQXV0b21hdGljTWF4aW11bVNjYWxlAAEDRm9udENvbG9yAFUAAAAQQQD/AAAAEFIAQAAAABBHAEAAAAAQQgBAAAAAAVNjQQAAAAAAAADwPwFTY1IAAAAAwP0/qj8BU2NHAAAAAMD9P6o/AVNjQgAAAADA/T+qPwAQRm9udFNjaGVtZUNvbG9yAAIAAAAQRm9udFRoZW1lQ29sb3IAAAAAAAFGb250VGludEFuZFNoYWRlAAAAAAAAAAAAAkxhYmVsUG9zaXRpb24ABQAAAE5vbmUAA0F4aXNMaW5lU3R5bGUAMwEAAAJfdHlwZQByAAAAbWlvLkNvbW1vbi5Qb3dlclBvaW50Lk1hbmFnZWQuQ29udHJhY3RzLkN1c3RvbWl6aW5nLlN0eWxlcy5BeGlzTGluZVN0eWxlLCBtaW8uQ29tbW9uLlBvd2VyUG9pbnQuTWFuYWdlZC5Db250cmFjdHMAAUxpbmVXZWlnaHQAAAAAAAAA4D8CRGFzaFN0eWxlAAoAAABMaW5lU29saWQACFZpc2libGUAAQNDb2xvcgBzAAAAEFRoZW1lQ29sb3IADQAAAAFUaW50QW5kU2hhZGUAAAAAAAAAAAAQVGludEluZGV4AP////8QU2NoZW1lQ29sb3IAAAAAAANDb2xvcgAhAAAAEEEAAAAAABBSAP8AAAAQRwD/AAAAEEIA/wAAAAAA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DMQAnDAAAAkF4aXNUeXBlAAgAAAB4bFZhbHVlAAJBeGlzR3JvdXAADAAAAHhsU2Vjb25kYXJ5AAhTY2hlbWVDb2xvckFwcGxpZWQAAAhGb250U3R5bGVVbmRlcmxpbmVkAAAIQXBwbHlPdmVyYWxsRm9udHNpemUAAAhJc1Zpc2libGUAAAhYbEF1dG9tYXRpY0NvbG9ySW5kZXhBcHBsaWVkAAAIVXNlRXhjZWxGb3JtYXRzV2hlbkRhdGVBeGlzAAADQXhpc1RpdGxlRGF0YQBHCAAAA1Bvc2l0aW9uADoAAAACQW5jaG9yAAsAAABBeGlzQ2VudGVyAAFSZWxhdGl2ZUFuY2hvck9mZnNldAAAAAAAAAAAAAAIV2FudFRvQmVWaXNpYmxlAAADVGV4dEJveERhdGEAYgYAAAVNYW5hZ2VkSWQAEAAAAASDY2Ky2JhESIWhlKZASttwCEhhc0NoYW5nZXMAAQhVc2VOYW1lSW5zdGVhZE9mVGFnQXNJZAABCFNoYXBlUHJldmlvdXNseUNyZWF0ZWQAAANGaWxsQ29sb3IAVQAAABBBAAAAAAAQUgAAAAAAEEcAAAAAABBCAAAAAAABU2NBAAAAAAAAAPC/AVNjUgAAAAAAAADwvwFTY0cAAAAAAAAAGAAAAAUXAAAAGQAAAOcPAAAA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0AAABtc29BbGlnbkxlZnQAAlRleHRWZXJ0aWNhbEFsaWdubWVudAANAAAAbXNvQW5jaG9yVG9wAANGb250U3R5bGUALAEAABBGb250QmFja2dyb3VuZAAAAAAACEZvbnRCb2xkAAADRm9udENvbG9yAFUAAAAQQQD/AAAAEFIAAAAAABBHAAAAAAAQQgAAAAAAAVNjQQAAAAAAAADwPwFTY1IAAAAAAAAAAAABU2NHAAAAAAAAAAAAAVNjQgAAAAAAAAAAAAAQRm9udFRoZW1lQ29sb3IAAAAAAAFGb250VGludEFuZFNoYWRlAAAAAAAAAAAAEEZvbnRTY2hlbWVDb2xvcgACAAAACEZvbnRJdGFsaWMAAAFGb250U2l6ZQAAAAAAAAAoQAhGb250U3RyaWtldGhyb3VnaAAACEZvbnRTdWJzY3JpcHQAAAhGb250U3VwZXJzY3JpcHQAAAhGb250VW5kZXJsaW5lAAAACFNpemVUb1RleHRXaWR0aAABCFNpemVUb1RleHRIZWlnaHQAAQNUZXh0TWFyZ2luAD8AAAABTGVmdAAAAAAAAAAAAAFUb3AAAAAAAAAAAAABUmlnaHQAAAAAAAAAAAABQm90dG9tAAAAAAAAAAAAAAFIZWlnaHQAAAAAAAAAAAABV2lkdGgAAAAAAAAAAAABVG9wAAAAAAAAABBAAUxlZnQAAAAAAAAAE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Bvc3NpYmxlQXJlYQ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AAhVc2VBdXRvbWF0aWNNYWpvclVuaXQAAQhVc2VBdXRvbWF0aWNNaW5pbXVtU2NhbGUAAQhVc2VBdXRvbWF0aWNNYXhpbXVtU2NhbGUAAQNGb250Q29sb3IAVQAAABBBAP8AAAAQUgAAAAAAEEcAAAAAABBCAAAAAAABU2NBAAAAAAAAAPA/AVNjUgAAAAAAAAAAAAFTY0cAAAAAAAAAAAABU2NCAAAAAAAAAAAAABBGb250U2NoZW1lQ29sb3IAAgAAABBGb250VGhlbWVDb2xvcgAAAAAAAUZvbnRUaW50QW5kU2hhZGUAAAAAAAAAAAACTGFiZWxQb3NpdGlvbgACAAAAMAADTnVtYmVyRm9ybWF0AB8AAAAFX2lkABAAAAAEAAAAAAAAAAAAAAAAAAAA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AAzIAug0AAAJBeGlzVHlwZQALAAAAeGxDYXRlZ29yeQACQXhpc0dyb3VwAAoAAAB4bFByaW1hcnkACFNjaGVtZUNvbG9yQXBwbGllZAABCEZvbnRTdHlsZVVuZGVybGluZWQAAAhBcHBseU92ZXJhbGxGb250c2l6ZQABCElzVmlzaWJsZQABCFhsQXV0b21hdGljQ29sb3JJbmRleEFwcGxpZWQAAAhVc2VFeGNlbEZvcm1hdHNXaGVuRGF0ZUF4aXMAAQNBeGlzVGl0bGVEYXRhAJQIAAADUG9zaXRpb24AOgAAAAJBbmNob3IACwAAAEF4aXNDZW50ZXIAAVJlbGF0aXZlQW5jaG9yT2Zmc2V0AAAAAAAAAAAAAAhXYW50VG9CZVZpc2libGUAAANUZXh0Qm94RGF0YQCvBgAABU1hbmFnZWRJZAAQAAAABBgcCXM11mdKonS5kZ/ThKk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0AAABtc29BbGlnbkxlZnQAAlRleHRWZXJ0aWNhbEFsaWdubWVudAANAAAAbXNvQW5jaG9yVG9w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wQAhGb250U3RyaWtldGhyb3VnaAAACEZvbnRTdWJzY3JpcHQAAAhGb250U3VwZXJzY3JpcHQAAAhGb250VW5kZXJsaW5lAAAACFNpemVUb1RleHRXaWR0aAABCFNpemVUb1RleHRIZWlnaHQAAQNUZXh0TWFyZ2luAD8AAAABTGVmdAAAAAAAAAAAAAFUb3AAAAAAAAAAAAABUmlnaHQAAAAAAAAAAAABQm90dG9tAAAAAAAAAAAAAAJEaXNwbGF5VGV4dAABAAAAAAFIZWlnaHQAAAAAwI5AA0ABV2lkdGgAAAAAoJmZuT8BVG9wAAAAAAAAABBAAUxlZnQAAAAAAAAAEEAIRmxpcEhvcml6b250YRkAAAAFGAAAAP////9JCJ4HAAAAAAAAAABsbHkAAAhGbGlwSG9yaXpvbnRhbGx5QXBwbGllZAAACEZsaXBWZXJ0aWNhbGx5AAAIRmxpcFZlcnRpY2FsbHlBcHBsaWVkAAABUm90YXRpb24AAAAAAADgcE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ADCcwJAAANQb3NzaWJsZUFyZWE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AIVXNlQXV0b21hdGljTWFqb3JVbml0AAEIVXNlQXV0b21hdGljTWluaW11bVNjYWxlAAEIVXNlQXV0b21hdGljTWF4aW11bVNjYWxlAAEDRm9udENvbG9yAFUAAAAQQQD/AAAAEFIAQAAAABBHAEAAAAAQQgBAAAAAAVNjQQAAAAAAAADwPwFTY1IAAAAAwP0/qj8BU2NHAAAAAMD9P6o/AVNjQgAAAADA/T+qPwAQRm9udFNjaGVtZUNvbG9yAAIAAAAQRm9udFRoZW1lQ29sb3IAAAAAAAFGb250VGludEFuZFNoYWRlAAAAAAAAAAAAAkxhYmVsUG9zaXRpb24ABQAAAE5vbmUAA0F4aXNMaW5lU3R5bGUAMwEAAAJfdHlwZQByAAAAbWlvLkNvbW1vbi5Qb3dlclBvaW50Lk1hbmFnZWQuQ29udHJhY3RzLkN1c3RvbWl6aW5nLlN0eWxlcy5BeGlzTGluZVN0eWxlLCBtaW8uQ29tbW9uLlBvd2VyUG9pbnQuTWFuYWdlZC5Db250cmFjdHMAAUxpbmVXZWlnaHQAAAAAAAAA4D8CRGFzaFN0eWxlAAoAAABMaW5lU29saWQACFZpc2libGUAAQNDb2xvcgBzAAAAEFRoZW1lQ29sb3IADQAAAAFUaW50QW5kU2hhZGUAAAAAAAAAAAAQVGludEluZGV4AP////8QU2NoZW1lQ29sb3IAAAAAAANDb2xvcgAhAAAAEEEAAAAAABBSAP8AAAAQRwD/AAAAEEIA/wAAAAAA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AAAJOYW1lAAkAAABBeGVzRGF0YQAQVmVyc2lvbgAEAAAACUxhc3RXcml0ZQD/7ZE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P//////////BwBJAwAAAAAAAAAAAAAbAAAAAAABAP////9zAHMAAAAFX2lkABAAAAAE6pqVgdn9xk60ohIUuFnKegNEYXRhABcAAAAEU2VyaWVMYWJlbHMABQAAAAAAAk5hbWUADQAAAFNlcmllc0xhYmVscwAQVmVyc2lvbgADAAAACUxhc3RXcml0ZQCmHHPThAEAAAACAP////8QBRAFAAAFX2lkABAAAAAEhps7iKIOsUm52bvF4WUDKwNEYXRhALAEAAADR3JpZExpbmVTdHlsZXNEYXRhAJcEAAADUHJpbWFyeVZhbHVlQXhpc0dyaWRMaW5lU3R5bGUAHQIAAANNYWpvclVuaXRMaW5lU3R5bGUA+AAAAANDb2xvcgBVAAAAEEEA/wAAABBSAIkAAAAQRwCJAAAAEEIAiQAAAAFTY0EAAAAAAAAA8D8BU2NSAAAAAACYAtA/AVNjRwAAAAAAmALQPwFTY0IAAAAAAJgC0D8AAlNjaGVtZUNvbG9ySW5kZXgAEQAAAHBwTm90U2NoZW1lQ29sb3IAEFRoZW1lQ29sb3JJbmRleAAAAAAAAVRpbnRBbmRTaGFkZQAAAAAAAADQPwFMaW5lV2VpZ2h0AAAAAAAAAOA/AkRhc2hTdHlsZQAKAAAATGluZVNvbGlkAAhWaXNpYmxlAAEISXNBdXRvbWF0aWMAAQADTWlub3JVbml0TGluZVN0eWxlAPgAAAADQ29sb3IAVQAAABBBAP8AAAAQUgC8AAAAEEcAvAAAABBCALwAAAABU2NBAAAAAAAAAPA/AVNjUgAAAABgpRfgPwFTY0cAAAAAYKUX4D8BU2NCAAAAAGClF+A/AAJTY2hlbWVDb2xvckluZGV4ABEAAABwcE5vdFNjaGVtZUNvbG9yABBUaGVtZUNvbG9ySW5kZXgAAAAAAAFUaW50QW5kU2hhZGUAAAAAAAAA4D8BTGluZVdlaWdodAAAAAAAAADgPwJEYXNoU3R5bGUACgAAAExpbmVTb2xpZAAIVmlzaWJsZQAACElzQXV0b21hdGljAAAAAANQcmltYXJ5Q2F0ZWdvcnlBeGlzR3JpZExpbmVTdHlsZQAdAgAAA01ham9yVW5pdExpbmVTdHlsZQD4AAAAA0NvbG9yAFUAAAAQQQD/AAAAEFIAiQAAABBHAIkAAAAQQgCJAAAAAVNjQQAAAAAAAADwPwFTY1IAAAAAAJgC0D8BU2NHAAAAAACYAtA/AVNjQgAAAAAAmALQPwACU2NoZW1lQ29sb3JJbmRleAARAAAAcHBOb3RTY2hlbWVDb2xvcgAQVGhlbWVDb2xvckluZGV4AAAAAAABVGludEFuZFNoYWRlAAAAAAAAANA/AUxpbmVXZWlnaHQAAAAAAAAA4D8CRGFzaFN0eWxlAAoAAABMaW5lU29saWQACFZpc2libGUAAQhJc0F1dG9tYXRpYwAAAANNaW5vclVuaXRMaW5lU3R5bGUA+AAAAANDb2xvcgBVAAAAEEEA/wAAABBSALwAAAAQRwC8AAAAEEIAvAAAAAFTY0EAAAAAAAAA8D8BU2NSAAAAAGClF+A/AVNjRwAAAABgpRfgPwFTY0IAAAAAYKUX4D8AAlNjaGVtZUNvbG9ySW5kZXgAEQAAAHBwTm90U2NoZW1lQ29sb3IAEFRoZW1lQ29sb3JJbmRleAAAAAAAAVRpbnRBbmRTaGFkZQAAAAAAAADgPwFMaW5lV2VpZ2h0AAAAAAAAAOA/AkRhc2hTdHlsZQAKAAAATGluZVNvbGlkAAhWaXNpYmxlAAAISXNBdXRvbWF0aWMAAAAACFNob3dHcmlkbGluZXNEZWZhdWx0AAEAAAJOYW1lABEAAABHcmlkbGluZVNldHRpbmdzABBWZXJzaW9uAAAAAAAJTGFzdFdyaXRlAEA2Wl6NAQAAAAMAHgAAAAAABAD/////cABwAAAABV9pZAAQAAAABPCrdKR/pEtBqZs450HTw2QDRGF0YQAWAAAAAlBlcnNvbmFsSWQAAQAAAAAAAk5hbWUACwAAAFBlcnNvbmFsSWQAEFZlcnNpb24AAAAAAAlMYXN0V3JpdGUAI4fUGncBAAAABQAgAAAAAAAGAP////9zBnMGAAAFX2lkABAAAAAEx2xTqVMqbkCK2YnpJfDWWwNEYXRhABcGAAAEUG9pbnRDb2xvckluZGljZXMA3QQAAAMwAPUAAAAQU2VyaWVzSW5kZXgAAQAAABBQb2ludEluZGV4AAEAAAADQ29sb3IAVQAAABBBAP8AAAAQUgASAAAAEEcAPwAAABBCAG4AAAABU2NBAAAAAAAAAPA/AVNjUgAAAABgqcZ4PwFTY0cAAAAAoCNzqT8BU2NCAAAAAABm9cM/AANDb2xvckluZGV4SW5DdXN0b21pemluZwBaAAAAEFRoZW1lQ29sb3JTY2hlbWVJbmRleAAFAAAAAkluZGV4AAcAAABOb1RpbnQACElzRGVmYXVsdENvbG9yAAAQRGVmYXVsdENvbG9ySW5kZXgA/////wAAAzEA9QAAABBTZXJpZXNJbmRleAABAAAAEFBvaW50SW5kZXgAAgAAAANDb2xvcgBVAAAAEEEA/wAAABBSABIAAAAQRwA/AAAAEEIAbgAAAAFTY0EAAAAAAAAA8D8BU2NSAAAAAGCpxng/AVNjRwAAAACgI3OpPwFTY0IAAAAAAGb1wz8AA0NvbG9ySW5kZXhJbkN1c3RvbWl6aW5nAFoAAAAQVGhlbWVDb2xvclNjaGVtZUluZGV4AAUAAAACSW5kZXgABwAAAE5vVGludAAISXNEZWZhdWx0Q29sb3IAABBEZWZhdWx0Q29sb3JJbmRleAD/////AAADMgD1AAAAEFNlcmllc0luZGV4AAEAAAAQUG9pbnRJbmRleAADAAAAA0NvbG9yAFUAAAAQQQD/AAAAEFIAEgAAABBHAD8AAAAQQgBuAAAAAVNjQQAAAAAAAADwPwFTY1IAAAAAYKnGeD8BU2NHAAAAAKAjc6k/AVNjQgAAAAAAZvXDPwADQ29sb3JJbmRleEluQ3VzdG9taXppbmcAWgAAABBUaGVtZUNvbG9yU2NoZW1lSW5kZXgABQAAAAJJbmRleAAHAAAATm9UaW50AAhJc0RlZmF1bHRDb2xvcgAAEERlZmF1bHRDb2xvckluZGV4AP////8AAAMzAPUAAAAQU2VyaWVzSW5kZXgAAQAAABBQb2ludEluZGV4AAQAAAADQ29sb3IAVQAAABBBAP8AAAAQUgASAAAAEEcAPwAAABBCAG4AAAABU2NBAAAAAAAAAPA/AVNjUgAAAABgqcZ4PwFTY0cAAAAAoCNzqT8BU2NCAAAAAABm9cM/AANDb2xvckluZGV4SW5DdXN0b21pemluZwBaAAAAEFRoZW1lQ29sb3JTY2hlbWVJbmRleAAFAAAAAkluZGV4AAcAAABOb1RpbnQACElzRGVmYXVsdENvbG9yAAAQRGVmYXVsdENvbG9ySW5kZXgA/////wAAAzQA9QAAABBTZXJpZXNJbmRleAABAAAAEFBvaW50SW5kZXgABQAAAANDb2xvcgBVAAAAEEEA/wAAABBSABIAAAAQRwA/AAAAEEIAbgAAAAFTY0EAAAAAAAAA8D8BU2NSAAAAAGCpxng/AVNjRwAAAACgI3OpPwFTY0IAAAAAAGb1wz8AA0NvbG9ySW5kZXhJbkN1c3RvbWl6aW5nAFoAAAAQVGhlbWVDb2xvclNjaGVtZUluZGV4AAUAAAACSW5kZXgABwAAAE5vVGludAAISXNEZWZhdWx0Q29sb3IAABBEZWZhdWx0Q29sb3JJbmRleAD/////AAAABFNlcmllc0NvbG9ySW5kaWNlcwDtAAAAAzAA5QAAABBTZXJpZXNJbmRleAABAAAAA0NvbG9yAFUAAAAQQQD/AAAAEFIAEgAAABBHAD8AAAAQQgBuAAAAAVNjQQAAAAAAAADwPwFTY1IAAAAAYKnGeD8BU2NHAAAAAKAjc6k/AVNjQgAAAAAAZvXDPwADQ29sb3JJbmRleEluQ3VzdG9taXppbmcAWgAAABBUaGVtZUNvbG9yU2NoZW1lSW5kZXgABQAAAAJJbmRleAAHAAAATm9UaW50AAhJc0RlZmF1bHRDb2xvcgAAEERlZmF1bHRDb2xvckluZGV4AP////8AAAAETmVnYXRpdmVTZXJpZXNDb2xvckluZGljZXMABQAAAAAAAk5hbWUADQAAAENvbG9ySW5kaWNlcwAQVmVyc2lvbgACAAAACUxhc3RXcml0ZQAnIGDse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wAAAAX/////HAAAAOcPAAAAAAAAAAAAAK1QAAAFX2lkABAAAAAEpcbFf1KIH0uY03o5+QKWxQREYXRhAFVQAAADMAAFCAAABV9pZAAQAAAABJNKJHV1oY9Ft2zHOOHugucCX3R5cGUAVwAAAGVtcG93ZXIuQ2hhcnRzLkRhdGEuRGF0YUNoYXJ0cy5PdmVybGF5cy5EYXRhLkNvbHVtblN1bU92ZXJsYXlEYXRhLCBlbXBvd2VyLkNoYXJ0cy5EYXRhABBDb2x1bW4AAQAAABBTZXJpZXMA/////wNUZXh0RWxlbWVudADrBgAAAkF1dG9TaGFwZVR5cGUACgAAAFJlY3RhbmdsZQAEQWRqdXN0bWVudHMABQAAAAAFTWFuYWdlZElkABAAAAAELqmMGA27lE6NtupQ2pomxg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kZvbnROYW1lAAcAAAArbW4tbHQAAUZvbnRTaXplAAAAAAAAACZ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INfDKkABV2lkdGgAAAAA4K7yOE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kNvbHVtblN1bVBvc2l0aW9uAAwAAABEZWZhdWx0RG9jawAIRGVsZXRlZAABA051bWJlckZvcm1hdAAfAAAABV9pZAAQAAAABAAAAAAAAAAAAAAAAAAAAAAACElzTmV3AAEBRm9udFNpemUAAAAAAAAAJEAAAzEABQgAAAVfaWQAEAAAAAQ1+/6DdZhYQ4DSe/Iuh2XVAl90eXBlAFcAAABlbXBvd2VyLkNoYXJ0cy5EYXRhLkRhdGFDaGFydHMuT3ZlcmxheXMuRGF0YS5Db2x1bW5TdW1PdmVybGF5RGF0YSwgZW1wb3dlci5DaGFydHMuRGF0YQAQQ29sdW1uAAIAAAAQU2VyaWVzAP////8DVGV4dEVsZW1lbnQA6wYAAAJBdXRvU2hhcGVUeXBlAAoAAABSZWN0YW5nbGUABEFkanVzdG1lbnRzAAUAAAAABU1hbmFnZWRJZAAQAAAABK6REHGA7ItJnlAAQ5fC2Vg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m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CDXwypAAVdpZHRoAAAAAOCu8jh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JDb2x1bW5TdW1Qb3NpdGlvbgAMAAAARGVmYXVsdERvY2sACBwAAAAFGwAAAB0AAADnDwAAAAAAAAAAAABEZWxldGVkAAEDTnVtYmVyRm9ybWF0AB8AAAAFX2lkABAAAAAEAAAAAAAAAAAAAAAAAAAAAAAISXNOZXcAAQFGb250U2l6ZQAAAAAAAAAkQAADMgAFCAAABV9pZAAQAAAABIlWo9xe4aBHs59cM6I3izACX3R5cGUAVwAAAGVtcG93ZXIuQ2hhcnRzLkRhdGEuRGF0YUNoYXJ0cy5PdmVybGF5cy5EYXRhLkNvbHVtblN1bU92ZXJsYXlEYXRhLCBlbXBvd2VyLkNoYXJ0cy5EYXRhABBDb2x1bW4AAwAAABBTZXJpZXMA/////wNUZXh0RWxlbWVudADrBgAAAkF1dG9TaGFwZVR5cGUACgAAAFJlY3RhbmdsZQAEQWRqdXN0bWVudHMABQAAAAAFTWFuYWdlZElkABAAAAAENpUqG0nL2kmq77A296Hr4g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kZvbnROYW1lAAcAAAArbW4tbHQAAUZvbnRTaXplAAAAAAAAACZ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INfDKkABV2lkdGgAAAAA4K7yOE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kNvbHVtblN1bVBvc2l0aW9uAAwAAABEZWZhdWx0RG9jawAIRGVsZXRlZAABA051bWJlckZvcm1hdAAfAAAABV9pZAAQAAAABAAAAAAAAAAAAAAAAAAAAAAACElzTmV3AAEBRm9udFNpemUAAAAAAAAAJEAAAzMABQgAAAVfaWQAEAAAAAQkUtO9vtUcR7rqelWPrvlhAl90eXBlAFcAAABlbXBvd2VyLkNoYXJ0cy5EYXRhLkRhdGFDaGFydHMuT3ZlcmxheXMuRGF0YS5Db2x1bW5TdW1PdmVybGF5RGF0YSwgZW1wb3dlci5DaGFydHMuRGF0YQAQQ29sdW1uAAQAAAAQU2VyaWVzAP////8DVGV4dEVsZW1lbnQA6wYAAAJBdXRvU2hhcGVUeXBlAAoAAABSZWN0YW5nbGUABEFkanVzdG1lbnRzAAUAAAAABU1hbmFnZWRJZAAQAAAABPzdTqNESBRFosxYZSy5EdY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m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CDXwypAAVdpZHRoAAAAAOCu8jh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AdAAAABRwAAADkAAAA5w8AAAAAAAAAAAAA6eIoQAACQ29sdW1uU3VtUG9zaXRpb24ADAAAAERlZmF1bHREb2NrAAhEZWxldGVkAAEDTnVtYmVyRm9ybWF0AB8AAAAFX2lkABAAAAAEAAAAAAAAAAAAAAAAAAAAAAAISXNOZXcAAQFGb250U2l6ZQAAAAAAAAAkQAADNAAFCAAABV9pZAAQAAAABFn+wGIXWtxJliow3p6EeHkCX3R5cGUAVwAAAGVtcG93ZXIuQ2hhcnRzLkRhdGEuRGF0YUNoYXJ0cy5PdmVybGF5cy5EYXRhLkNvbHVtblN1bU92ZXJsYXlEYXRhLCBlbXBvd2VyLkNoYXJ0cy5EYXRhABBDb2x1bW4ABQAAABBTZXJpZXMA/////wNUZXh0RWxlbWVudADrBgAAAkF1dG9TaGFwZVR5cGUACgAAAFJlY3RhbmdsZQAEQWRqdXN0bWVudHMABQAAAAAFTWFuYWdlZElkABAAAAAE66+5iX3pYUm1fv53NU3Xsg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kZvbnROYW1lAAcAAAArbW4tbHQAAUZvbnRTaXplAAAAAAAAACZ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INfDKkABV2lkdGgAAAAA4K7yOE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kNvbHVtblN1bVBvc2l0aW9uAAwAAABEZWZhdWx0RG9jawAIRGVsZXRlZAABA051bWJlckZvcm1hdAAfAAAABV9pZAAQAAAABAAAAAAAAAAAAAAAAAAAAAAACElzTmV3AAEBRm9udFNpemUAAAAAAAAAJEAAAzUABQgAAAVfaWQAEAAAAAR5W+IVvZYpT6XbcX1RH+EyAl90eXBlAFcAAABlbXBvd2VyLkNoYXJ0cy5EYXRhLkRhdGFDaGFydHMuT3ZlcmxheXMuRGF0YS5Db2x1bW5TdW1PdmVybGF5RGF0YSwgZW1wb3dlci5DaGFydHMuRGF0YQAQQ29sdW1uAAYAAAAQU2VyaWVzAP////8DVGV4dEVsZW1lbnQA6wYAAAJBdXRvU2hhcGVUeXBlAAoAAABSZWN0YW5nbGUABEFkanVzdG1lbnRzAAUAAAAABU1hbmFnZWRJZAAQAAAABK1Js2TOzk9OjlQ3EFc99kc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m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CDXwypAAVdpZHRoAAAAAOCu8jh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HgAAAAX/////HwAAAOcPAAAAAAAAAAAAAJwVAAAFX2lkABAAAAAEhg5pikgi9kS/+WUJcC7daANEYXRhAEIVAAAESXRlbURhdGEAgRQAAAMwAHkUAAAQSW5kZXgAAQAAAAhJc0RlbGV0ZWQAAANUZXh0U2hhcGVEYXRhANkGAAAFTWFuYWdlZElkABAAAAAEVMYaGMfpikuj2Wi2kvCPvQhIYXNDaGFuZ2VzAAE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BwAAABIw6R1Zmlna2VpdCBuYWNoIFRlaWxuZWhtZXIAAlRleHRIb3Jpem9udGFsQWxpZ25tZW50AA4AAABtc29BbmNob3JOb25lAAJQYXJhZ3JhcGhBbGlnbm1lbnQAAgAAADAAAlRleHRWZXJ0aWNhbEFsaWdubWVudAANAAAAbXNvQW5jaG9yVG9wAANGb250U3R5bGUAQA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GAAAAQXJpYWwAAUZvbnRTaXplAAAAAAAAACRACEZvbnRTdHJpa2V0aHJvdWdoAAAIRm9udFN1YnNjcmlwdAAACEZvbnRTdXBlcnNjcmlwdAAACEZvbnRVbmRlcmxpbmUAAAAIU2l6ZVRvVGV4dFdpZHRoAAEIU2l6ZVRvVGV4dEhlaWdodAABA1RleHRNYXJnaW4APwAAAAFMZWZ0AAAAAAAAAAAAAVRvcAAAAAAAAAAAAAFSaWdodAAAAAAAAAAAAAFCb3R0b20AAAAAAAAAAAAAAkRpc3BsYXlUZXh0ABwAAABIw6R1Zmlna2VpdCBuYWNoIFRlaWxuZWhtZXIAAUhlaWdodAAAAACgmVkoQAFXaWR0aAAAAABAfiFeQAFUb3AAAAAAYFukdEABTGVmdAAAAACA51Zy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WFya2VyU2hhcGVEYXRhAHQGAAACQXV0b1NoYXBlVHlwZQAKAAAAUmVjdGFuZ2xlAAVNYW5hZ2VkSWQAEAAAAATYU1EogFnER6W2UxfVelL0CEhhc0NoYW5nZXMAAQhVc2VOYW1lSW5zdGVhZE9mVGFnQXNJZAABCFNoYXBlUHJldmlvdXNseUNyZWF0ZWQAAANGaWxsQ29sb3IAVQAAABBBAP8AAAAQUgD3AAAAEEcAeAAAABBCAHgAAAABU2NBAAAAAAAAAPA/AVNjUgAAAADgd8PtPwFTY0cAAAAA4IIKyD8BU2NCAAAAAOCCCsg/ABBGaWxsVGhlbWVDb2xvcgAG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YN8LF0ABV2lkdGgAAAAAYN8LF0ABVG9wAAAAACCq13RAAUxlZnQAAAAAILjKcUAIRmxpcEhvcml6b250YWxseQAACEZsaXBIb3Jpem9udGFsbHlBcHBsaWVkAAAIRmxpcFZlcnRpY2FsbHkAAAhGbGlwVmVydGljYWxseUFwcGxpZWQAAAFSb3RhdGlvbgAAAAAAAAAAAAFaT3JkZXIAAAAAAAAAJE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pbmVTaGFwZURhdGEA4QYAAANTdGFydAAbAAAAAVgAAAAAAAAAAAABWQAAAAAAAAAAAAADRW5kABsAAAABWAAAAAAAAAAAAAFZAAAAAAAAAAAAAAJTdGFydEFycm93SGVhZAARAAAAbXNvQXJyb3doZWFkTm9uZQACRW5kQXJyb3dIZWFkABEAAABtc29BcnJvd2hlYWROb25lAAVNYW5hZ2VkSWQAEAAAAAT4y9JlDSBGRb4GHZfMxyEg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B8AAAAFHgAAAP////+1BTIKAAAAAAAAAAB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kFsaWdubWVudAAHAAAASGlkZGVuAAhJc1VzZXJQb3NpdGlvbgAAA0N1c3RvbUNlbnRlclBvc2l0aW9uABsAAAABWAAAAAAAAAAAAAFZAAAAAAAAAAAAAAJJdGVtT3JkZXIACgAAAEFzY2VuZGluZwAQUm93Q291bnQAAQAAABBDb2x1bW5Db3VudAAAAAAAAkl0ZW1GbG93RGlyZWN0aW9uAAsAAABIb3Jpem9udGFsAAACTmFtZQALAAAATGVnZW5kRGF0YQAQVmVyc2lvbgABAAAACUxhc3RXcml0ZQD3E4w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AAAABf////8hAAAA5w8AAAAAAAAAAAAAxuIAAAVfaWQAEAAAAASdnW+nuLOtSa21JQ3j19xLA0RhdGEAbOIAAANEYXRhTGFiZWxzUGVyQXhpcwA14gAAA1ByaW1hcnkA9t8AAAREYXRhTGFiZWxzANXdAAADMAAsFgAAEFBvaW50SW5kZXgAAQAAAAJBbGlnbm1lbnQABwAAAENlbnRlcgAQU2VyaWVzSW5kZXgAAQAAAAhSZXF1aXJlRm9udENvbG9yTWlncmF0aW9uAAAITWFudWFsRGF0YUxhYmVsQmFja2dyb3VuZFZpc2libGUAAQhIYXNXaXNoQ29sb3IAAANUZXh0Qm94ALoGAAAFTWFuYWdlZElkABAAAAAESAfs331SU0m6/inJcv+2qA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QAAAA4NCUAAlRleHRIb3Jpem9udGFsQWxpZ25tZW50AA4AAABtc29BbmNob3JOb25l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kAIRm9udFN0cmlrZXRocm91Z2gAAAhGb250U3Vic2NyaXB0AAAIRm9udFN1cGVyc2NyaXB0AAAIRm9udFVuZGVybGluZQAAAAhTaXplVG9UZXh0V2lkdGgAAQhTaXplVG9UZXh0SGVpZ2h0AAEDVGV4dE1hcmdpbgA/AAAAAUxlZnQAAAAAwFqt9j8BVG9wAAAAAKBIJOI/AVJpZ2h0AAAAAMBarfY/AUJvdHRvbQAAAACgSCTiPwACRGlzcGxheVRleHQABAAAADg0JQABSGVpZ2h0AAAAACBgCC1AAVdpZHRoAAAAAMCu8jhAAVRvcAAAAACAZCchQAFMZWZ0AAAAAEDxW3Z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NMZWFkZXJMaW5lAOEGAAADU3RhcnQAGwAAAAFYAAAAABG4v4RAAVkAAAAAwHeaOEAAA0VuZAAbAAAAAVgAAAAAEbi/hEABWQAAAADg5EN0QAACU3RhcnRBcnJvd0hlYWQAEQAAAG1zb0Fycm93aGVhZE5vbmUAAkVuZEFycm93SGVhZAARAAAAbXNvQXJyb3doZWFkTm9uZQAFTWFuYWdlZElkABAAAAAEOupW9KklokKiu05AnafCLA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GA9unJAAVdpZHRoAAAAAAAAAAAAAVRvcAAAAADAd5o4QAFMZWZ0AAAAACC4v4R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RuL+EQAFZAAAAAODkc3RAAANFbmQAGwAAAAFYAAAAABG4v4RAAVkAAAAA4ORDdEAAAlN0YXJ0QXJyb3dIZWFkABEAAABtc29BcnJvd2hlYWROb25lAAJFbmRBcnJvd0hlYWQAEQAAAG1zb0Fycm93aGVhZE5vbmUABU1hbmFnZWRJZAAQAAAABIpHfj3ZjclAqD2gTHHXwRAISGFzQ2hhbmdlcwABCFVzZU5hbWVJbnN0ZWFkT2ZUYWdBc0lkAAEIU2hhcGVQcmV2aW91c2x5Q3JlYXRlZAAAA0ZpbGxDb2xvcgBVAAAAEEEAAAAAABBSAAAAAAAQRwAAAAAAEEIAAAAAAAFTY0EAAAAAAAAA8L8BU2NSAAAAAAAAAPC/AVNjRwAAAAAAIQAAAAUgAAAAIgAAAOcPAAAAAAA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CEABV2lkdGgAAAAAAAAAAAABVG9wAAAAAODkQ3RAAUxlZnQAAAAAILi/hEAIRmxpcEhvcml6b250YWxseQAACEZsaXBIb3Jpem9udGFsbHlBcHBsaWVkAAAIRmxpcFZlcnRpY2FsbHkAAQ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toYjd0ABWQAAAABQ2ZgtQAAISGFzTGVhZGVyTGluZQAACElzQ2VudGVyQXV0b21hdGljQWRqdXN0ZWQAAAhJc1VzZXJQb3NpdGlvbgAACEFkZFByZWZpeFNwYWNlAAAIQWRkUG9zdGZpeFNwYWNlAAACU2VwYXJhdG9yAAIAAAAKAAJUZXh0AAQAAAA4NCUACFJlcXVpcmVSZWxhdGl2ZVBvc2l0aW9uVXBncmFkZQAACElzR2VvbWV0cnlPdXRPZkJvdW5kcwAACElzTGVhZGVyTGluZUluQXV0b01vZGUAAQhEZWxldGVkAAAAAzEALBYAABBQb2ludEluZGV4AAIAAAACQWxpZ25tZW50AAcAAABDZW50ZXIAEFNlcmllc0luZGV4AAEAAAAIUmVxdWlyZUZvbnRDb2xvck1pZ3JhdGlvbgAACE1hbnVhbERhdGFMYWJlbEJhY2tncm91bmRWaXNpYmxlAAEISGFzV2lzaENvbG9yAAADVGV4dEJveAC6BgAABU1hbmFnZWRJZAAQAAAABIv/iegSePdHu1Ai3hSXstA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NTIlAAJUZXh0SG9yaXpvbnRhbEFsaWdubWVudAAOAAAAbXNvQW5jaG9yTm9uZQ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ZACEZvbnRTdHJpa2V0aHJvdWdoAAAIRm9udFN1YnNjcmlwdAAACEZvbnRTdXBlcnNjcmlwdAAACEZvbnRVbmRlcmxpbmUAAAAIU2l6ZVRvVGV4dFdpZHRoAAEIU2l6ZVRvVGV4dEhlaWdodAABA1RleHRNYXJnaW4APwAAAAFMZWZ0AAAAAMBarfY/AVRvcAAAAACgSCTiPwFSaWdodAAAAADAWq32PwFCb3R0b20AAAAAoEgk4j8AAkRpc3BsYXlUZXh0AAQAAAA1MiUAAUhlaWdodAAAAAAgYAgtQAFXaWR0aAAAAADArvI4QAFUb3AAAAAAwKQfREABTGVmdAAAAAAAZGly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DTGVhZGVyTGluZQDhBgAAA1N0YXJ0ABsAAAABWAAAAABiXuJ9QAFZAAAAAMBY9UtAAANFbmQAGwAAAAFYAAAAAGJe4n1AAVkAAAAAQOFOckAAAlN0YXJ0QXJyb3dIZWFkABEAAABtc29BcnJvd2hlYWROb25lAAJFbmRBcnJvd0hlYWQAEQAAAG1zb0Fycm93aGVhZE5vbmUABU1hbmFnZWRJZAAQAAAABHRZGpSOQp9Mt/h6xX1R2BE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yIAAAAFIQAAACMAAADnDwAAAAAAAAAAAAB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GygbUABV2lkdGgAAAAAAAAAAAABVG9wAAAAAMBY9UtAAUxlZnQAAAAAYF7ifU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GJe4n1AAVkAAAAAQOF+ckAAA0VuZAAbAAAAAVgAAAAAYl7ifUABWQAAAABA4U5yQAACU3RhcnRBcnJvd0hlYWQAEQAAAG1zb0Fycm93aGVhZE5vbmUAAkVuZEFycm93SGVhZAARAAAAbXNvQXJyb3doZWFkTm9uZQAFTWFuYWdlZElkABAAAAAE2AQxro6iuEa2RYKIIML/L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hAAVdpZHRoAAAAAAAAAAAAAVRvcAAAAABA4U5yQAFMZWZ0AAAAAGBe4n1ACEZsaXBIb3Jpem9udGFsbHkAAAhGbGlwSG9yaXpvbnRhbGx5QXBwbGllZAAACEZsaXBWZXJ0aWNhbGx5AAE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Hb5MHNAAVkAAAAA9AE8R0AACEhhc0xlYWRlckxpbmUAAAhJc0NlbnRlckF1dG9tYXRpY0FkanVzdGVkAAAISXNVc2VyUG9zaXRpb24AAAhBZGRQcmVmaXhTcGFjZQAACEFkZFBvc3RmaXhTcGFjZQAAAlNlcGFyYXRvcgACAAAACgACVGV4dAAEAAAANTIlAAhSZXF1aXJlUmVsYXRpdmVQb3NpdGlvblVwZ3JhZGUAAAhJc0dlb21ldHJ5T3V0T2ZCb3VuZHMAAAhJc0xlYWRlckxpbmVJbkF1dG9Nb2RlAAEIRGVsZXRlZAAAAAMyACwWAAAQUG9pbnRJbmRleAADAAAAAkFsaWdubWVudAAHAAAAQ2VudGVyABBTZXJpZXNJbmRleAABAAAACFJlcXVpcmVGb250Q29sb3JNaWdyYXRpb24AAAhNYW51YWxEYXRhTGFiZWxCYWNrZ3JvdW5kVmlzaWJsZQABCEhhc1dpc2hDb2xvcgAAA1RleHRCb3gAugYAAAVNYW5hZ2VkSWQAEAAAAATZ7u2xT8tmQ6SZZBdkv9TQ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AAAADUyJQACVGV4dEhvcml6b250YWxBbGlnbm1lbnQADgAAAG1zb0FuY2hvck5vbmUAAlBhcmFncmFwaEFsaWdubWVudAAPAAAAbXNvQWxpZ25DZW50ZXIAAlRleHRWZXJ0aWNhbEFsaWdubWVudAAQAAAAbXNvQW5jaG9yTWlkZGxlAANGb24jAAAABSIAAAAkAAAA5w8AAAAAAAAAAAAA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kAIRm9udFN0cmlrZXRocm91Z2gAAAhGb250U3Vic2NyaXB0AAAIRm9udFN1cGVyc2NyaXB0AAAIRm9udFVuZGVybGluZQAAAAhTaXplVG9UZXh0V2lkdGgAAQhTaXplVG9UZXh0SGVpZ2h0AAEDVGV4dE1hcmdpbgA/AAAAAUxlZnQAAAAAwFqt9j8BVG9wAAAAAKBIJOI/AVJpZ2h0AAAAAMBarfY/AUJvdHRvbQAAAACgSCTiPwACRGlzcGxheVRleHQABAAAADUyJQABSGVpZ2h0AAAAACBgCC1AAVdpZHRoAAAAAMCu8jhAAVRvcAAAAACAt/pRQAFMZWZ0AAAAAABkaXJ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NMZWFkZXJMaW5lAOEGAAADU3RhcnQAGwAAAAFYAAAAAAHhA3NAAVkAAAAA4LrOVUAAA0VuZAAbAAAAAVgAAAAAAeEDc0ABWQAAAAAg/WJuQAACU3RhcnRBcnJvd0hlYWQAEQAAAG1zb0Fycm93aGVhZE5vbmUAAkVuZEFycm93SGVhZAARAAAAbXNvQXJyb3doZWFkTm9uZQAFTWFuYWdlZElkABAAAAAE83S34Dp9o0SAiCh6TgLfLg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MCfe2NAAVdpZHRoAAAAAAAAAAAAAVRvcAAAAADgus5VQAFMZWZ0AAAAAADhA3N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B4QNzQAFZAAAAACD9wm5AAANFbmQAGwAAAAFYAAAAAAHhA3NAAVkAAAAAIP1ibkAAAlN0YXJ0QXJyb3dIZWFkABEAAABtc29BcnJvd2hlYWROb25lAAJFbmRBcnJvd0hlYWQAEQAAAG1zb0Fycm93aGVhZE5vbmUABU1hbmFnZWRJZAAQAAAABKUOHk+ep/5HhQsA+9SgoDc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JAAAAAUjAAAAJQAAAOcPAAAAAAAAAAAAAAABVG9wAAAAACD9Ym5AAUxlZnQAAAAAAOEDc0AIRmxpcEhvcml6b250YWxseQAACEZsaXBIb3Jpem9udGFsbHlBcHBsaWVkAAAIRmxpcFZlcnRpY2FsbHkAAQ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dvkwc0ABWQAAAAAa5ohTQAAISGFzTGVhZGVyTGluZQAACElzQ2VudGVyQXV0b21hdGljQWRqdXN0ZWQAAAhJc1VzZXJQb3NpdGlvbgAACEFkZFByZWZpeFNwYWNlAAAIQWRkUG9zdGZpeFNwYWNlAAACU2VwYXJhdG9yAAIAAAAKAAJUZXh0AAQAAAA1MiUACFJlcXVpcmVSZWxhdGl2ZVBvc2l0aW9uVXBncmFkZQAACElzR2VvbWV0cnlPdXRPZkJvdW5kcwAACElzTGVhZGVyTGluZUluQXV0b01vZGUAAQhEZWxldGVkAAAAAzMALBYAABBQb2ludEluZGV4AAQAAAACQWxpZ25tZW50AAcAAABDZW50ZXIAEFNlcmllc0luZGV4AAEAAAAIUmVxdWlyZUZvbnRDb2xvck1pZ3JhdGlvbgAACE1hbnVhbERhdGFMYWJlbEJhY2tncm91bmRWaXNpYmxlAAEISGFzV2lzaENvbG9yAAADVGV4dEJveAC6BgAABU1hbmFnZWRJZAAQAAAABHm82gesupNGifkUvfBx0IE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NTAlAAJUZXh0SG9yaXpvbnRhbEFsaWdubWVudAAOAAAAbXNvQW5jaG9yTm9uZQ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ZACEZvbnRTdHJpa2V0aHJvdWdoAAAIRm9udFN1YnNjcmlwdAAACEZvbnRTdXBlcnNjcmlwdAAACEZvbnRVbmRlcmxpbmUAAAAIU2l6ZVRvVGV4dFdpZHRoAAEIU2l6ZVRvVGV4dEhlaWdodAABA1RleHRNYXJnaW4APwAAAAFMZWZ0AAAAAMBarfY/AVRvcAAAAACgSCTiPwFSaWdodAAAAADAWq32PwFCb3R0b20AAAAAoEgk4j8AAkRpc3BsYXlUZXh0AAQAAAA1MCUAAUhlaWdodAAAAAAgYAgtQAFXaWR0aAAAAADArvI4QAFUb3AAAAAAoJzlWUABTGVmdAAAAAAgOypy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DTGVhZGVyTGluZQDhBgAAA1N0YXJ0ABsAAAABWAAAAADCCuh6QAFZAAAAAGDJol1AAANFbmQAGwAAAAFYAAAAAMIK6HpAAVkAAAAA4LPJbEAAAlN0YXJ0QXJyb3dIZWFkABEAAABtc29BcnJvd2hlYWROb25lAAJFbmRBcnJvd0hlYWQAEQAAAG1zb0Fycm93aGVhZE5vbmUABU1hbmFnZWRJZAAQAAAABLp2OYoJrMFApskFbbNPNUM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gnvBbQAFXaWR0aAAAAAAAAAAAAAFUb3AAAAAAYMmiXUABTGVmdAAAAADACuh6QAhGbGlwSG9yaXpvbnRhbGx5AAAIRmxpcEhvcml6b250YWxseUFwcGxpZWQAAAhGbGlwVmVydGljYWxseQAACEZsaXBWZXJ0aWNhbGx5QXBwbGllZAAAAVJvdGF0aW9uAAAAAAAAAAAAAVpPcmRlcgAAAAAAAAAAAANCb3JkZXJDb2xvcgBVAAAAEEEA/wAAACUAAAAFJAAAACYAAADnDwAAAAAAAAA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MIK6HpAAVkAAAAA4LMpbUAAA0VuZAAbAAAAAVgAAAAAwgroekABWQAAAADgs8lsQAACU3RhcnRBcnJvd0hlYWQAEQAAAG1zb0Fycm93aGVhZE5vbmUAAkVuZEFycm93SGVhZAARAAAAbXNvQXJyb3doZWFkTm9uZQAFTWFuYWdlZElkABAAAAAEA5uvZ5tMlkyZkx0iVhBLd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hAAVdpZHRoAAAAAAAAAAAAAVRvcAAAAADgs8lsQAFMZWZ0AAAAAMAK6HpACEZsaXBIb3Jpem9udGFsbHkAAAhGbGlwSG9yaXpvbnRhbGx5QXBwbGllZAAACEZsaXBWZXJ0aWNhbGx5AAE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JbQ8XJAAVkAAAAAOstzW0AACEhhc0xlYWRlckxpbmUAAAhJc0NlbnRlckF1dG9tYXRpY0FkanVzdGVkAAAISXNVc2VyUG9zaXRpb24AAAhBZGRQcmVmaXhTcGFjZQAACEFkZFBvc3RmaXhTcGFjZQAAAlNlcGFyYXRvcgACAAAACgACVGV4dAAEAAAANTAlAAhSZXF1aXJlUmVsYXRpdmVQb3NpdGlvblVwZ3JhZGUAAAhJc0dlb21ldHJ5T3V0T2ZCb3VuZHMAAAhJc0xlYWRlckxpbmVJbkF1dG9Nb2RlAAEIRGVsZXRlZAAAAAM0ACwWAAAQUG9pbnRJbmRleAAFAAAAAkFsaWdubWVudAAHAAAAQ2VudGVyABBTZXJpZXNJbmRleAABAAAACFJlcXVpcmVGb250Q29sb3JNaWdyYXRpb24AAAhNYW51YWxEYXRhTGFiZWxCYWNrZ3JvdW5kVmlzaWJsZQABCEhhc1dpc2hDb2xvcgAAA1RleHRCb3gAugYAAAVNYW5hZ2VkSWQAEAAAAASvd5XMU2LBSb13U+ZdU5zV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AAAADQ1JQACVGV4dEhvcml6b250YWxBbGlnbm1lbnQADgAAAG1zb0FuY2hvck5vbmU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mQAhGb250U3RyaWtldGhyb3VnaAAACEZvbnRTdWJzY3JpcHQAAAhGb250U3VwZXJzY3JpcHQAAAhGb250VW5kZXJsaW5lAAAACFNpemVUb1RleHRXaWR0aAABCFNpemVUb1RleHRIZWlnaHQAAQNUZXh0TWFyZ2luAD8AAAABTGVmdAAAAADAWq32PwFUb3AAAAAAoEgk4j8BUmlnaHQAAAAAwFqt9j8BQm90dG9tAAAAAKBIJOI/AAJEaXNwbGF5VGV4dAAEAAAANDUlAAFIZWlnaHQAAAAAIGAILUABV2lkdGgAAAAAwK7yOEABVG9wAAAAAEBB6GBAAUxlZnQAAAAAIASGc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wmAAAABSUAAAAnAAAA5w8AAAAAAAAAAAAA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NMZWFkZXJMaW5lAOEGAAADU3RhcnQAGwAAAAFYAAAAAILDq39AAVkAAAAAAGy7YkAAA0VuZAAbAAAAAVgAAAAAgsOrf0ABWQAAAABArN9oQAACU3RhcnRBcnJvd0hlYWQAEQAAAG1zb0Fycm93aGVhZE5vbmUAAkVuZEFycm93SGVhZAARAAAAbXNvQXJyb3doZWFkTm9uZQAFTWFuYWdlZElkABAAAAAEqnSbzZ65r0WXFx25RxgPxg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BkUhAAVdpZHRoAAAAAAAAAAAAAVRvcAAAAAAAbLtiQAFMZWZ0AAAAAIDDq39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CCw6t/QAFZAAAAAECsP2lAAANFbmQAGwAAAAFYAAAAAILDq39AAVkAAAAAQKzfaEAAAlN0YXJ0QXJyb3dIZWFkABEAAABtc29BcnJvd2hlYWROb25lAAJFbmRBcnJvd0hlYWQAEQAAAG1zb0Fycm93aGVhZE5vbmUABU1hbmFnZWRJZAAQAAAABDp+3O9QTNZEiSulcGCaaAc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QKzfaEABTGVmdAAAAACAw6t/QAhGbGlwSG9yaXpvbnRhbGx5AAAIRmxpcEhvcml6b250YWxseUFwcGxpZWQAAAhGbGlwVmVydGljYWxseQAB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CWmU1yQAFZAAAAAI1Yr2FAAAhIYXNMZWFkZXJMaW5lAAAISXNDZW50ZXJBdXRvbWF0aWNBZGp1c3RlZAAACElzVXNlclBvc2l0aW9uAAAIQWRkUHJlZml4U3BhY2UAAAhBZGRQb3N0Zml4U3BhY2UAAAJTZXBhcmF0b3IAAgAAAAoAAlRleHQABAAAADQ1JQAIUmVxdWlyZVJlbGF0aXZlUG9zaXRpb25VcGdyYWRlAAAISXNHZW9tZXRyeU91dE9mQm91bmRzAAAISXNMZWFkZXJMaW5lSW5BdXRvTW9kZQABCERlbGV0ZWQAAAADNQAsFgAAEFBvJwAAAAUmAAAA5wAAAOcPAAAAAAAAAAAAAGludEluZGV4AAYAAAACQWxpZ25tZW50AAcAAABDZW50ZXIAEFNlcmllc0luZGV4AAEAAAAIUmVxdWlyZUZvbnRDb2xvck1pZ3JhdGlvbgAACE1hbnVhbERhdGFMYWJlbEJhY2tncm91bmRWaXNpYmxlAAEISGFzV2lzaENvbG9yAAADVGV4dEJveAC6BgAABU1hbmFnZWRJZAAQAAAABKwsBtmRAxhOsTh7sAmjEGk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MzQlAAJUZXh0SG9yaXpvbnRhbEFsaWdubWVudAAOAAAAbXNvQW5jaG9yTm9uZQ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ZACEZvbnRTdHJpa2V0aHJvdWdoAAAIRm9udFN1YnNjcmlwdAAACEZvbnRTdXBlcnNjcmlwdAAACEZvbnRVbmRlcmxpbmUAAAAIU2l6ZVRvVGV4dFdpZHRoAAEIU2l6ZVRvVGV4dEhlaWdodAABA1RleHRNYXJnaW4APwAAAAFMZWZ0AAAAAMBarfY/AVRvcAAAAACgSCTiPwFSaWdodAAAAADAWq32PwFCb3R0b20AAAAAoEgk4j8AAkRpc3BsYXlUZXh0AAQAAAAzNCUAAUhlaWdodAAAAAAgYAgtQAFXaWR0aAAAAADArvI4QAFUb3AAAAAAwLPdZEABTGVmdAAAAAAglj1w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DTGVhZGVyTGluZQDhBgAAA1N0YXJ0ABsAAAABWAAAAACAKN92QAFZAAAAABWWKmZAAANFbmQAGwAAAAFYAAAAAKiRamhAAVkAAAAAFZYqZkAAAlN0YXJ0QXJyb3dIZWFkABEAAABtc29BcnJvd2hlYWROb25lAAJFbmRBcnJvd0hlYWQAEQAAAG1zb0Fycm93aGVhZE5vbmUABU1hbmFnZWRJZAAQAAAABIpQt+wfYbhOrmjITaGbsss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gv1NlQAFUb3AAAAAAIJYqZkABTGVmdAAAAACgkWpoQAhGbGlwSG9yaXpvbnRhbGx5AAE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qJEKaEABWQAAAAAVlipmQAADRW5kABsAAAABWAAAAACokWpoQAFZAAAAABWWKmZAAAJTdGFydEFycm93SGVhZAARAAAAbXNvQXJyb3doZWFkTm9uZQACRW5kQXJyb3dIZWFkABEAAABtc29BcnJvd2hlYWROb25lAAVNYW5hZ2VkSWQAEAAAAAQ059Fe8C0GT6q+/i44hirB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CgAAAAE//////////8JABcAAAAAAAAAAAAAACkAAAAAAAEA/////5ECkQIAAAVfaWQAEAAAAASXDxWtb0ldQ4bt1l9fQWS6A0RhdGEANAIAAANOdW1iZXJGb3JtYXRWYWx1ZVN0cmluZ3MAFQIAAAJOdW1iZXJGb3JtYXRJZFByaW1hcnlDYXRlZ29yeQAlAAAAMDAwMDAwMDAtMDAwMC0wMDAwLTAwMDAtMDAwMDAwMDAwMDAwAAJBcml0aG1ldGljT3BlcmF0aW9uSWRQcmltYXJ5Q2F0ZWdvcnkAJQAAADllODFlNDQxLTU3NTAtNGJmYy1iZTZhLTExZTI0MTg3NzIxZgACUGVyY2VudEZvcm1hdElkUHJpbWFyeUNhdGVnb3J5AAMAAAAwJQACTnVtYmVyRm9ybWF0SWRQcmltYXJ5ACUAAAAwMDAwMDAwMC0wMDAwLTAwMDAtMDAwMC0wMDAwMDAwMDAwMDAAAkFyaXRobWV0aWNPcGVyYXRpb25JZFByaW1hcnkAJQAAADllODFlNDQxLTU3NTAtNGJmYy1iZTZhLTExZTI0MTg3NzIxZgACUGVyY2VudEZvcm1hdElkUHJpbWFyeQADAAAAMCUAAk51bWJlckZvcm1hdElkU2Vjb25kYXJ5ACUAAAAwMDAwMDAwMC0wMDAwLTAwMDAtMDAwMC0wMDAwMDAwMDAwMDAAAkFyaXRobWV0aWNPcGVyYXRpb25JZFNlY29uZGFyeQAlAAAAOWU4MWU0NDEtNTc1MC00YmZjLWJlNmEtMTFlMjQxODc3MjFmAAJQZXJjZW50Rm9ybWF0SWRTZWNvbmRhcnkAAwAAADAlAAAAAk5hbWUADgAAAE51bWJlckZvcm1hdHMAEFZlcnNpb24AAgAAAAlMYXN0V3JpdGUAKXFPXo0BAAAAAgAxAAAAAAADAP////+7ALsAAAAFX2lkABAAAAAEui4nsOQsWkCI5rELnkvUvQNEYXRhAEoAAAAIU2hvd05hbWUAAAhTaG93VmFsdWUAAAhTaG93UGVyY2VudGFnZQAAEFBlcmNlbnRhZ2VEZWNpbWFsUGxhY2VzAAAAAAAAAk5hbWUAIgAAAENhdGVnb3J5TGFiZWxTZXR0aW5nc0RhdGFQcm9wZXJ0eQAQVmVyc2lvbgAAAAAACUxhc3RXcml0ZQDE78pydAEAAAAEADUAAAAAAAUA/////1IAUgAAAAVfaWQAEAAAAASStfy4uItJQJBF/GUtw7xPAk5hbWUACQAAAERhdGFMaW5rABBWZXJzaW9uAAEAAAAJTGFzdFdyaXRlANlEkzF5AQAAAAYA/////8ABwAEAAAVfaWQAEAAAAAR4xSy5nneVSbragarGxX0SBERhdGEAZgEAAAMwAF4BAAAQU2VyaWVzSW5kZXgAAQAAAARYVmFsdWVzAD8BAAACMAAUAAAARGF0ZW52ZXJmw7xnYmFya2VpdAACMQAIAAAAQW5kZXJlcwACMgAPAAAATmFjaGhhbHRpZ2tlaXQAAjMAGQAAAFN0cmF0ZWdpc2NoZSBBdXNyaWNodHVuZwACNAAcAAAARWZmaXppZW56IGludGVybmVyIFByb3plc3NlAAI1ADkAAABXZWl0ZXJlbnR3aWNrbHVuZyBkZXIgS29tcGV0ZW56ZW4KIHZvbiBNaXRhcmJlaXRlcjppbm5lbgACNgAdAAAAUmVndWxhdG9yaXNjaGUgQW5mb3JkZXJ1bmdlbgACNwAXAAAARmluYW56aWVsbGUgUmVzc291cmNlbgACOAAQAAAARGlnaXRhbGlzaWVydW5nAAI5ABcAAABHZXdpbm51bmcgdm9uIFBlcnNvbmFsAAAAAAJOYW1lAAsAAABTZXJpZXNEYXRhABBWZXJzaW9uAAAAAAAJTGFzdFdyaXRlAHyTkTWXAQAAAAcA/////3MAcwAAAAVfaWQAEAAAAAQMeP65HO+5RLjKlDAjc7lAA0RhdGEAFwAAAARTZXJpZUxhYmVscwAFAAAAAAACTmFtZQANAAAAU2VyaWVzTGFiZWxzABBWZXJzaW9uAAQAAAAJTGFzdFdyaXRlAIy/me6FAQAAAAgA/////7cJtwkAAAVfaWQAEAAAAAS71am7HQf2T4eZHCmrimOYA0RhdGEAVAkAAAhBdXRvbWF0aWNMYXlvdXRBY3RpdmUAAQRBZGRpdGlvbmFsQ2hhcnRNYXJnaW5EYXRhcwAFAAAAAAJEYXRhUmVmZXJlbmNlRGlyZWN0aW9uABAAAABTZXJpZXNCeUNvbHVtbnMAAlNlcmllc09yZGVyAAoAAABBc0luRXhjZWwAAlBvaW50T3JkZXIACgAAAEFzSW5FeGNlbAACUHJpbWFyeUF4aXNDcm9zc1R5cGUAGQAAAENyb3NzZXNCZXR3ZWVuQ2F0ZWdvcmllcwACU2Vjb25kYXJ5QXhpc0Nyb3NzVHlwZQAIAAAASW52YWxpZAAISXNDaGFydFRpdGxlVmlzaWJsZQAAA0NoYXJ0VGl0bGVEYXRhAM0GAAAIV2FudFRvQmVWaXNpYmxlAAADVGV4dEJveERhdGEAVwYAAAVNYW5hZ2VkSWQAEAAAAAROT88lI5UsT5L5txDzzL9S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D/AAAAEFIAAAAAABBHAAAAAAAQQgAAAAAAAVNjQQAAAAAAAADwPwFTY1IAAAAAAAAAAAABU2NHAAAAAAAAAAAAAVNjQgAAAAAAAAAAAAAQRm9udFRoZW1lQ29sb3IAAAAAAAFGb250VGludEFuZFNoYWRlAAAAAAAAAAAAEEZvbnRTY2hlbWVDb2xvcgACAAAACEZvbnRJdGFsaWMAAAFGb250U2l6ZQAAAAAAAAAiQAhGb250U3RyaWtldGhyb3VnaAAACEZvbnRTdWJzY3JpcHQAAAhGb250U3VwZXJzY3JpcHQAAAhGb250VW5kZXJsaW5lAAAACFNpemVUb1RleHRXaWR0aAABCFNpemVUb1RleHRIZWlnaHQAAQ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9mZnNldEZyb21Ib21lAEIAAAABWAAAAAAAAAAAAAFZAAAAAAAAAAAAAUxlbmd0aAAAAAAAAAAAAAFMZW5ndGhTcXVhcmVkAAAAAAAAAAAAAAABUGxvdFRvQ2hhcnRBcmVhUmF0aW8AAAAAAAAAAAACUmVuZGVyTW9kZQALAAAASHlicmlkVGV4dAADQ3VzdG9taXppbmdEZXNjcmlwdGlvbkRhdGEAkQAAAAJOYW1lABcAAABEZWZhdWx0RmxleEN1c3RvbWl6aW5nABBWZXJzaW9uAAEAAAAQTWlub3JWZXJzaW9uAAAAAAACQ3VzdG9taXppbmdUeXBlAAgAAABEZWZhdWx0AAJNaW9DZElkAAEAAAAAAkZsZXhDdXN0b21pemluZ1R5cGUACAAAAERlZmF1bHQAAAFMYXN0U2VlbldpZHRoAAAAAMD1iIFAAUxhc3RTZWVuSGVpZ2h0AAAAAKA9y3NACE1pZ3JhdGlvblRvUGVyZm9ybWFuY2VNb2RlRG9uZQABBUxhc3RTZWVuU2xpZGVDb2xvclRoZW1lTWQ1SGFzaAAQAAAAAMJkCTUk6e3PfTR944bn0R4AAk5hbWUAFAAAAEdsb2JhbENoYXJ0U2V0dGluZ3MAEFZlcnNpb24ABAAAAAlMYXN0V3JpdGUA58SVNZcBAAAAAAAAAAAAAAAAAAAAAAAAAAAAAAAAAAApAAAABf////8qAAAA5w8AAAAAAAAAAAAApvQAAAVfaWQAEAAAAAQfKs6reEpMRZemLCnq59wWA0RhdGEATPQAAANEYXRhTGFiZWxzUGVyQXhpcwAV9AAAA1ByaW1hcnkAs/MAAAREYXRhTGFiZWxzAG/zAAADMABVGAAAEFBvaW50SW5kZXgAAQAAAAJBbGlnbm1lbnQABwAAAENlbnRlcgAQU2VyaWVzSW5kZXgAAQAAAAhSZXF1aXJlRm9udENvbG9yTWlncmF0aW9uAAAITWFudWFsRGF0YUxhYmVsQmFja2dyb3VuZFZpc2libGUAAQhIYXNXaXNoQ29sb3I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NWYWx1ZUF4aXNOdW1iZXJGb3JtYXQAHwAAAAVfaWQAEAAAAAQAAAAAAAAAAAAAAAAAAAAAAANDYXRlZ29yeUF4aXNOdW1iZXJGb3JtYXQAHwAAAAVfaWQAEAAAAAQAAAAAAAAAAAAAAAAAAAAAAANUZXh0Qm94ALoGAAAFTWFuYWdlZElkABAAAAAESAfs331SU0m6/inJcv+2qA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QAAAA4NCUAAlRleHRIb3Jpem9udGFsQWxpZ25tZW50AA4AAABtc29BbmNob3JOb25l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kAIRm9udFN0cmlrZXRocm91Z2gAAAhGb250U3Vic2NyaXB0AAAIRm9udFN1cGVyc2NyaXB0AAAIRm9udFVuZGVybGluZQAAAAhTaXplVG9UZXh0V2lkdGgAAQhTaXplVG9UZXh0SGVpZ2h0AAEDVGV4dE1hcmdpbgA/AAAAAUxlZnQAAAAAwFqt9j8BVG9wAAAAAKBIJOI/AVJpZ2h0AAAAAMBarfY/AUJvdHRvbQAAAACgSCTiPwACRGlzcGxheVRleHQABAAAADg0JQABSGVpZ2h0AAAAACBgCC1AAVdpZHRoAAAAAMCu8jhAAVRvcAAAAACAZCchQAFMZWZ0AAAAAEDxW3Z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NMZWFkZXJMaW5lAOEGAAADU3RhcnQAGwAAAAFYAAAAABG4v4RAAVkAAAAAwHeaOEAAA0VuZAAbAAAAAVgAAAAAEbi/hEABWQAAAADg5EN0QAACU3RhcnRBcnJvd0hlYWQAEQAAAG1zb0Fycm93aGVhZE5vbmUAAkVuZEFycm93SGVhZAARAAAAbXNvQXJyb3doZWFkTm9uZQAFTWFuYWdlZElkABAAAAAEOupW9KklokKiu05AnafCLA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GA9unJAAVdpZHRoAAAAAAAAAAAAAVRvcAAAAADAd5o4QAFMZWZ0AAAAACC4v4R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KgAAAAUpAAAAKwAAAOcPAAAAAAAAAAA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Ebi/hEABWQAAAADg5HN0QAADRW5kABsAAAABWAAAAAARuL+EQAFZAAAAAODkQ3RAAAJTdGFydEFycm93SGVhZAARAAAAbXNvQXJyb3doZWFkTm9uZQACRW5kQXJyb3dIZWFkABEAAABtc29BcnJvd2hlYWROb25lAAVNYW5hZ2VkSWQAEAAAAASKR3492Y3JQKg9oExx18EQ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CEABV2lkdGgAAAAAAAAAAAABVG9wAAAAAODkQ3RAAUxlZnQAAAAAILi/hEAIRmxpcEhvcml6b250YWxseQAACEZsaXBIb3Jpem9udGFsbHlBcHBsaWVkAAAIRmxpcFZlcnRpY2FsbHkAAQ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toYjd0ABWQAAAABQ2ZgtQAAISGFzTGVhZGVyTGluZQAACElzQ2VudGVyQXV0b21hdGljQWRqdXN0ZWQAAAhJc1VzZXJQb3NpdGlvbgAAAlNlcGFyYXRvcgACAAAACgACVGV4dAAEAAAAODQlAAhSZXF1aXJlUmVsYXRpdmVQb3NpdGlvblVwZ3JhZGUAAAhJc0dlb21ldHJ5T3V0T2ZCb3VuZHMAAAhJc0xlYWRlckxpbmVJbkF1dG9Nb2RlAAEIRGVsZXRlZAAAAAMxAFUYAAAQUG9pbnRJbmRleAACAAAAAkFsaWdubWVudAAHAAAAQ2VudGVyABBTZXJpZXNJbmRleAABAAAACFJlcXVpcmVGb250Q29sb3JNaWdyYXRpb24AAAhNYW51YWxEYXRhTGFiZWxCYWNrZ3JvdW5kVmlzaWJsZQABCEhhc1dpc2hDb2xvcg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A1ZhbHVlQXhpc051bWJlckZvcm1hdAAfAAAABV9pZAAQAAAABAAAAAAAAAAAAAAAAAAAAAAAA0NhdGVnb3J5QXhpc051bWJlckZvcm1hdAAfAAAABV9pZAAQAAAABAAAAAAAAAAAAAAAAAAAAAAAA1RleHRCb3gAugYAAAVNYW5hZ2VkSWQAEAAAAASL/4noEnj3R7tQIt4Ul7LQ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AAAADUyJQACVGV4dEhvcml6b250YWxBbGlnbm1lbnQADgAAAG1zb0FuY2hvck5vbmU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mQAhGb250U3RyaWtldGhyb3VnaAAACEZvbnRTdWJzY3JpcHQAAAhGb250U3VwZXJzY3JpcHQAAAhGb250VW5kZXJsaW5lAAAACFNpemVUb1RleHRXaWR0aAABCFNpemVUb1RleHRIZWlnaHQAAQNUZXh0TWFyZ2luAD8AAAABTGVmdAAAAADAWq32PwFUb3AAAAAAoEgk4j8BUmlnaHQAAAAAwFqt9j8BQm90dG9tAAAAAKBIJOI/AAJEaXNwbGF5VGV4dAAEAAAANTIlAAFIZWlnaCsAAAAFKgAAACwAAADnDwAAAAAAAAAAAAB0AAAAACBgCC1AAVdpZHRoAAAAAMCu8jhAAVRvcAAAAADApB9EQAFMZWZ0AAAAAABkaXJ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NMZWFkZXJMaW5lAOEGAAADU3RhcnQAGwAAAAFYAAAAAGJe4n1AAVkAAAAAwFj1S0AAA0VuZAAbAAAAAVgAAAAAYl7ifUABWQAAAABA4U5yQAACU3RhcnRBcnJvd0hlYWQAEQAAAG1zb0Fycm93aGVhZE5vbmUAAkVuZEFycm93SGVhZAARAAAAbXNvQXJyb3doZWFkTm9uZQAFTWFuYWdlZElkABAAAAAEdFkalI5Cn0y3+HrFfVHYE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EBsoG1AAVdpZHRoAAAAAAAAAAAAAVRvcAAAAADAWPVLQAFMZWZ0AAAAAGBe4n1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BiXuJ9QAFZAAAAAEDhfnJAAANFbmQAGwAAAAFYAAAAAGJe4n1AAVkAAAAAQOFOckAAAlN0YXJ0QXJyb3dIZWFkABEAAABtc29BcnJvd2hlYWROb25lAAJFbmRBcnJvd0hlYWQAEQAAAG1zb0Fycm93aGVhZE5vbmUABU1hbmFnZWRJZAAQAAAABNgEMa6OorhGtkWCiCDC/y0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QOFOckABTGVmdAAAAABgXuJ9QAhGbGlwSG9yaXpvbnRhbGx5AAAIRmxpcEhvcml6b250YWxseUFwcGxpZWQAAAhGbGlwVmVydGljYWxseQAB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YsAAAABSsAAAAtAAAA5w8AAAAAAAAAAAAAdGVyAAAITGluZVJ1bGVCZWZvcmUAAAhMaW5lUnVsZVdpdGhpbgAAAVJpZ2h0SW5kZW50AAAAAAAAAAAAAVNwYWNlQWZ0ZXIAAAAAAAAAAAABU3BhY2VCZWZvcmUAAAAAAAAAAAABU3BhY2VXaXRoaW4AAAAAAAAAAAAAA0NlbnRlcgAbAAAAAVgAAAAAdvkwc0ABWQAAAAD0ATxHQAAISGFzTGVhZGVyTGluZQAACElzQ2VudGVyQXV0b21hdGljQWRqdXN0ZWQAAAhJc1VzZXJQb3NpdGlvbgAAAlNlcGFyYXRvcgACAAAACgACVGV4dAAEAAAANTIlAAhSZXF1aXJlUmVsYXRpdmVQb3NpdGlvblVwZ3JhZGUAAAhJc0dlb21ldHJ5T3V0T2ZCb3VuZHMAAAhJc0xlYWRlckxpbmVJbkF1dG9Nb2RlAAEIRGVsZXRlZAAAAAMyAFUYAAAQUG9pbnRJbmRleAADAAAAAkFsaWdubWVudAAHAAAAQ2VudGVyABBTZXJpZXNJbmRleAABAAAACFJlcXVpcmVGb250Q29sb3JNaWdyYXRpb24AAAhNYW51YWxEYXRhTGFiZWxCYWNrZ3JvdW5kVmlzaWJsZQABCEhhc1dpc2hDb2xvcg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A1ZhbHVlQXhpc051bWJlckZvcm1hdAAfAAAABV9pZAAQAAAABAAAAAAAAAAAAAAAAAAAAAAAA0NhdGVnb3J5QXhpc051bWJlckZvcm1hdAAfAAAABV9pZAAQAAAABAAAAAAAAAAAAAAAAAAAAAAAA1RleHRCb3gAugYAAAVNYW5hZ2VkSWQAEAAAAATZ7u2xT8tmQ6SZZBdkv9TQ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AAAADUyJQACVGV4dEhvcml6b250YWxBbGlnbm1lbnQADgAAAG1zb0FuY2hvck5vbmU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mQAhGb250U3RyaWtldGhyb3VnaAAACEZvbnRTdWJzY3JpcHQAAAhGb250U3VwZXJzY3JpcHQAAAhGb250VW5kZXJsaW5lAAAACFNpemVUb1RleHRXaWR0aAABCFNpemVUb1RleHRIZWlnaHQAAQNUZXh0TWFyZ2luAD8AAAABTGVmdAAAAADAWq32PwFUb3AAAAAAoEgk4j8BUmlnaHQAAAAAwFqt9j8BQm90dG9tAAAAAKBIJOI/AAJEaXNwbGF5VGV4dAAEAAAANTIlAAFIZWlnaHQAAAAAIGAILUABV2lkdGgAAAAAwK7yOEABVG9wAAAAAIC3+lFAAUxlZnQAAAAAAGRpck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0xlYWRlckxpbmUA4QYAAANTdGFydAAbAAAAAVgAAAAAAeEDc0ABWQAAAADgus5VQAADRW5kABsAAAABWAAAAAAB4QNzQAFZAAAAACD9Ym5AAAJTdGFydEFycm93SGVhZAARAAAAbXNvQXJyb3doZWFkTm9uZQACRW5kQXJyb3dIZWFkABEAAABtc29BcnJvd2hlYWROb25lAAVNYW5hZ2VkSWQAEAAAAATzdLfgOn2jRICIKHpOAt8u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J97Y0ABV2lkdGgAAAAAAAAAAAABVG9wAAAAAOC6zlVAAUxlZnQAAAAAAOEDc0AIRmxpcEhvcml6b250YWxseQAACEZsaXBIb3Jpem9udGFsbHlBcHBsaWVkAAAIRmxpcFZlcnRpY2FsLQAAAAUsAAAALgAAAOcPAAAAAAAAAAAAA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B4QNzQAFZAAAAACD9wm5AAANFbmQAGwAAAAFYAAAAAAHhA3NAAVkAAAAAIP1ibkAAAlN0YXJ0QXJyb3dIZWFkABEAAABtc29BcnJvd2hlYWROb25lAAJFbmRBcnJvd0hlYWQAEQAAAG1zb0Fycm93aGVhZE5vbmUABU1hbmFnZWRJZAAQAAAABKUOHk+ep/5HhQsA+9SgoDc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IP1ibkABTGVmdAAAAAAA4QNzQAhGbGlwSG9yaXpvbnRhbGx5AAAIRmxpcEhvcml6b250YWxseUFwcGxpZWQAAAhGbGlwVmVydGljYWxseQAB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B2+TBzQAFZAAAAABrmiFNAAAhIYXNMZWFkZXJMaW5lAAAISXNDZW50ZXJBdXRvbWF0aWNBZGp1c3RlZAAACElzVXNlclBvc2l0aW9uAAACU2VwYXJhdG9yAAIAAAAKAAJUZXh0AAQAAAA1MiUACFJlcXVpcmVSZWxhdGl2ZVBvc2l0aW9uVXBncmFkZQAACElzR2VvbWV0cnlPdXRPZkJvdW5kcwAACElzTGVhZGVyTGluZUluQXV0b01vZGUAAQhEZWxldGVkAAAAAzMAVRgAABBQb2ludEluZGV4AAQAAAACQWxpZ25tZW50AAcAAABDZW50ZXIAEFNlcmllc0luZGV4AAEAAAAIUmVxdWlyZUZvbnRDb2xvck1pZ3JhdGlvbgAACE1hbnVhbERhdGFMYWJlbEJhY2tncm91bmRWaXNpYmxlAAEISGFzV2lzaENvbG9y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DVmFsdWVBeGlzTnVtYmVyRm9ybWF0AB8AAAAFX2lkABAAAAAEAAAAAAAAAAAAAAAAAAAAAAADQ2F0ZWdvcnlBeGlzTnVtYmVyRm9ybWF0AB8AAAAFX2lkABAAAAAEAAAAAAAAAAAAAAAAAAAAAAADVGV4dEJveAC6BgAABU1hbmFnZWRJZAAQAAAABHm82gesupNGifkUvfBx0IE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NTAlAAJUZXh0SG9yaXpvbnRhbEFsaWdubWVudAAOAAAAbXNvQW5jaG9yTm9uZQ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y4AAAAFLQAAAC8AAADnDwAAAAAAAAAAAAAAAAJGb250TmFtZQAHAAAAK21uLWx0AAFGb250U2l6ZQAAAAAAAAAmQAhGb250U3RyaWtldGhyb3VnaAAACEZvbnRTdWJzY3JpcHQAAAhGb250U3VwZXJzY3JpcHQAAAhGb250VW5kZXJsaW5lAAAACFNpemVUb1RleHRXaWR0aAABCFNpemVUb1RleHRIZWlnaHQAAQNUZXh0TWFyZ2luAD8AAAABTGVmdAAAAADAWq32PwFUb3AAAAAAoEgk4j8BUmlnaHQAAAAAwFqt9j8BQm90dG9tAAAAAKBIJOI/AAJEaXNwbGF5VGV4dAAEAAAANTAlAAFIZWlnaHQAAAAAIGAILUABV2lkdGgAAAAAwK7yOEABVG9wAAAAAKCc5VlAAUxlZnQAAAAAIDsqck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0xlYWRlckxpbmUA4QYAAANTdGFydAAbAAAAAVgAAAAAwgroekABWQAAAABgyaJdQAADRW5kABsAAAABWAAAAADCCuh6QAFZAAAAAOCzyWxAAAJTdGFydEFycm93SGVhZAARAAAAbXNvQXJyb3doZWFkTm9uZQACRW5kQXJyb3dIZWFkABEAAABtc29BcnJvd2hlYWROb25lAAVNYW5hZ2VkSWQAEAAAAAS6djmKCazBQKbJBW2zTzVD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YJ7wW0ABV2lkdGgAAAAAAAAAAAABVG9wAAAAAGDJol1AAUxlZnQAAAAAwAroek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MIK6HpAAVkAAAAA4LMpbUAAA0VuZAAbAAAAAVgAAAAAwgroekABWQAAAADgs8lsQAACU3RhcnRBcnJvd0hlYWQAEQAAAG1zb0Fycm93aGVhZE5vbmUAAkVuZEFycm93SGVhZAARAAAAbXNvQXJyb3doZWFkTm9uZQAFTWFuYWdlZElkABAAAAAEA5uvZ5tMlkyZkx0iVhBLd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hAAVdpZHRoAAAAAAAAAAAAAVRvcAAAAADgs8lsQAFMZWZ0AAAAAMAK6HpACEZsaXBIb3Jpem9udGFsbHkAAAhGbGlwSG9yaXpvbnRhbGx5QXBwbGllZAAACEZsaXBWZXJ0aWNhbGx5AAEIRmxpcFZlcnRpY2FsbHlBcHBsaWVkAAABUm90YXRpb24AAAAAAAAAAAABWk9yZGVyAAAAAAAAAAAAA0JvcmRlckNvbG9yAFUAAAAQQQD/AAAAEFIAAAAAABBHAAAAAAAQQgAAAAAAAVNjQQAAAAAAAADwPwFTY1IAAAAAAAAvAAAABS4AAAAwAAAA5w8AAAAA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CW0PFyQAFZAAAAADrLc1tAAAhIYXNMZWFkZXJMaW5lAAAISXNDZW50ZXJBdXRvbWF0aWNBZGp1c3RlZAAACElzVXNlclBvc2l0aW9uAAACU2VwYXJhdG9yAAIAAAAKAAJUZXh0AAQAAAA1MCUACFJlcXVpcmVSZWxhdGl2ZVBvc2l0aW9uVXBncmFkZQAACElzR2VvbWV0cnlPdXRPZkJvdW5kcwAACElzTGVhZGVyTGluZUluQXV0b01vZGUAAQhEZWxldGVkAAAAAzQAVRgAABBQb2ludEluZGV4AAUAAAACQWxpZ25tZW50AAcAAABDZW50ZXIAEFNlcmllc0luZGV4AAEAAAAIUmVxdWlyZUZvbnRDb2xvck1pZ3JhdGlvbgAACE1hbnVhbERhdGFMYWJlbEJhY2tncm91bmRWaXNpYmxlAAEISGFzV2lzaENvbG9y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DVmFsdWVBeGlzTnVtYmVyRm9ybWF0AB8AAAAFX2lkABAAAAAEAAAAAAAAAAAAAAAAAAAAAAADQ2F0ZWdvcnlBeGlzTnVtYmVyRm9ybWF0AB8AAAAFX2lkABAAAAAEAAAAAAAAAAAAAAAAAAAAAAADVGV4dEJveAC6BgAABU1hbmFnZWRJZAAQAAAABK93lcxTYsFJvXdT5l1TnNU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NDUlAAJUZXh0SG9yaXpvbnRhbEFsaWdubWVudAAOAAAAbXNvQW5jaG9yTm9uZQ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ZACEZvbnRTdHJpa2V0aHJvdWdoAAAIRm9udFN1YnNjcmlwdAAACEZvbnRTdXBlcnNjcmlwdAAACEZvbnRVbmRlcmxpbmUAAAAIU2l6ZVRvVGV4dFdpZHRoAAEIU2l6ZVRvVGV4dEhlaWdodAABA1RleHRNYXJnaW4APwAAAAFMZWZ0AAAAAMBarfY/AVRvcAAAAACgSCTiPwFSaWdodAAAAADAWq32PwFCb3R0b20AAAAAoEgk4j8AAkRpc3BsYXlUZXh0AAQAAAA0NSUAAUhlaWdodAAAAAAgYAgtQAFXaWR0aAAAAADArvI4QAFUb3AAAAAAQEHoYEABTGVmdAAAAAAgBIZx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DTGVhZGVyTGluZQDhBgAAA1N0YXJ0ABsAAAABWAAAAACCw6t/QAFZAAAAAABsu2JAAANFbmQAGwAAAAFYAAAAAILDq39AAVkAAAAAQKzfaEAAAlN0YXJ0QXJyb3dIZWFkABEAAABtc29BcnJvd2hlYWROb25lAAJFbmRBcnJvd0hlYWQAEQAAAG1zb0Fycm93aGVhZE5vbmUABU1hbmFnZWRJZAAQAAAABKp0m82eua9FlxcduUcYD8Y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MAAAAAUvAAAAUQAAAOcPAAAAAAAAAAAAAHJpcHQAAAhGb250VW5kZXJsaW5lAAAACFNpemVUb1RleHRXaWR0aAAACFNpemVUb1RleHRIZWlnaHQAAANUZXh0TWFyZ2luAD8AAAABTGVmdAAAAAAAAAAAAAFUb3AAAAAAAAAAAAABUmlnaHQAAAAAAAAAAAABQm90dG9tAAAAAAAAAAAAAAFIZWlnaHQAAAAAAAGRSEABV2lkdGgAAAAAAAAAAAABVG9wAAAAAABsu2JAAUxlZnQAAAAAgMOrf0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ILDq39AAVkAAAAAQKw/aUAAA0VuZAAbAAAAAVgAAAAAgsOrf0ABWQAAAABArN9oQAACU3RhcnRBcnJvd0hlYWQAEQAAAG1zb0Fycm93aGVhZE5vbmUAAkVuZEFycm93SGVhZAARAAAAbXNvQXJyb3doZWFkTm9uZQAFTWFuYWdlZElkABAAAAAEOn7c71BM1kSJK6VwYJpoBw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hAAVdpZHRoAAAAAAAAAAAAAVRvcAAAAABArN9oQAFMZWZ0AAAAAIDDq39ACEZsaXBIb3Jpem9udGFsbHkAAAhGbGlwSG9yaXpvbnRhbGx5QXBwbGllZAAACEZsaXBWZXJ0aWNhbGx5AAE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JaZTXJAAVkAAAAAjVivYUAACEhhc0xlYWRlckxpbmUAAAhJc0NlbnRlckF1dG9tYXRpY0FkanVzdGVkAAAISXNVc2VyUG9zaXRpb24AAAJTZXBhcmF0b3IAAgAAAAoAAlRleHQABAAAADQ1JQAIUmVxdWlyZVJlbGF0aXZlUG9zaXRpb25VcGdyYWRlAAAISXNHZW9tZXRyeU91dE9mQm91bmRzAAAISXNMZWFkZXJMaW5lSW5BdXRvTW9kZQABCERlbGV0ZWQAAAADNQBVGAAAEFBvaW50SW5kZXgABgAAAAJBbGlnbm1lbnQABwAAAENlbnRlcgAQU2VyaWVzSW5kZXgAAQAAAAhSZXF1aXJlRm9udENvbG9yTWlncmF0aW9uAAAITWFudWFsRGF0YUxhYmVsQmFja2dyb3VuZFZpc2libGUAAQhIYXNXaXNoQ29sb3I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NWYWx1ZUF4aXNOdW1iZXJGb3JtYXQAHwAAAAVfaWQAEAAAAAQAAAAAAAAAAAAAAAAAAAAAAANDYXRlZ29yeUF4aXNOdW1iZXJGb3JtYXQAHwAAAAVfaWQAEAAAAAQAAAAAAAAAAAAAAAAAAAAAAANUZXh0Qm94ALoGAAAFTWFuYWdlZElkABAAAAAErCwG2ZEDGE6xOHuwCaMQaQ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QAAAAzNCUAAlRleHRIb3Jpem9udGFsQWxpZ25tZW50AA4AAABtc29BbmNob3JOb25lAAJQYXJhZ3JhcGhBbGlnbm1lbnQADwAAAG1zb0FsaWduQ2VudGVyAAJUZXh0VmVydGljYTEAAAAF/////zIAAADnDwAAAAAAAAAAAAAnYwAABV9pZAAQAAAABKFylK6mxT9Gq+Z+KXhr6moERGF0YQDPYgAAAzAA3gkAAAVfaWQAEAAAAASTSiR1daGPRbdsxzjh7oLnAl90eXBlAFcAAABlbXBvd2VyLkNoYXJ0cy5EYXRhLkRhdGFDaGFydHMuT3ZlcmxheXMuRGF0YS5Db2x1bW5TdW1PdmVybGF5RGF0YSwgZW1wb3dlci5DaGFydHMuRGF0YQAQQ29sdW1uAAEAAAAQU2VyaWVzAP////8DVGV4dEVsZW1lbnQA6wYAAAJBdXRvU2hhcGVUeXBlAAoAAABSZWN0YW5nbGUABEFkanVzdG1lbnRzAAUAAAAABU1hbmFnZWRJZAAQAAAABC6pjBgNu5ROjbbqUNqaJsY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m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CDXwypAAVdpZHRoAAAAAOCu8jh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JDb2x1bW5TdW1Qb3NpdGlvbgAMAAAARGVmYXVsdERvY2sACERlbGV0ZWQAAQNOdW1iZXJGb3JtYXQAHwAAAAVfaWQAEAAAAAQAAAAAAAAAAAAAAAAAAAAAAANUZXh0Rm9ybWF0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lzTmV3AAEBRm9udFNpemUAAAAAAAAAJEAAAzEA3gkAAAVfaWQAEAAAAAQ1+/6DdZhYQ4DSe/Iuh2XVAl90eXBlAFcAAABlbXBvd2VyLkNoYXJ0cy5EYXRhLkRhdGFDaGFydHMuT3ZlcmxheXMuRGF0YS5Db2x1bW5TdW1PdmVybGF5RGF0YSwgZW1wb3dlci5DaGFydHMuRGF0YQAQQ29sdW1uAAIAAAAQU2VyaWVzAP////8DVGV4dEVsZW1lbnQA6wYAAAJBdXRvU2hhcGVUeXBlAAoAAABSZWN0YW5nbGUABEFkanVzdG1lbnRzAAUAAAAABU1hbmFnZWRJZAAQAAAABK6REHGA7ItJnlAAQ5fC2Vg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m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CDXwypAAVdpZHRoAAAAAOCu8jhAAVRvcAAAAADgceR2QAFMZWZ0AAAAAGAOJoJACEZsaXBIb3Jpem9udGFsbHkAAAhGbGlwSG9yaXpvbnRhbGx5QXBwbGllZAAACEZsaXBWZXJ0aWNhbGx5AAAIRmxpcFZlcnRpY2FsbHlBcHBsaWVkAAABUm90YXRpb24AAAAAAAAAAAABWk9yZGVyAAAAAAAAAAAAA0JvcmRlckNvbG9yAFUAAAAQQQAAAAAAEFIA/wAAABAyAAAABTEAAAAzAAAA5w8AAAAAAAAAAAAA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CQ29sdW1uU3VtUG9zaXRpb24ADAAAAERlZmF1bHREb2NrAAhEZWxldGVkAAEDTnVtYmVyRm9ybWF0AB8AAAAFX2lkABAAAAAEAAAAAAAAAAAAAAAAAAAAAAADVGV4dEZvcm1hdA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Jc05ldwABAUZvbnRTaXplAAAAAAAAACRAAAMyAN4JAAAFX2lkABAAAAAEiVaj3F7hoEezn1wzojeLMAJfdHlwZQBXAAAAZW1wb3dlci5DaGFydHMuRGF0YS5EYXRhQ2hhcnRzLk92ZXJsYXlzLkRhdGEuQ29sdW1uU3VtT3ZlcmxheURhdGEsIGVtcG93ZXIuQ2hhcnRzLkRhdGEAEENvbHVtbgADAAAAEFNlcmllcwD/////A1RleHRFbGVtZW50AOsGAAACQXV0b1NoYXBlVHlwZQAKAAAAUmVjdGFuZ2xlAARBZGp1c3RtZW50cwAFAAAAAAVNYW5hZ2VkSWQAEAAAAAQ2lSobScvaSarvsDb3oevi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Jk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Ag18MqQAFXaWR0aAAAAADgrvI4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CQ29sdW1uU3VtUG9zaXRpb24ADAAAAERlZmF1bHREb2NrAAhEZWxldGVkAAEDTnVtYmVyRm9ybWF0AB8AAAAFX2lkABAAAAAEAAAAAAAAAAAAAAAAAAAAAAADVGV4dEZvcm1hdA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Jc05ldwABAUZvbnRTaXplAAAAAAAAACRAAAMzAN4JAAAFX2lkABAAAAAEJFLTvb7VHEe66npVj675YQJfdHlwZQBXAAAAZW1wb3dlci5DaGFydHMuRGF0YS5EYXRhQ2hhcnRzLk92ZXJsYXlzLkRhdGEuQ29sdW1uU3VtT3ZlcmxheURhdGEsIGVtcG93ZXIuQ2hhcnRzLkRhdGEAEENvbHVtbgAEAAAAEFNlcmllcwD/////A1RleHRFbGVtZW50AOsGAAACQXV0b1NoYXBlVHlwZQAKAAAAUmVjdGFuZ2xlAARBZGp1c3RtZW50cwAFAAAAAAVNYW5hZ2VkSWQAEAAAAAT83U6jREgURaLMWGUsuRHW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MwAAAAUyAAAANAAAAOcPAAAAAAAAAAAA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kZvbnROYW1lAAcAAAArbW4tbHQAAUZvbnRTaXplAAAAAAAAACZ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INfDKkABV2lkdGgAAAAA4K7yOE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kNvbHVtblN1bVBvc2l0aW9uAAwAAABEZWZhdWx0RG9jawAIRGVsZXRlZAABA051bWJlckZvcm1hdAAfAAAABV9pZAAQAAAABAAAAAAAAAAAAAAAAAAAAAAAA1RleHRGb3JtYXQ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SXNOZXcAAQFGb250U2l6ZQAAAAAAAAAkQAADNADeCQAABV9pZAAQAAAABFn+wGIXWtxJliow3p6EeHkCX3R5cGUAVwAAAGVtcG93ZXIuQ2hhcnRzLkRhdGEuRGF0YUNoYXJ0cy5PdmVybGF5cy5EYXRhLkNvbHVtblN1bU92ZXJsYXlEYXRhLCBlbXBvd2VyLkNoYXJ0cy5EYXRhABBDb2x1bW4ABQAAABBTZXJpZXMA/////wNUZXh0RWxlbWVudADrBgAAAkF1dG9TaGFwZVR5cGUACgAAAFJlY3RhbmdsZQAEQWRqdXN0bWVudHMABQAAAAAFTWFuYWdlZElkABAAAAAE66+5iX3pYUm1fv53NU3Xsg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kZvbnROYW1lAAcAAAArbW4tbHQAAUZvbnRTaXplAAAAAAAAACZ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INfDKkABV2lkdGgAAAAA4K7yOE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kNvbHVtblN1bVBvc2l0aW9uAAwAAABEZWZhdWx0RG9jawAIRGVsZXRlZAABA051bWJlckZvcm1hdAAfAAAABV9pZAAQAAAABAAAAAAAAAAAAAAAAAAAAAAAA1RleHRGb3JtYXQAzQEAAANSb290RWxlbWVudDQAAAAFMwAAAJUAAADnDwAAAAAAAAAAAAA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lzTmV3AAEBRm9udFNpemUAAAAAAAAAJEAAAzUA3gkAAAVfaWQAEAAAAAR5W+IVvZYpT6XbcX1RH+EyAl90eXBlAFcAAABlbXBvd2VyLkNoYXJ0cy5EYXRhLkRhdGFDaGFydHMuT3ZlcmxheXMuRGF0YS5Db2x1bW5TdW1PdmVybGF5RGF0YSwgZW1wb3dlci5DaGFydHMuRGF0YQAQQ29sdW1uAAYAAAAQU2VyaWVzAP////8DVGV4dEVsZW1lbnQA6wYAAAJBdXRvU2hhcGVUeXBlAAoAAABSZWN0YW5nbGUABEFkanVzdG1lbnRzAAUAAAAABU1hbmFnZWRJZAAQAAAABK1Js2TOzk9OjlQ3EFc99kc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m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CDXwypAAVdpZHRoAAAAAOCu8jh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JDb2x1bW5TdW1Qb3NpdGlvbgAMAAAARGVmYXVsdERvY2sACERlbGV0ZWQAAQNOdW1iZXJGb3JtYXQAHwAAAAVfaWQAEAAAAAQAAAAAAAAAAAAAAAAAAAAAAANUZXh0Rm9ybWF0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lzTmV3AAEBRm9udFNpemUAAAAAAAAAJEAAAzYA3gkAAAVfaWQAEAAAAASc080yHZV8T6MODiqBfR4SAl90eXBlAFcAAABlbXBvd2VyLkNoYXJ0cy5EYXRhLkRhdGFDaGFydHMuT3ZlcmxheXMuRGF0YS5Db2x1bW5TdW1PdmVybGF5RGF0YSwgZW1wb3dlci5DaGFydHMuRGF0YQAQQ29sdW1uAAcAAAAQU2VyaWVzAP////8DVGV4dEVsZW1lbnQA6wYAAAJBdXRvU2hhcGVUeXBlAAoAAABSZWN0YW5nbGUABEFkanVzdG1lbnRzAAUAAAAABU1hbmFnZWRJZAAQAAAABNPL2lwGYSZOnyZI5pZUlJk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E1AAAABf////82AAAA5w8AAAAAAAAAAAAAxuIAAAVfaWQAEAAAAASNyam1C5DAT7tXOmbb2vEwA0RhdGEAbOIAAANEYXRhTGFiZWxzUGVyQXhpcwA14gAAA1ByaW1hcnkA9t8AAAREYXRhTGFiZWxzANXdAAADMAAsFgAAEFBvaW50SW5kZXgAAQAAAAJBbGlnbm1lbnQABwAAAENlbnRlcgAQU2VyaWVzSW5kZXgAAQAAAAhSZXF1aXJlRm9udENvbG9yTWlncmF0aW9uAAAITWFudWFsRGF0YUxhYmVsQmFja2dyb3VuZFZpc2libGUAAQhIYXNXaXNoQ29sb3IAAANUZXh0Qm94ALoGAAAFTWFuYWdlZElkABAAAAAESAfs331SU0m6/inJcv+2qA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QAAAA4NCUAAlRleHRIb3Jpem9udGFsQWxpZ25tZW50AA4AAABtc29BbmNob3JOb25l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kAIRm9udFN0cmlrZXRocm91Z2gAAAhGb250U3Vic2NyaXB0AAAIRm9udFN1cGVyc2NyaXB0AAAIRm9udFVuZGVybGluZQAAAAhTaXplVG9UZXh0V2lkdGgAAQhTaXplVG9UZXh0SGVpZ2h0AAEDVGV4dE1hcmdpbgA/AAAAAUxlZnQAAAAAwFqt9j8BVG9wAAAAAKBIJOI/AVJpZ2h0AAAAAMBarfY/AUJvdHRvbQAAAACgSCTiPwACRGlzcGxheVRleHQABAAAADg0JQABSGVpZ2h0AAAAACBgCC1AAVdpZHRoAAAAAMCu8jhAAVRvcAAAAACAZCchQAFMZWZ0AAAAAEDxW3Z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NMZWFkZXJMaW5lAOEGAAADU3RhcnQAGwAAAAFYAAAAABG4v4RAAVkAAAAAwHeaOEAAA0VuZAAbAAAAAVgAAAAAEbi/hEABWQAAAADg5EN0QAACU3RhcnRBcnJvd0hlYWQAEQAAAG1zb0Fycm93aGVhZE5vbmUAAkVuZEFycm93SGVhZAARAAAAbXNvQXJyb3doZWFkTm9uZQAFTWFuYWdlZElkABAAAAAEOupW9KklokKiu05AnafCLA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GA9unJAAVdpZHRoAAAAAAAAAAAAAVRvcAAAAADAd5o4QAFMZWZ0AAAAACC4v4R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RuL+EQAFZAAAAAODkc3RAAANFbmQAGwAAAAFYAAAAABG4v4RAAVkAAAAA4ORDdEAAAlN0YXJ0QXJyb3dIZWFkABEAAABtc29BcnJvd2hlYWROb25lAAJFbmRBcnJvd0hlYWQAEQAAAG1zb0Fycm93aGVhZE5vbmUABU1hbmFnZWRJZAAQAAAABIpHfj3ZjclAqD2gTHHXwRAISGFzQ2hhbmdlcwABCFVzZU5hbWVJbnN0ZWFkT2ZUYWdBc0lkAAEIU2hhcGVQcmV2aW91c2x5Q3JlYXRlZAAAA0ZpbGxDb2xvcgBVAAAAEEEAAAAAABBSAAAAAAAQRwAAAAAAEEIAAAAAAAFTY0EAAAAAAAAA8L8BU2NSAAAAAAAAAPC/AVNjRwAAAAAANgAAAAU1AAAANwAAAOcPAAAAAAA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CEABV2lkdGgAAAAAAAAAAAABVG9wAAAAAODkQ3RAAUxlZnQAAAAAILi/hEAIRmxpcEhvcml6b250YWxseQAACEZsaXBIb3Jpem9udGFsbHlBcHBsaWVkAAAIRmxpcFZlcnRpY2FsbHkAAQ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toYjd0ABWQAAAABQ2ZgtQAAISGFzTGVhZGVyTGluZQAACElzQ2VudGVyQXV0b21hdGljQWRqdXN0ZWQAAAhJc1VzZXJQb3NpdGlvbgAACEFkZFByZWZpeFNwYWNlAAAIQWRkUG9zdGZpeFNwYWNlAAACU2VwYXJhdG9yAAIAAAAKAAJUZXh0AAQAAAA4NCUACFJlcXVpcmVSZWxhdGl2ZVBvc2l0aW9uVXBncmFkZQAACElzR2VvbWV0cnlPdXRPZkJvdW5kcwAACElzTGVhZGVyTGluZUluQXV0b01vZGUAAQhEZWxldGVkAAAAAzEALBYAABBQb2ludEluZGV4AAIAAAACQWxpZ25tZW50AAcAAABDZW50ZXIAEFNlcmllc0luZGV4AAEAAAAIUmVxdWlyZUZvbnRDb2xvck1pZ3JhdGlvbgAACE1hbnVhbERhdGFMYWJlbEJhY2tncm91bmRWaXNpYmxlAAEISGFzV2lzaENvbG9yAAADVGV4dEJveAC6BgAABU1hbmFnZWRJZAAQAAAABIv/iegSePdHu1Ai3hSXstA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NTIlAAJUZXh0SG9yaXpvbnRhbEFsaWdubWVudAAOAAAAbXNvQW5jaG9yTm9uZQ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ZACEZvbnRTdHJpa2V0aHJvdWdoAAAIRm9udFN1YnNjcmlwdAAACEZvbnRTdXBlcnNjcmlwdAAACEZvbnRVbmRlcmxpbmUAAAAIU2l6ZVRvVGV4dFdpZHRoAAEIU2l6ZVRvVGV4dEhlaWdodAABA1RleHRNYXJnaW4APwAAAAFMZWZ0AAAAAMBarfY/AVRvcAAAAACgSCTiPwFSaWdodAAAAADAWq32PwFCb3R0b20AAAAAoEgk4j8AAkRpc3BsYXlUZXh0AAQAAAA1MiUAAUhlaWdodAAAAAAgYAgtQAFXaWR0aAAAAADArvI4QAFUb3AAAAAAwKQfREABTGVmdAAAAAAAZGly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DTGVhZGVyTGluZQDhBgAAA1N0YXJ0ABsAAAABWAAAAABiXuJ9QAFZAAAAAMBY9UtAAANFbmQAGwAAAAFYAAAAAGJe4n1AAVkAAAAAQOFOckAAAlN0YXJ0QXJyb3dIZWFkABEAAABtc29BcnJvd2hlYWROb25lAAJFbmRBcnJvd0hlYWQAEQAAAG1zb0Fycm93aGVhZE5vbmUABU1hbmFnZWRJZAAQAAAABHRZGpSOQp9Mt/h6xX1R2BE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zcAAAAFNgAAADgAAADnDwAAAAAAAAAAAAB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GygbUABV2lkdGgAAAAAAAAAAAABVG9wAAAAAMBY9UtAAUxlZnQAAAAAYF7ifU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GJe4n1AAVkAAAAAQOF+ckAAA0VuZAAbAAAAAVgAAAAAYl7ifUABWQAAAABA4U5yQAACU3RhcnRBcnJvd0hlYWQAEQAAAG1zb0Fycm93aGVhZE5vbmUAAkVuZEFycm93SGVhZAARAAAAbXNvQXJyb3doZWFkTm9uZQAFTWFuYWdlZElkABAAAAAE2AQxro6iuEa2RYKIIML/L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hAAVdpZHRoAAAAAAAAAAAAAVRvcAAAAABA4U5yQAFMZWZ0AAAAAGBe4n1ACEZsaXBIb3Jpem9udGFsbHkAAAhGbGlwSG9yaXpvbnRhbGx5QXBwbGllZAAACEZsaXBWZXJ0aWNhbGx5AAE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Hb5MHNAAVkAAAAA9AE8R0AACEhhc0xlYWRlckxpbmUAAAhJc0NlbnRlckF1dG9tYXRpY0FkanVzdGVkAAAISXNVc2VyUG9zaXRpb24AAAhBZGRQcmVmaXhTcGFjZQAACEFkZFBvc3RmaXhTcGFjZQAAAlNlcGFyYXRvcgACAAAACgACVGV4dAAEAAAANTIlAAhSZXF1aXJlUmVsYXRpdmVQb3NpdGlvblVwZ3JhZGUAAAhJc0dlb21ldHJ5T3V0T2ZCb3VuZHMAAAhJc0xlYWRlckxpbmVJbkF1dG9Nb2RlAAEIRGVsZXRlZAAAAAMyACwWAAAQUG9pbnRJbmRleAADAAAAAkFsaWdubWVudAAHAAAAQ2VudGVyABBTZXJpZXNJbmRleAABAAAACFJlcXVpcmVGb250Q29sb3JNaWdyYXRpb24AAAhNYW51YWxEYXRhTGFiZWxCYWNrZ3JvdW5kVmlzaWJsZQABCEhhc1dpc2hDb2xvcgAAA1RleHRCb3gAugYAAAVNYW5hZ2VkSWQAEAAAAATZ7u2xT8tmQ6SZZBdkv9TQ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AAAADUyJQACVGV4dEhvcml6b250YWxBbGlnbm1lbnQADgAAAG1zb0FuY2hvck5vbmUAAlBhcmFncmFwaEFsaWdubWVudAAPAAAAbXNvQWxpZ25DZW50ZXIAAlRleHRWZXJ0aWNhbEFsaWdubWVudAAQAAAAbXNvQW5jaG9yTWlkZGxlAANGb244AAAABTcAAAA5AAAA5w8AAAAAAAAAAAAA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kAIRm9udFN0cmlrZXRocm91Z2gAAAhGb250U3Vic2NyaXB0AAAIRm9udFN1cGVyc2NyaXB0AAAIRm9udFVuZGVybGluZQAAAAhTaXplVG9UZXh0V2lkdGgAAQhTaXplVG9UZXh0SGVpZ2h0AAEDVGV4dE1hcmdpbgA/AAAAAUxlZnQAAAAAwFqt9j8BVG9wAAAAAKBIJOI/AVJpZ2h0AAAAAMBarfY/AUJvdHRvbQAAAACgSCTiPwACRGlzcGxheVRleHQABAAAADUyJQABSGVpZ2h0AAAAACBgCC1AAVdpZHRoAAAAAMCu8jhAAVRvcAAAAACAt/pRQAFMZWZ0AAAAAABkaXJ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NMZWFkZXJMaW5lAOEGAAADU3RhcnQAGwAAAAFYAAAAAAHhA3NAAVkAAAAA4LrOVUAAA0VuZAAbAAAAAVgAAAAAAeEDc0ABWQAAAAAg/WJuQAACU3RhcnRBcnJvd0hlYWQAEQAAAG1zb0Fycm93aGVhZE5vbmUAAkVuZEFycm93SGVhZAARAAAAbXNvQXJyb3doZWFkTm9uZQAFTWFuYWdlZElkABAAAAAE83S34Dp9o0SAiCh6TgLfLg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MCfe2NAAVdpZHRoAAAAAAAAAAAAAVRvcAAAAADgus5VQAFMZWZ0AAAAAADhA3N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B4QNzQAFZAAAAACD9wm5AAANFbmQAGwAAAAFYAAAAAAHhA3NAAVkAAAAAIP1ibkAAAlN0YXJ0QXJyb3dIZWFkABEAAABtc29BcnJvd2hlYWROb25lAAJFbmRBcnJvd0hlYWQAEQAAAG1zb0Fycm93aGVhZE5vbmUABU1hbmFnZWRJZAAQAAAABKUOHk+ep/5HhQsA+9SgoDc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OQAAAAU4AAAAOgAAAOcPAAAAAAAAAAAAAAABVG9wAAAAACD9Ym5AAUxlZnQAAAAAAOEDc0AIRmxpcEhvcml6b250YWxseQAACEZsaXBIb3Jpem9udGFsbHlBcHBsaWVkAAAIRmxpcFZlcnRpY2FsbHkAAQ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dvkwc0ABWQAAAAAa5ohTQAAISGFzTGVhZGVyTGluZQAACElzQ2VudGVyQXV0b21hdGljQWRqdXN0ZWQAAAhJc1VzZXJQb3NpdGlvbgAACEFkZFByZWZpeFNwYWNlAAAIQWRkUG9zdGZpeFNwYWNlAAACU2VwYXJhdG9yAAIAAAAKAAJUZXh0AAQAAAA1MiUACFJlcXVpcmVSZWxhdGl2ZVBvc2l0aW9uVXBncmFkZQAACElzR2VvbWV0cnlPdXRPZkJvdW5kcwAACElzTGVhZGVyTGluZUluQXV0b01vZGUAAQhEZWxldGVkAAAAAzMALBYAABBQb2ludEluZGV4AAQAAAACQWxpZ25tZW50AAcAAABDZW50ZXIAEFNlcmllc0luZGV4AAEAAAAIUmVxdWlyZUZvbnRDb2xvck1pZ3JhdGlvbgAACE1hbnVhbERhdGFMYWJlbEJhY2tncm91bmRWaXNpYmxlAAEISGFzV2lzaENvbG9yAAADVGV4dEJveAC6BgAABU1hbmFnZWRJZAAQAAAABHm82gesupNGifkUvfBx0IE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NTAlAAJUZXh0SG9yaXpvbnRhbEFsaWdubWVudAAOAAAAbXNvQW5jaG9yTm9uZQ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ZACEZvbnRTdHJpa2V0aHJvdWdoAAAIRm9udFN1YnNjcmlwdAAACEZvbnRTdXBlcnNjcmlwdAAACEZvbnRVbmRlcmxpbmUAAAAIU2l6ZVRvVGV4dFdpZHRoAAEIU2l6ZVRvVGV4dEhlaWdodAABA1RleHRNYXJnaW4APwAAAAFMZWZ0AAAAAMBarfY/AVRvcAAAAACgSCTiPwFSaWdodAAAAADAWq32PwFCb3R0b20AAAAAoEgk4j8AAkRpc3BsYXlUZXh0AAQAAAA1MCUAAUhlaWdodAAAAAAgYAgtQAFXaWR0aAAAAADArvI4QAFUb3AAAAAAoJzlWUABTGVmdAAAAAAgOypy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DTGVhZGVyTGluZQDhBgAAA1N0YXJ0ABsAAAABWAAAAADCCuh6QAFZAAAAAGDJol1AAANFbmQAGwAAAAFYAAAAAMIK6HpAAVkAAAAA4LPJbEAAAlN0YXJ0QXJyb3dIZWFkABEAAABtc29BcnJvd2hlYWROb25lAAJFbmRBcnJvd0hlYWQAEQAAAG1zb0Fycm93aGVhZE5vbmUABU1hbmFnZWRJZAAQAAAABLp2OYoJrMFApskFbbNPNUM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gnvBbQAFXaWR0aAAAAAAAAAAAAAFUb3AAAAAAYMmiXUABTGVmdAAAAADACuh6QAhGbGlwSG9yaXpvbnRhbGx5AAAIRmxpcEhvcml6b250YWxseUFwcGxpZWQAAAhGbGlwVmVydGljYWxseQAACEZsaXBWZXJ0aWNhbGx5QXBwbGllZAAAAVJvdGF0aW9uAAAAAAAAAAAAAVpPcmRlcgAAAAAAAAAAAANCb3JkZXJDb2xvcgBVAAAAEEEA/wAAADoAAAAFOQAAADsAAADnDwAAAAAAAAA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MIK6HpAAVkAAAAA4LMpbUAAA0VuZAAbAAAAAVgAAAAAwgroekABWQAAAADgs8lsQAACU3RhcnRBcnJvd0hlYWQAEQAAAG1zb0Fycm93aGVhZE5vbmUAAkVuZEFycm93SGVhZAARAAAAbXNvQXJyb3doZWFkTm9uZQAFTWFuYWdlZElkABAAAAAEA5uvZ5tMlkyZkx0iVhBLd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hAAVdpZHRoAAAAAAAAAAAAAVRvcAAAAADgs8lsQAFMZWZ0AAAAAMAK6HpACEZsaXBIb3Jpem9udGFsbHkAAAhGbGlwSG9yaXpvbnRhbGx5QXBwbGllZAAACEZsaXBWZXJ0aWNhbGx5AAE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JbQ8XJAAVkAAAAAOstzW0AACEhhc0xlYWRlckxpbmUAAAhJc0NlbnRlckF1dG9tYXRpY0FkanVzdGVkAAAISXNVc2VyUG9zaXRpb24AAAhBZGRQcmVmaXhTcGFjZQAACEFkZFBvc3RmaXhTcGFjZQAAAlNlcGFyYXRvcgACAAAACgACVGV4dAAEAAAANTAlAAhSZXF1aXJlUmVsYXRpdmVQb3NpdGlvblVwZ3JhZGUAAAhJc0dlb21ldHJ5T3V0T2ZCb3VuZHMAAAhJc0xlYWRlckxpbmVJbkF1dG9Nb2RlAAEIRGVsZXRlZAAAAAM0ACwWAAAQUG9pbnRJbmRleAAFAAAAAkFsaWdubWVudAAHAAAAQ2VudGVyABBTZXJpZXNJbmRleAABAAAACFJlcXVpcmVGb250Q29sb3JNaWdyYXRpb24AAAhNYW51YWxEYXRhTGFiZWxCYWNrZ3JvdW5kVmlzaWJsZQABCEhhc1dpc2hDb2xvcgAAA1RleHRCb3gAugYAAAVNYW5hZ2VkSWQAEAAAAASvd5XMU2LBSb13U+ZdU5zV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AAAADQ1JQACVGV4dEhvcml6b250YWxBbGlnbm1lbnQADgAAAG1zb0FuY2hvck5vbmU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mQAhGb250U3RyaWtldGhyb3VnaAAACEZvbnRTdWJzY3JpcHQAAAhGb250U3VwZXJzY3JpcHQAAAhGb250VW5kZXJsaW5lAAAACFNpemVUb1RleHRXaWR0aAABCFNpemVUb1RleHRIZWlnaHQAAQNUZXh0TWFyZ2luAD8AAAABTGVmdAAAAADAWq32PwFUb3AAAAAAoEgk4j8BUmlnaHQAAAAAwFqt9j8BQm90dG9tAAAAAKBIJOI/AAJEaXNwbGF5VGV4dAAEAAAANDUlAAFIZWlnaHQAAAAAIGAILUABV2lkdGgAAAAAwK7yOEABVG9wAAAAAEBB6GBAAUxlZnQAAAAAIASGc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w7AAAABToAAAA8AAAA5w8AAAAAAAAAAAAA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NMZWFkZXJMaW5lAOEGAAADU3RhcnQAGwAAAAFYAAAAAILDq39AAVkAAAAAAGy7YkAAA0VuZAAbAAAAAVgAAAAAgsOrf0ABWQAAAABArN9oQAACU3RhcnRBcnJvd0hlYWQAEQAAAG1zb0Fycm93aGVhZE5vbmUAAkVuZEFycm93SGVhZAARAAAAbXNvQXJyb3doZWFkTm9uZQAFTWFuYWdlZElkABAAAAAEqnSbzZ65r0WXFx25RxgPxg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BkUhAAVdpZHRoAAAAAAAAAAAAAVRvcAAAAAAAbLtiQAFMZWZ0AAAAAIDDq39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CCw6t/QAFZAAAAAECsP2lAAANFbmQAGwAAAAFYAAAAAILDq39AAVkAAAAAQKzfaEAAAlN0YXJ0QXJyb3dIZWFkABEAAABtc29BcnJvd2hlYWROb25lAAJFbmRBcnJvd0hlYWQAEQAAAG1zb0Fycm93aGVhZE5vbmUABU1hbmFnZWRJZAAQAAAABDp+3O9QTNZEiSulcGCaaAc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QKzfaEABTGVmdAAAAACAw6t/QAhGbGlwSG9yaXpvbnRhbGx5AAAIRmxpcEhvcml6b250YWxseUFwcGxpZWQAAAhGbGlwVmVydGljYWxseQAB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CWmU1yQAFZAAAAAI1Yr2FAAAhIYXNMZWFkZXJMaW5lAAAISXNDZW50ZXJBdXRvbWF0aWNBZGp1c3RlZAAACElzVXNlclBvc2l0aW9uAAAIQWRkUHJlZml4U3BhY2UAAAhBZGRQb3N0Zml4U3BhY2UAAAJTZXBhcmF0b3IAAgAAAAoAAlRleHQABAAAADQ1JQAIUmVxdWlyZVJlbGF0aXZlUG9zaXRpb25VcGdyYWRlAAAISXNHZW9tZXRyeU91dE9mQm91bmRzAAAISXNMZWFkZXJMaW5lSW5BdXRvTW9kZQABCERlbGV0ZWQAAAADNQAsFgAAEFBvPAAAAAU7AAAAJAEAAOcPAAAAAAAAAAAAAGludEluZGV4AAYAAAACQWxpZ25tZW50AAcAAABDZW50ZXIAEFNlcmllc0luZGV4AAEAAAAIUmVxdWlyZUZvbnRDb2xvck1pZ3JhdGlvbgAACE1hbnVhbERhdGFMYWJlbEJhY2tncm91bmRWaXNpYmxlAAEISGFzV2lzaENvbG9yAAADVGV4dEJveAC6BgAABU1hbmFnZWRJZAAQAAAABKwsBtmRAxhOsTh7sAmjEGk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MzQlAAJUZXh0SG9yaXpvbnRhbEFsaWdubWVudAAOAAAAbXNvQW5jaG9yTm9uZQ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ZACEZvbnRTdHJpa2V0aHJvdWdoAAAIRm9udFN1YnNjcmlwdAAACEZvbnRTdXBlcnNjcmlwdAAACEZvbnRVbmRlcmxpbmUAAAAIU2l6ZVRvVGV4dFdpZHRoAAEIU2l6ZVRvVGV4dEhlaWdodAABA1RleHRNYXJnaW4APwAAAAFMZWZ0AAAAAMBarfY/AVRvcAAAAACgSCTiPwFSaWdodAAAAADAWq32PwFCb3R0b20AAAAAoEgk4j8AAkRpc3BsYXlUZXh0AAQAAAAzNCUAAUhlaWdodAAAAAAgYAgtQAFXaWR0aAAAAADArvI4QAFUb3AAAAAAwLPdZEABTGVmdAAAAAAglj1w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DTGVhZGVyTGluZQDhBgAAA1N0YXJ0ABsAAAABWAAAAACAKN92QAFZAAAAABWWKmZAAANFbmQAGwAAAAFYAAAAAKiRamhAAVkAAAAAFZYqZkAAAlN0YXJ0QXJyb3dIZWFkABEAAABtc29BcnJvd2hlYWROb25lAAJFbmRBcnJvd0hlYWQAEQAAAG1zb0Fycm93aGVhZE5vbmUABU1hbmFnZWRJZAAQAAAABIpQt+wfYbhOrmjITaGbsss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gv1NlQAFUb3AAAAAAIJYqZkABTGVmdAAAAACgkWpoQAhGbGlwSG9yaXpvbnRhbGx5AAE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qJEKaEABWQAAAAAVlipmQAADRW5kABsAAAABWAAAAACokWpoQAFZAAAAABWWKmZAAAJTdGFydEFycm93SGVhZAARAAAAbXNvQXJyb3doZWFkTm9uZQACRW5kQXJyb3dIZWFkABEAAABtc29BcnJvd2hlYWROb25lAAVNYW5hZ2VkSWQAEAAAAAQ059Fe8C0GT6q+/i44hirB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D0AAAAE//////////8LAJEGAAAAAAAAAAAAAP/////NAM0AAAAFX2lkABAAAAAEDyXhyu1QCU2DQoxAhKZ7rQNEYXRhAGEAAAAISGFzU3R5bGVSZXBvc2l0b3J5QmVlbk1pZ3JhdGVkAAEISGFzQm9yZGVyU3R5bGVCZWVuTWlncmF0ZWQAAQhIYXNDaGFydEJlZW5MYXlvdXRlZEZvckZsZXgAAQACTmFtZQAdAAAAQ2hhcnRTdHlsZVN0YXR1c0luZm9ybWF0aW9ucwAQVmVyc2lvbgABAAAACUxhc3RXcml0ZQAR+F1oiQEAAAABAD4AAAAAAAIAQQAAAAAAAwD/////egF6AQAABV9pZAAQAAAABLqPDtUtXCNHr5MlX7JTzx0DRGF0YQAMAQAABFBvaW50Q29sb3JzU3R5bGUABQAAAAADU2VyaWVzQ29sb3JzU3R5bGUA3QAAAAMxANUAAAAQU2VyaWVzSW5kZXgAAQAAAANQcmltYXJ5Q29sb3JTdHlsZQCsAAAAAkNvbG9yUHJvcGVydHlUYXJnZXQACAAAAFByaW1hcnkAA0NvbG9yT3JUaGVtZUNvbG9yAHMAAAAQVGhlbWVDb2xvcgAFAAAAAVRpbnRBbmRTaGFkZQAAAAAAAAAAABBUaW50SW5kZXgA/////xBTY2hlbWVDb2xvcgAAAAAAA0NvbG9yACEAAAAQQQD/AAAAEFIAxwAAABBHACoAAAAQQgA0AAAAAAAAAAAAAk5hbWUAHwAAAFBvaW50QW5kU2VyaWVzU3R5bGVEZWZpbml0aW9ucwAQVmVyc2lvbgACAAAACUxhc3RXcml0ZQCis5A1lwEAAAAEAP////+SA5IDAAAFX2lkABAAAAAEfzo01zJt9keJr/hO/n82uQNEYXRhADADAAADQm91bmRzAG8BAAABWAAAAAAAAAAAAAFZAAAAAAAAAAAAAVdpZHRoAAAAAAAAAAAAAUhlaWdodAAAAAAAAAAAAAFMZWZ0AAAAAAAAAAAAAVRvcAAAAAAAAAAAAAFSaWdodAAAAAAAAAAAAAFCb3R0b20AAAAAAAAAAAADVG9wTGVmdAAbAAAAAVgAAAAAAAAAAAABWQAAAAAAAAAAAAADVG9wUmlnaHQAGwAAAAFYAAAAAAAAAAAAAVkAAAAAAAAAAAAAA0JvdHRvbUxlZnQAGwAAAAFYAAAAAAAAAAAAAVkAAAAAAAAAAAAAA0JvdHRvbVJpZ2h0ABsAAAABWAAAAAAAAAAAAAFZAAAAAAAAAAAAAANTaXplAC4AAAAISXNFbXB0eQAAAVdpZHRoAAAAAAAAAAAAAUhlaWdodAAAAAAAAAAAAAADTG9jYXRpb24AGwAAAAFYAAAAAAAAAAAAAVkAAAAAAAAAAAAACElzRW1wdHkAAAAISXNWaXNpYmxlAAAISXNSZXZlcnNlZAAACFNob3dHcmlkbGluZXMAAAFNYW51YWxNYWpvclVuaXQAAAAAAAAAAAABTWFudWFsTWF4aW11bVNjYWxlAAAAAAAAAAAAAU1hbnVhbE1pbmltdW1TY2FsZQAAAAAAAAAAAAhVc2VBdXRvbWF0aWNNYWpvclVuaXQAAQhVc2VBdXRvbWF0aWNNaW5pbXVtU2NhbGUAAQhVc2VBdXRvbWF0aWNNYXhpbXVtU2NhbGUAAQNBZGRpdGlvbmFsQXhpc1RpY2tMYWJlbHNEYXRhALcAAAAESXRlbURhdGEABQAAAAADRm9udENvbG9yAFUAAAAQQQAAAAAAEFIAAAAAABBHAAAAAAAQQgAAAAAAAVNjQQAAAAAAAAAAAAFTY1IAAAAAAAAAAAABU2NHAAAAAAAAAAAAAVNjQgAAAAAAAAAAAAAQRm9udFNjaGVtZUNvbG9yAAAAAAAQRm9udFRoZW1lQ29sb3IAAAAAAAFGb250VGludEFuZFNoYWRlAAAAAAAAAAAAAARHcmlkbGluZUl0ZW1EYXRhAAUAAAAAAAJOYW1lABMAAABBZGRpdGlvbmFsQXhpc0RhdGEAEFZlcnNpb24AAAAAAAlMYXN0V3JpdGUAta5daIkBAAAABQD/////gQCBAAAABV9pZAAQAAAABLTgMdhEk1dLnLk5pTrR95EDRGF0YQAgAAAAA1Nlcmllc05lZ2F0aXZlQ29sb3JzAAUAAAAAAAJOYW1lABIAAABDb2xvckRhdGFQcm9wZXJ0eQAQVmVyc2lvbgAAAAAACUxhc3RXcml0ZQAL9++PbwEAAAAGAEYAAAAAAAcA/////7UAtQAAAAVfaWQAEAAAAAQStnHfuDNXTpFIYFQgwA1MA0RhdGEAVwAAAAFMZWZ0AAAAAAAAAAAAAVRvcAAAAAAAAAAAAAFSaWdodAAAAAAAAAAAAAFCb3R0b20AAAAAAAAAAAABTWFyZ2luVG9MZWdlbmQAAAAAAAAAAAAAAk5hbWUADwAAAFBsb3RBcmVhQm9yZGVyABBWZXJzaW9uAAAAAAAJTGFzdFdyaXRlAAiKv/diAQAAAAgASgAAAAAACQD/////dQB1AAAABV9pZAAQAAAABOGyt+349QZLu2ahK4vi1M4DRGF0YQASAAAABEJyZWFrcwAFAAAAAAACTmFtZQAUAAAAQnJlYWtNYW5hZ2VtZW50RGF0YQAQVmVyc2lvbgAAAAAACUxhc3RXcml0ZQBx5sNDYgEAAAAKAP////96AXoBAAAFX2lkABAAAAAEAxAq8EQX4kK3o1jI+gnULANEYXRhAAwBAAAEUG9pbnRDb2xvcnNTdHlsZQAFAAAAAANTZXJpZXNDb2xvcnNTdHlsZQDdAAAAAzEA1QAAABBTZXJpZXNJbmRleAABAAAAA1ByaW1hcnlDb2xvclN0eWxlAKwAAAACQ29sb3JQcm9wZXJ0eVRhcmdldAAIAAAAUHJpbWFyeQADQ29sb3JPclRoZW1lQ29sb3IAcwAAABBUaGVtZUNvbG9yAAUAAAABVGludEFuZFNoYWRlAAAAAAAAAAAAEFRpbnRJbmRleAD/////EFNjaGVtZUNvbG9yAAAAAAADQ29sb3IAIQAAABBBAP8AAAAQUgDHAAAAEEcAKgAAABBCADQAAAAAAAAAAAACTmFtZQAfAAAAUG9pbnRBbmRTZXJpZXNTdHlsZURlZmluaXRpb25zABBWZXJzaW9uAAEAAAAJTGFzdFdyaXRlAKKzk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f////8/AAAA5w8AAAAAAAAAAAAAtUgAAAVfaWQAEAAAAATRKrXOY5UcSL7CPcOc7GRFA0RhdGEATUgAAARDYXRlZ29yeUF4aXNMYWJlbERhdGEAAUgAAAMwAC0HAAADVGV4dEJveERhdGEA3gYAAAVNYW5hZ2VkSWQAEAAAAASn3Ulw7H55Ra0LvSuj35lE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FwAAAEdld2lubnVuZyB2b24gUGVyc29uYWwAAlRleHRIb3Jpem9udGFsQWxpZ25tZW50AA4AAABtc29BbmNob3JOb25lAAJQYXJhZ3JhcGhBbGlnbm1lbnQADQAAAG1zb0FsaWduTGVmdAACVGV4dFZlcnRpY2FsQWxpZ25tZW50ABAAAABtc29BbmNob3JNaWRkbGUAA0ZvbnRTdHlsZQBBAQAAEEZvbnRCYWNrZ3JvdW5kAAAAAAAIRm9udEJvbGQAAQNGb250Q29sb3IAVQAAABBBAP8AAAAQUgCAAAAAEEcAgAAAABBCAIAAAAABU2NBAAAAAAAAAPA/AVNjUgAAAABgUaHLPwFTY0cAAAAAYFGhyz8BU2NCAAAAAGBRocs/ABBGb250VGhlbWVDb2xvcgACAAAAAUZvbnRUaW50QW5kU2hhZGUAAAAAAAAA4L8QRm9udFNjaGVtZUNvbG9yAAAAAAAIRm9udEl0YWxpYwAAAkZvbnROYW1lAAcAAAArbW4tbHQAAUZvbnRTaXplAAAAAAAAACZACEZvbnRTdHJpa2V0aHJvdWdoAAAIRm9udFN1YnNjcmlwdAAACEZvbnRTdXBlcnNjcmlwdAAACEZvbnRVbmRlcmxpbmUAAAAIU2l6ZVRvVGV4dFdpZHRoAAEIU2l6ZVRvVGV4dEhlaWdodAABA1RleHRNYXJnaW4APwAAAAFMZWZ0AAAAAAAAAAAAAVRvcAAAAAAAAAAAAAFSaWdodAAAAAAAAAAAAAFCb3R0b20AAAAAAAAAAAAAAkRpc3BsYXlUZXh0ABcAAABHZXdpbm51bmcgdm9uIFBlcnNvbmFsAAFIZWlnaHQAAAAAINfDKkABV2lkdGgAAAAAINeDYEABVG9wAAAAAACpSSJAAUxlZnQAAAAAoKeZC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k9yaWVudGF0aW9uAAUAAABOb25lAAhMYWJlbFZpc2libGUAAQJUZXh0QWxpZ25tZW50AAUAAABMZWZ0AAADMQAfBwAAA1RleHRCb3hEYXRhANAGAAAFTWFuYWdlZElkABAAAAAEXTwwoqKNpEGark26gyvf8w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BAAAABEaWdpdGFsaXNpZXJ1bmcAAlRleHRIb3Jpem9udGFsQWxpZ25tZW50AA4AAABtc29BbmNob3JOb25lAAJQYXJhZ3JhcGhBbGlnbm1lbnQADQAAAG1zb0FsaWduTGVmdAACVGV4dFZlcnRpY2FsQWxpZ25tZW50ABAAAABtc29BbmNob3JNaWRkbGUAA0ZvbnRTdHlsZQBBAQAAEEZvbnRCYWNrZ3JvdW5kAAAAAAAIRm9udEJvbGQAAQNGb250Q29sb3IAVQAAABBBAP8AAAAQUgCAAAAAEEcAgAAAABBCAIAAAAABU2NBAAAAAAAAAPA/AVNjUgAAAABgUaHLPwFTY0cAAAAAYFGhyz8BU2NCAAAAAGBRocs/ABBGb250VGhlbWVDb2xvcgACAAAAAUZvbnRUaW50QW5kU2hhZGUAAAAAAAAA4L8QRm9udFNjaGVtZUNvbG9yAAAAAAAIRm9udEl0YWxpYwAAAkZvbnROYW1lAAcAAAArbW4tbHQAAUZvbnRTaXplAAAAAAAAACZACEZvbnRTdHJpa2V0aHJvdWdoAAAIRm9udFN1YnNjcmlwdAAACEZvbnRTdXBlcnNjcmlwdAAACEZvbnRVbmRlcmxpbmUAAAAIU2l6ZVRvVGV4dFdpZHRoAAEIU2l6ZVRvVGV4dEhlaWdodAABA1RleHRNYXJnaW4APwAAAAFMZWZ0AAAAAAAAAAAAAVRvcAAAAAAAAAAAAAFSaWdodAAAAAAAAAAAAAFCb3R0b20AAAAAAAAAAAAAAkRpc3BsYXlUZXh0ABAAAABEaWdpdGFsaXNpZXJ1bmcAAUhlaWdodAAAAAAg18MqQAFXaWR0aAAAAAAAACBTQAFUb3AAAAAA4DVoREABTGVmdAAAAACgp5kJ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CT3JpZW50YXRpb24ABQAAAE5vbmUACExhYmVsVmlzaWJsZQABAlRleHRBbGlnbm1lbnQABQAAAExlZnQAAAMyAC0HAAADVGV4dEJveERhdGEA3gYAAAVNYW5hZ2VkSWQAEAAAAARtkQFuTP/ZT6sozRmbpw0/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PwAAAAU+AAAAQAAAAOcPAAAAAAAAAAAAAAAAAAABU2NSAAAAAAAAAAAAAVNjRwAAAAAAAAAAAAFTY0IAAAAAAAAAAAAAEFBhdHRlcm5UaGVtZUNvbG9yAAAAAAABUGF0dGVyblRpbnRBbmRTaGFkZQAAAAAAAAAAAAhGaWxsVmlzaWJsZQAACFZpc2libGUAAQJGaWxsUGF0dGVybgAQAAAAbXNvUGF0dGVybk1peGVkAAJUZXh0ABcAAABGaW5hbnppZWxsZSBSZXNzb3VyY2VuAAJUZXh0SG9yaXpvbnRhbEFsaWdubWVudAAOAAAAbXNvQW5jaG9yTm9uZQACUGFyYWdyYXBoQWxpZ25tZW50AA0AAABtc29BbGlnbkxlZnQAAlRleHRWZXJ0aWNhbEFsaWdubWVudAAQAAAAbXNvQW5jaG9yTWlkZGxlAANGb250U3R5bGUAQQEAABBGb250QmFja2dyb3VuZAAAAAAACEZvbnRCb2xkAAEDRm9udENvbG9yAFUAAAAQQQD/AAAAEFIAgAAAABBHAIAAAAAQQgCAAAAAAVNjQQAAAAAAAADwPwFTY1IAAAAAYFGhyz8BU2NHAAAAAGBRocs/AVNjQgAAAABgUaHLPwAQRm9udFRoZW1lQ29sb3IAAgAAAAFGb250VGludEFuZFNoYWRlAAAAAAAAAOC/EEZvbnRTY2hlbWVDb2xvcgAAAAAACEZvbnRJdGFsaWMAAAJGb250TmFtZQAHAAAAK21uLWx0AAFGb250U2l6ZQAAAAAAAAAmQAhGb250U3RyaWtldGhyb3VnaAAACEZvbnRTdWJzY3JpcHQAAAhGb250U3VwZXJzY3JpcHQAAAhGb250VW5kZXJsaW5lAAAACFNpemVUb1RleHRXaWR0aAABCFNpemVUb1RleHRIZWlnaHQAAQNUZXh0TWFyZ2luAD8AAAABTGVmdAAAAAAAAAAAAAFUb3AAAAAAAAAAAAABUmlnaHQAAAAAAAAAAAABQm90dG9tAAAAAAAAAAAAAAJEaXNwbGF5VGV4dAAXAAAARmluYW56aWVsbGUgUmVzc291cmNlbgABSGVpZ2h0AAAAACDXwypAAVdpZHRoAAAAAEAKl15AAVRvcAAAAAAAAB9SQAFMZWZ0AAAAAKCnmQl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JPcmllbnRhdGlvbgAFAAAATm9uZQAITGFiZWxWaXNpYmxlAAECVGV4dEFsaWdubWVudAAFAAAATGVmdAAAAzMAOQcAAANUZXh0Qm94RGF0YQDqBgAABU1hbmFnZWRJZAAQAAAABLCx9LLhm7BJlS1+2HxWCHs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dAAAAUmVndWxhdG9yaXNjaGUgQW5mb3JkZXJ1bmdlbgACVGV4dEhvcml6b250YWxBbGlnbm1lbnQADgAAAG1zb0FuY2hvck5vbmUAAlBhcmFncmFwaEFsaWdubWVudAANAAAAbXNvQWxpZ25MZWZ0AAJUZXh0VmVydGljYWxBbGlnbm1lbnQAEAAAAG1zb0FuY2hvck1pZGRsZQADRm9udFN0eWxlAEEBAAAQRm9udEJhY2tncm91bmQAAAAAAAhGb250Qm9sZAABA0ZvbnRDb2xvcgBVAAAAEEEA/wAAABBSAIAAAAAQRwCAAAAAEEIAgAAAAAFTY0EAAAAAAAAA8D8BU2NSAAAAAGBRocs/AVNjRwAAAABgUaHLPwFTY0IAAAAAYFGhyz8AEEZvbnRUaGVtZUNvbG9yAAIAAAABRm9udFRpbnRBbmRTaGFkZQAAAAAAAADgvxBGb250U2NoZW1lQ29sb3IAAAAAAAhGb250SXRhbGljAAACRm9udE5hbWUABwAAACttbi1sdAABRm9udFNpemUAAAAAAAAAJkAIRm9udFN0cmlrZXRocm91Z2gAAAhGb250U3Vic2NyaXB0AAAIRm9udFN1cGVyc2NyaXB0AAAIRm9udFVuZGVybGluZQAAAAhTaXplVG9UZXh0V2lkdGgAAQhTaXplVG9UZXh0SGVpZ2h0AAEDVGV4dE1hcmdpbgA/AAAAAUxlZnQAAAAAAAAAAAABVG9wAAAAAAAAAAAAAVJpZ2h0AAAAAAAAAAAAAUJvdHRvbQAAAAAAAAAAAAACRGlzcGxheVRleHQAHQAAAFJlZ3VsYXRvcmlzY2hlIEFuZm9yZGVydW5nZW4AAUhlaWdodAAAAAAg18MqQAFXaWR0aAAAAADgzDRkQAFUb3AAAAAAIOUJWkABTGVmdAAAAACgp5kJ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CT3JpZW50YXRpb24ABQAAAE5vbmUACExhYmVsVmlzaWJsZQABAlRleHRBbGlnbm1lbnQABQAAAExlZnQAAAM0AHEHAAADVGV4dEJveERhdGEAIgcAAAVNYW5hZ2VkSWQAEAAAAATMMNxAGrYWTIUCOEgLCe/u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OQAAAFdlaXRlcmVudHdpY2tsdW5nIGRlciBLb21wZXRlbnplbgogdm9uIE1pdGFyYmVpdGVyOmlubmVuAAJUZXh0SG9yaXpvbnRhbEFsaWdubWVudAAOAAAAbXNvQW5jaG9yTm9uZQACUGFyYWdyYXBoQWxpZ25tZW50AA0AAABtc29BbGlnbkxlZnQAAlRleHRWZXJ0aWNhbEFsaWdubWVudAAQAAAAbXNvQW5jaG9yTWlkZGxlAANGb250U3R5bGUAQQEAABBGb250QmFja2dyb3VuZAAAAAAACEAAAAAFPwAAAJIAAADnDwAAAAAAAAAAAABGb250Qm9sZAABA0ZvbnRDb2xvcgBVAAAAEEEA/wAAABBSAIAAAAAQRwCAAAAAEEIAgAAAAAFTY0EAAAAAAAAA8D8BU2NSAAAAAGBRocs/AVNjRwAAAABgUaHLPwFTY0IAAAAAYFGhyz8AEEZvbnRUaGVtZUNvbG9yAAIAAAABRm9udFRpbnRBbmRTaGFkZQAAAAAAAADgvxBGb250U2NoZW1lQ29sb3IAAAAAAAhGb250SXRhbGljAAACRm9udE5hbWUABwAAACttbi1sdAABRm9udFNpemUAAAAAAAAAJkAIRm9udFN0cmlrZXRocm91Z2gAAAhGb250U3Vic2NyaXB0AAAIRm9udFN1cGVyc2NyaXB0AAAIRm9udFVuZGVybGluZQAAAAhTaXplVG9UZXh0V2lkdGgAAQhTaXplVG9UZXh0SGVpZ2h0AAEDVGV4dE1hcmdpbgA/AAAAAUxlZnQAAAAAAAAAAAABVG9wAAAAAAAAAAAAAVJpZ2h0AAAAAAAAAAAAAUJvdHRvbQAAAAAAAAAAAAACRGlzcGxheVRleHQAOQAAAFdlaXRlcmVudHdpY2tsdW5nIGRlciBLb21wZXRlbnplbgogdm9uIE1pdGFyYmVpdGVyOmlubmVuAAFIZWlnaHQAAAAA4JvJPEABV2lkdGgAAAAAQKcNaEABVG9wAAAAAIDqA2BAAUxlZnQAAAAAoKeZC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QAKwPEAAAk9yaWVudGF0aW9uAAUAAABOb25lAAhMYWJlbFZpc2libGUAAQJUZXh0QWxpZ25tZW50AAUAAABMZWZ0AAADNQA3BwAAA1RleHRCb3hEYXRhAOgGAAAFTWFuYWdlZElkABAAAAAEcueRMWMnqEmsRzbXSy9Ryg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BwAAABFZmZpemllbnogaW50ZXJuZXIgUHJvemVzc2UAAlRleHRIb3Jpem9udGFsQWxpZ25tZW50AA4AAABtc29BbmNob3JOb25lAAJQYXJhZ3JhcGhBbGlnbm1lbnQADQAAAG1zb0FsaWduTGVmdAACVGV4dFZlcnRpY2FsQWxpZ25tZW50ABAAAABtc29BbmNob3JNaWRkbGUAA0ZvbnRTdHlsZQBBAQAAEEZvbnRCYWNrZ3JvdW5kAAAAAAAIRm9udEJvbGQAAQNGb250Q29sb3IAVQAAABBBAP8AAAAQUgCAAAAAEEcAgAAAABBCAIAAAAABU2NBAAAAAAAAAPA/AVNjUgAAAABgUaHLPwFTY0cAAAAAYFGhyz8BU2NCAAAAAGBRocs/ABBGb250VGhlbWVDb2xvcgACAAAAAUZvbnRUaW50QW5kU2hhZGUAAAAAAAAA4L8QRm9udFNjaGVtZUNvbG9yAAAAAAAIRm9udEl0YWxpYwAAAkZvbnROYW1lAAcAAAArbW4tbHQAAUZvbnRTaXplAAAAAAAAACZACEZvbnRTdHJpa2V0aHJvdWdoAAAIRm9udFN1YnNjcmlwdAAACEZvbnRTdXBlcnNjcmlwdAAACEZvbnRVbmRlcmxpbmUAAAAIU2l6ZVRvVGV4dFdpZHRoAAEIU2l6ZVRvVGV4dEhlaWdodAABA1RleHRNYXJnaW4APwAAAAFMZWZ0AAAAAAAAAAAAAVRvcAAAAAAAAAAAAAFSaWdodAAAAAAAAAAAAAFCb3R0b20AAAAAAAAAAAAAAkRpc3BsYXlUZXh0ABwAAABFZmZpemllbnogaW50ZXJuZXIgUHJvemVzc2UAAUhlaWdodAAAAAAg18MqQAFXaWR0aAAAAADAqoJhQAFUb3AAAAAAANjvZEABTGVmdAAAAACgp5kJ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CT3JpZW50YXRpb24ABQAAAE5vbmUACExhYmVsVmlzaWJsZQABAlRleHRBbGlnbm1lbnQABQAAAExlZnQAAAM2ADEHAAADVGV4dEJveERhdGEA4gYAAAVNYW5hZ2VkSWQAEAAAAATM2dhBbG1GTY+4z9+dglAu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GQAAAFN0cmF0ZWdpc2NoZSBBdXNyaWNodHVuZwACVGV4dEhvcml6b250YWxBbGlnbm1lbnQADgAAAG1zb0FuY2hvck5vbmUAAlBhcmFncmFwaEFsaWdubWVudAANAAAAbXNvQWxpZ25MZWZ0AAJUZXh0VmVydGljYWxBbGlnbm1lbnQAEAAAAG1zb0FuY2hvck1pZGRsZQADRm9udFN0eWxlAEEBAAAQRm9udEJhY2tncm91bmQAAAAAAAhGb250Qm9sZAABA0ZvbnRDb2xvcgBVAAAAEEEA/wAAABBSAIAAAAAQRwCAAAAAEEIAgAAAAAFTY0EAAAAAAAAA8D8BU2NSAAAAAGBRocs/AVNjRwAAAABgUaHLPwFTY0IAAAAAYFGhyz8AEEZvbnRUaGVtZUNvbG9yAAIAAAABRm9udFRpbnRBbmRTaGFkZQAAAAAAAADgvxBGb250U2NoZW1lQ29sb3IAAAAAAAhGb250SXRhbGljAAACRm9udE5hbWUABwAAACttbi1sdAABRm9udFNpemUAAAAAAAAAJkAIRm9udFN0cmlrZXRocm91Z2gAAAhGb250U3Vic2NyaXB0AAAIRm9udFN1cGVyc2NyaXB0AAAIRm9udFVuZGVybGluZQAAAAhTaXplVG9UZXh0V2lkdGgAAQhTaXplVG9UZXh0SGVpZ2h0AAEDVGV4dE1hcmdpbgBBAAAABf////9CAAAA5w8AAAAAAAAAAAAAFygAAAVfaWQAEAAAAASq8jbSuISwQLFO8TEpAkJdA0RhdGEAvycAAARTYXZlZEF4aXNMYWJlbERhdGEApicAAAMwALcNAAACQXhpc1R5cGUACAAAAHhsVmFsdWUAAkF4aXNHcm91cAAKAAAAeGxQcmltYXJ5AAhTY2hlbWVDb2xvckFwcGxpZWQAAAhGb250U3R5bGVVbmRlcmxpbmVkAAAIQXBwbHlPdmVyYWxsRm9udHNpemUAAQhJc1Zpc2libGUAAAhYbEF1dG9tYXRpY0NvbG9ySW5kZXhBcHBsaWVkAAAIVXNlRXhjZWxGb3JtYXRzV2hlbkRhdGVBeGlzAAADQXhpc1RpdGxlRGF0YQCUCAAAA1Bvc2l0aW9uADoAAAACQW5jaG9yAAsAAABBeGlzQ2VudGVyAAFSZWxhdGl2ZUFuY2hvck9mZnNldAAAAAAAAAAAAAAIV2FudFRvQmVWaXNpYmxlAAADVGV4dEJveERhdGEArwYAAAVNYW5hZ2VkSWQAEAAAAATcTtxopAwgSpxNt8ZONA+0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NAAAAbXNvQWxpZ25MZWZ0AAJUZXh0VmVydGljYWxBbGlnbm1lbnQADQAAAG1zb0FuY2hvclRvcA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MEAIRm9udFN0cmlrZXRocm91Z2gAAAhGb250U3Vic2NyaXB0AAAIRm9udFN1cGVyc2NyaXB0AAAIRm9udFVuZGVybGluZQAAAAhTaXplVG9UZXh0V2lkdGgAAQhTaXplVG9UZXh0SGVpZ2h0AAEDVGV4dE1hcmdpbgA/AAAAAUxlZnQAAAAAAAAAAAABVG9wAAAAAAAAAAAAAVJpZ2h0AAAAAAAAAAAAAUJvdHRvbQAAAAAAAAAAAAACRGlzcGxheVRleHQAAQAAAAABSGVpZ2h0AAAAAMCOQANAAVdpZHRoAAAAAKCZmbk/AVRvcAAAAAAAAAAQQAFMZWZ0AAAAAAAAABB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ADCcwJAAANQb3NzaWJsZUFyZWE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AIVXNlQXV0b21hdGljTWFqb3JVbml0AAEIVXNlQXV0b21hdGljTWluaW11bVNjYWxlAAEIVXNlQXV0b21hdGljTWF4aW11bVNjYWxlAAEDRm9udENvbG9yAFUAAAAQQQD/AAAAEFIAQAAAABBHAEAAAAAQQgBAAAAAAVNjQQAAAAAAAADwPwFTY1IAAAAAwP0/qj8BU2NHAAAAAMD9P6o/AVNjQgAAAADA/T+qPwAQRm9udFNjaGVtZUNvbG9yAAIAAAAQRm9udFRoZW1lQ29sb3IAAAAAAAFGb250VGludEFuZFNoYWRlAAAAAAAAAAAAAkxhYmVsUG9zaXRpb24ABQAAAE5vbmUAA0F4aXNMaW5lU3R5bGUAMwEAAAJfdHlwZQByAAAAbWlvLkNvbW1vbi5Qb3dlclBvaW50Lk1hbmFnZWQuQ29udHJhY3RzLkN1c3RvbWl6aW5nLlN0eWxlcy5BeGlzTGluZVN0eWxlLCBtaW8uQ29tbW9uLlBvd2VyUG9pbnQuTWFuYWdlZC5Db250cmFjdHMAAUxpbmVXZWlnaHQAAAAAAAAA4D8CRGFzaFN0eWxlAAoAAABMaW5lU29saWQACFZpc2libGUAAQNDb2xvcgBzAAAAEFRoZW1lQ29sb3IADQAAAAFUaW50QW5kU2hhZGUAAAAAAAAAAAAQVGludEluZGV4AP////8QU2NoZW1lQ29sb3IAAAAAAANDb2xvcgAhAAAAEEEAAAAAABBSAP8AAAAQRwD/AAAAEEIA/wAAAAAA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DMQAnDAAAAkF4aXNUeXBlAAgAAAB4bFZhbHVlAAJBeGlzR3JvdXAADAAAAHhsU2Vjb25kYXJ5AAhTY2hlbWVDb2xvckFwcGxpZWQAAAhGb250U3R5bGVVbmRlcmxpbmVkAAAIQXBwbHlPdmVyYWxsRm9udHNpemUAAAhJc1Zpc2libGUAAAhYbEF1dG9tYXRpY0NvbG9ySW5kZXhBcHBsaWVkAAAIVXNlRXhjZWxGb3JtYXRzV2hlbkRhdGVBeGlzAAADQXhpc1RpdGxlRGF0YQBHCAAAA1Bvc2l0aW9uADoAAAACQW5jaG9yAAsAAABBeGlzQ2VudGVyAAFSZWxhdGl2ZUFuY2hvck9mZnNldAAAAAAAAAAAAAAIV2FudFRvQmVWaXNpYmxlAAADVGV4dEJveERhdGEAYgYAAAVNYW5hZ2VkSWQAEAAAAASDY2Ky2JhESIWhlKZASttwCEhhc0NoYW5nZXMAAQhVc2VOYW1lSW5zdGVhZE9mVGFnQXNJZAABCFNoYXBlUHJldmlvdXNseUNyZWF0ZWQAAANGaWxsQ29sb3IAVQAAABBBAAAAAAAQUgAAAAAAEEcAAAAAABBCAAAAAAABU2NBAAAAAAAAAPC/AVNjUgAAAAAAAADwvwFTY0cAAAAAAAAAQgAAAAVBAAAAQwAAAOcPAAAA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0AAABtc29BbGlnbkxlZnQAAlRleHRWZXJ0aWNhbEFsaWdubWVudAANAAAAbXNvQW5jaG9yVG9wAANGb250U3R5bGUALAEAABBGb250QmFja2dyb3VuZAAAAAAACEZvbnRCb2xkAAADRm9udENvbG9yAFUAAAAQQQD/AAAAEFIAAAAAABBHAAAAAAAQQgAAAAAAAVNjQQAAAAAAAADwPwFTY1IAAAAAAAAAAAABU2NHAAAAAAAAAAAAAVNjQgAAAAAAAAAAAAAQRm9udFRoZW1lQ29sb3IAAAAAAAFGb250VGludEFuZFNoYWRlAAAAAAAAAAAAEEZvbnRTY2hlbWVDb2xvcgACAAAACEZvbnRJdGFsaWMAAAFGb250U2l6ZQAAAAAAAAAoQAhGb250U3RyaWtldGhyb3VnaAAACEZvbnRTdWJzY3JpcHQAAAhGb250U3VwZXJzY3JpcHQAAAhGb250VW5kZXJsaW5lAAAACFNpemVUb1RleHRXaWR0aAABCFNpemVUb1RleHRIZWlnaHQAAQNUZXh0TWFyZ2luAD8AAAABTGVmdAAAAAAAAAAAAAFUb3AAAAAAAAAAAAABUmlnaHQAAAAAAAAAAAABQm90dG9tAAAAAAAAAAAAAAFIZWlnaHQAAAAAAAAAAAABV2lkdGgAAAAAAAAAAAABVG9wAAAAAAAAABBAAUxlZnQAAAAAAAAAE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Bvc3NpYmxlQXJlYQ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AAhVc2VBdXRvbWF0aWNNYWpvclVuaXQAAQhVc2VBdXRvbWF0aWNNaW5pbXVtU2NhbGUAAQhVc2VBdXRvbWF0aWNNYXhpbXVtU2NhbGUAAQNGb250Q29sb3IAVQAAABBBAP8AAAAQUgAAAAAAEEcAAAAAABBCAAAAAAABU2NBAAAAAAAAAPA/AVNjUgAAAAAAAAAAAAFTY0cAAAAAAAAAAAABU2NCAAAAAAAAAAAAABBGb250U2NoZW1lQ29sb3IAAgAAABBGb250VGhlbWVDb2xvcgAAAAAAAUZvbnRUaW50QW5kU2hhZGUAAAAAAAAAAAACTGFiZWxQb3NpdGlvbgACAAAAMAADTnVtYmVyRm9ybWF0AB8AAAAFX2lkABAAAAAEAAAAAAAAAAAAAAAAAAAA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AAzIAug0AAAJBeGlzVHlwZQALAAAAeGxDYXRlZ29yeQACQXhpc0dyb3VwAAoAAAB4bFByaW1hcnkACFNjaGVtZUNvbG9yQXBwbGllZAABCEZvbnRTdHlsZVVuZGVybGluZWQAAAhBcHBseU92ZXJhbGxGb250c2l6ZQABCElzVmlzaWJsZQABCFhsQXV0b21hdGljQ29sb3JJbmRleEFwcGxpZWQAAAhVc2VFeGNlbEZvcm1hdHNXaGVuRGF0ZUF4aXMAAQNBeGlzVGl0bGVEYXRhAJQIAAADUG9zaXRpb24AOgAAAAJBbmNob3IACwAAAEF4aXNDZW50ZXIAAVJlbGF0aXZlQW5jaG9yT2Zmc2V0AAAAAAAAAAAAAAhXYW50VG9CZVZpc2libGUAAANUZXh0Qm94RGF0YQCvBgAABU1hbmFnZWRJZAAQAAAABBgcCXM11mdKonS5kZ/ThKk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0AAABtc29BbGlnbkxlZnQAAlRleHRWZXJ0aWNhbEFsaWdubWVudAANAAAAbXNvQW5jaG9yVG9w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wQAhGb250U3RyaWtldGhyb3VnaAAACEZvbnRTdWJzY3JpcHQAAAhGb250U3VwZXJzY3JpcHQAAAhGb250VW5kZXJsaW5lAAAACFNpemVUb1RleHRXaWR0aAABCFNpemVUb1RleHRIZWlnaHQAAQNUZXh0TWFyZ2luAD8AAAABTGVmdAAAAAAAAAAAAAFUb3AAAAAAAAAAAAABUmlnaHQAAAAAAAAAAAABQm90dG9tAAAAAAAAAAAAAAJEaXNwbGF5VGV4dAABAAAAAAFIZWlnaHQAAAAAwI5AA0ABV2lkdGgAAAAAoJmZuT8BVG9wAAAAAAAAABBAAUxlZnQAAAAAAAAAEEAIRmxpcEhvcml6b250YUMAAAAFQgAAAP////9JCJ4HAAAAAAAAAABsbHkAAAhGbGlwSG9yaXpvbnRhbGx5QXBwbGllZAAACEZsaXBWZXJ0aWNhbGx5AAAIRmxpcFZlcnRpY2FsbHlBcHBsaWVkAAABUm90YXRpb24AAAAAAADgcE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ADCcwJAAANQb3NzaWJsZUFyZWE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AIVXNlQXV0b21hdGljTWFqb3JVbml0AAEIVXNlQXV0b21hdGljTWluaW11bVNjYWxlAAEIVXNlQXV0b21hdGljTWF4aW11bVNjYWxlAAEDRm9udENvbG9yAFUAAAAQQQD/AAAAEFIAQAAAABBHAEAAAAAQQgBAAAAAAVNjQQAAAAAAAADwPwFTY1IAAAAAwP0/qj8BU2NHAAAAAMD9P6o/AVNjQgAAAADA/T+qPwAQRm9udFNjaGVtZUNvbG9yAAIAAAAQRm9udFRoZW1lQ29sb3IAAAAAAAFGb250VGludEFuZFNoYWRlAAAAAAAAAAAAAkxhYmVsUG9zaXRpb24ABQAAAE5vbmUAA0F4aXNMaW5lU3R5bGUAMwEAAAJfdHlwZQByAAAAbWlvLkNvbW1vbi5Qb3dlclBvaW50Lk1hbmFnZWQuQ29udHJhY3RzLkN1c3RvbWl6aW5nLlN0eWxlcy5BeGlzTGluZVN0eWxlLCBtaW8uQ29tbW9uLlBvd2VyUG9pbnQuTWFuYWdlZC5Db250cmFjdHMAAUxpbmVXZWlnaHQAAAAAAAAA4D8CRGFzaFN0eWxlAAoAAABMaW5lU29saWQACFZpc2libGUAAQNDb2xvcgBzAAAAEFRoZW1lQ29sb3IADQAAAAFUaW50QW5kU2hhZGUAAAAAAAAAAAAQVGludEluZGV4AP////8QU2NoZW1lQ29sb3IAAAAAAANDb2xvcgAhAAAAEEEAAAAAABBSAP8AAAAQRwD/AAAAEEIA/wAAAAAA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AAAJOYW1lAAkAAABBeGVzRGF0YQAQVmVyc2lvbgAFAAAACUxhc3RXcml0ZQAf7pE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EAAAAAwAAAAD/////CAAODgAAAAAAAAAAAAABAQUAAAAyAP///////xEABkNvbG9yRGF0YVByb3BlcnR5PQAAAAUABAAAAC0ABAAAACMAAQACAQUAAAAzAP///////wsABk1hcmtlcnNEYXRhRQAAAAAABAAAABsABAAAAAcABAAAABsABAAAAAYAAgABAQUAAAA0AP///////wgABk92ZXJsYXlzPQAAAAYABAAAACYABAAAACEAAwADAQUAAAA1AP///////w4ABlBsb3RBcmVhQm9yZGVyPQAAAAcABAAAACEABAAAAAoABAAAACEABAAAAAoABAAAACEABAAAAAoABAACAQUAAAA2AP///////wsABkV4Y2VsTWlycm9yPQAAAAgABAAAABIABAAAAAIABAAAABIABAAAABQABQABAQUAAAA3AP///////xMABkdsb2JhbENoYXJ0U2V0dGluZ3NNAAAAAAAEAAAALAAEAAAAFAAGAAEBBQAAADgA////////EwAGQnJlYWtNYW5hZ2VtZW50RGF0YT0AAAAJAAQAAAATAAQAAAAuAAcAAQEFAAAAOQD///////8eAAZQb2ludEFuZFNlcmllc1N0eWxlRGVmaW5pdGlvbnM9AAAACgAEAAAAMAAEAAAAK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QAAAAT//////////wEAHQUAAAAAAAAAAAAA/////8IKwgoAAAVfaWQAEAAAAASmXELcu9k6Q44vi8oEx33jA0RhdGEAZwoAAANTZXJpZXNTdHlsZXMAaAEAAAMxAGABAAACU3R5bGUAEgAAAHhsTWFya2VyU3R5bGVOb25lABBTaXplAAgAAAADQ29sb3IAVQAAABBBAP8AAAAQUgASAAAAEEcAPwAAABBCAG4AAAABU2NBAAAAAAAAAPA/AVNjUgAAAABAqcZ4PwFTY0cAAAAAoCNzqT8BU2NCAAAAAABm9cM/AAFUaW50AAAAAAAAAAAAA1RoZW1lQ29sb3JQb3NpdGlvbgC2AAAAAl90eXBlAFEAAABlbXBvd2VyLkNoYXJ0cy5Db21tb24uQ29sb3JUcmFuc2xhdGlvbi5UaGVtZUNvbG9yUG9zaXRpb24sIGVtcG93ZXIuQ2hhcnRzLkNvbW1vbgAQVGhlbWVDb2xvclNjaGVtZUluZGV4AAUAAAACSW5kZXgABwAAAE5vVGludAAISXNEZWZhdWx0Q29sb3IAABBEZWZhdWx0Q29sb3JJbmRleAD/////AAAABFBvaW50U3R5bGVzAKcIAAADMAC3AQAAA1BvaW50QWRkcmVzcwAzAAAAEFNlcmllc0luZGV4AAEAAAAQUG9pbnRJbmRleAABAAAACElzUG9pbnRTdW0AAAADTWFya2VyU3R5bGVEYXRhAGABAAACU3R5bGUAEgAAAHhsTWFya2VyU3R5bGVOb25lABBTaXplAAgAAAADQ29sb3IAVQAAABBBAP8AAAAQUgASAAAAEEcAPwAAABBCAG4AAAABU2NBAAAAAAAAAPA/AVNjUgAAAABAqcZ4PwFTY0cAAAAAoCNzqT8BU2NCAAAAAABm9cM/AAFUaW50AAAAAAAAAAAAA1RoZW1lQ29sb3JQb3NpdGlvbgC2AAAAAl90eXBlAFEAAABlbXBvd2VyLkNoYXJ0cy5Db21tb24uQ29sb3JUcmFuc2xhdGlvbi5UaGVtZUNvbG9yUG9zaXRpb24sIGVtcG93ZXIuQ2hhcnRzLkNvbW1vbgAQVGhlbWVDb2xvclNjaGVtZUluZGV4AAUAAAACSW5kZXgABwAAAE5vVGludAAISXNEZWZhdWx0Q29sb3IAABBEZWZhdWx0Q29sb3JJbmRleAD/////AAAAAzEAtwEAAANQb2ludEFkZHJlc3MAMwAAABBTZXJpZXNJbmRleAABAAAAEFBvaW50SW5kZXgAAgAAAAhJc1BvaW50U3VtAAAAA01hcmtlclN0eWxlRGF0YQBgAQAAAlN0eWxlABIAAAB4bE1hcmtlclN0eWxlTm9uZQAQU2l6ZQAIAAAAA0NvbG9yAFUAAAAQQQD/AAAAEFIAEgAAABBHAD8AAAAQQgBuAAAAAVNjQQAAAAAAAADwPwFTY1IAAAAAQKnGeD8BU2NHAAAAAKAjc6k/AVNjQgAAAAAAZvXDPwABVGludAAAAAAAAAAAAANUaGVtZUNvbG9yUG9zaXRpb24AtgAAAAJfdHlwZQBRAAAAZW1wb3dlci5DaGFydHMuQ29tbW9uLkNvbG9yVHJhbnNsYXRpb24uVGhlbWVDb2xvclBvc2l0aW9uLCBlbXBvd2VyLkNoYXJ0cy5Db21tb24AEFRoZW1lQ29sb3JTY2hlbWVJbmRleAAFAAAAAkluZGV4AAcAAABOb1RpbnQACElzRGVmYXVsdENvbG9yAAAQRGVmYXVsdENvbG9ySW5kZXgA/////wAAAAMyALcBAAADUG9pbnRBZGRyZXNzADMAAAAQU2VyaWVzSW5kZXgAAQAAABBQb2ludEluZGV4AAMAAAAISXNQb2ludFN1bQAAAANNYXJrZXJTdHlsZURhdGEAYAEAAAJTdHlsZQASAAAAeGxNYXJrZXJTdHlsZU5vbmUAEFNpemUACAAAAANDb2xvcgBVAAAAEEEA/wAAABBSABIAAAAQRwA/AAAAEEIAbgAAAAFTY0EAAAAAAAAA8D8BU2NSAAAAAECpxng/AVNjRwAAAACgI3OpPwFTY0IAAAAAAGb1wz8AAVRpbnQAAAAAAAAAAAADVGhlbWVDb2xvclBvc2l0aW9uALYAAAACX3R5cGUAUQAAAGVtcG93ZXIuQ2hhcnRzLkNvbW1vbi5Db2xvclRyYW5zbGF0aW9uLlRoZW1lQ29sb3JQb3NpdGlvbiwgZW1wb3dlci5DaGFydHMuQ29tbW9uABBUaGVtZUNvbG9yU2NoZW1lSW5kZXgABQAAAAJJbmRleAAHAAAATm9UaW50AAhJc0RlZmF1bHRDb2xvcgAAEERlZmF1bHRDb2xvckluZGV4AP////8AAAADMwC3AQAAA1BvaW50QWRkcmVzcwAzAAAAEFNlcmllc0luZGV4AAEAAAAQUG9pbnRJbmRleAAEAAAACElzUG9pbnRTdW0AAAADTWFya2VyU3R5bGVEYXRhAGABAAACU3R5bGUAEgAAAHhsTWFya2VyU3R5bGVOb25lABBTaXplAAgAAAADQ29sb3IAVQAAABBBAP8AAAAQUgASAAAAEEcAPwAAABBCAG4AAAABU2NBAAAAAAAAAPA/AVNjUgAAAABAqcZ4PwFTY0cAAAAAoCNzqT8BU2NCAAAAAABm9cM/AAFUaW50AAAAAAAAAAAAA1RoZW1lQ29sb3JQb3NpdGlvbgC2AAAAAl90eXBlAFEAAABlbXBvd2VyLkNoYXJ0cy5Db21tb24uQ29sb3JUcmFuc2xhdGlvbi5UaGVtZUNvbG9yUG9zaXRpb24sIGVtcG93ZXIuQ2hhcnRzLkNvbW1vbgAQVGhlbWVDb2xvclNjaGVtZUluZGV4AAUAAAACSW5kZXgABwAAAE5vVGludAAISXNEZWZhdWx0Q29sb3IAABBEZWZhdWx0Q29sb3JJbmRleAD/////AAAAAzQAtwEAAANQb2ludEFkZHJlc3MAMwAAABBTZXJpZXNJbmRleAABAAAAEFBvaW50SW5kZXgABQAAAAhJc1BvaW50U3VtAAAAA01hcmtlclN0eWxlRGF0YQBgAQAAAlN0eWxlABIAAAB4bE1hcmtlclN0eWxlTm9uZQAQU2l6ZQAIAAAAA0NvbG9yAFUAAAAQQQD/AAAAEFIAEgAAABBHAD8AAAAQQgBuAAAAAVNjQQAAAAAAAADwPwFTY1IAAAAAQKnGeD8BU2NHAAAAAKAjc6k/AVNjQgAAAAAAZvXDPwABVGludAAAAAAAAAAAAANUaGVtZUNvbG9yUG9zaXRpb24AtgAAAAJfdHlwZQBRAAAAZW1wb3dlci5DaGFydHMuQ29tbW9uLkNvbG9yVHJhbnNsYXRpb24uVGhlbWVDb2xvclBvc2l0aW9uLCBlbXBvd2VyLkNoYXJ0cy5Db21tb24AEFRoZW1lQ29sb3JTY2hlbWVJbmRleAAFAAAAAkluZGV4AAcAAABOb1RpbnQACElzRGVmYXVsdENvbG9yAAAQRGVmYXVsdENvbG9ySW5kZXgA/////wAAAAAIU3VwcHJlc3NNYXJrZXJzAAAIUmVxdWlyZU1hbnVhbFVwZ3JhZGVPbkZpcnN0VGltZVJlYWQAAAACTmFtZQAMAAAATWFya2Vyc0RhdGEAEFZlcnNpb24AAQAAAAlMYXN0V3JpdGUAmIg/5H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YAAAAF/////0cAAADnDwAAAAAAAAAAAACtUAAABV9pZAAQAAAABHADTN5/UhdOuFwEjCU7YEoERGF0YQBVUAAAAzAABQgAAAVfaWQAEAAAAASTSiR1daGPRbdsxzjh7oLnAl90eXBlAFcAAABlbXBvd2VyLkNoYXJ0cy5EYXRhLkRhdGFDaGFydHMuT3ZlcmxheXMuRGF0YS5Db2x1bW5TdW1PdmVybGF5RGF0YSwgZW1wb3dlci5DaGFydHMuRGF0YQAQQ29sdW1uAAEAAAAQU2VyaWVzAP////8DVGV4dEVsZW1lbnQA6wYAAAJBdXRvU2hhcGVUeXBlAAoAAABSZWN0YW5nbGUABEFkanVzdG1lbnRzAAUAAAAABU1hbmFnZWRJZAAQAAAABC6pjBgNu5ROjbbqUNqaJsY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m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CDXwypAAVdpZHRoAAAAAOCu8jh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JDb2x1bW5TdW1Qb3NpdGlvbgAMAAAARGVmYXVsdERvY2sACERlbGV0ZWQAAQNOdW1iZXJGb3JtYXQAHwAAAAVfaWQAEAAAAAQAAAAAAAAAAAAAAAAAAAAAAAhJc05ldwABAUZvbnRTaXplAAAAAAAAACRAAAMxAAUIAAAFX2lkABAAAAAENfv+g3WYWEOA0nvyLodl1QJfdHlwZQBXAAAAZW1wb3dlci5DaGFydHMuRGF0YS5EYXRhQ2hhcnRzLk92ZXJsYXlzLkRhdGEuQ29sdW1uU3VtT3ZlcmxheURhdGEsIGVtcG93ZXIuQ2hhcnRzLkRhdGEAEENvbHVtbgACAAAAEFNlcmllcwD/////A1RleHRFbGVtZW50AOsGAAACQXV0b1NoYXBlVHlwZQAKAAAAUmVjdGFuZ2xlAARBZGp1c3RtZW50cwAFAAAAAAVNYW5hZ2VkSWQAEAAAAASukRBxgOyLSZ5QAEOXwtlY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Jk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Ag18MqQAFXaWR0aAAAAADgrvI4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CQ29sdW1uU3VtUG9zaXRpb24ADAAAAERlZmF1bHREb2NrAAhHAAAABUYAAABIAAAA5w8AAAAAAAAAAAAARGVsZXRlZAABA051bWJlckZvcm1hdAAfAAAABV9pZAAQAAAABAAAAAAAAAAAAAAAAAAAAAAACElzTmV3AAEBRm9udFNpemUAAAAAAAAAJEAAAzIABQgAAAVfaWQAEAAAAASJVqPcXuGgR7OfXDOiN4swAl90eXBlAFcAAABlbXBvd2VyLkNoYXJ0cy5EYXRhLkRhdGFDaGFydHMuT3ZlcmxheXMuRGF0YS5Db2x1bW5TdW1PdmVybGF5RGF0YSwgZW1wb3dlci5DaGFydHMuRGF0YQAQQ29sdW1uAAMAAAAQU2VyaWVzAP////8DVGV4dEVsZW1lbnQA6wYAAAJBdXRvU2hhcGVUeXBlAAoAAABSZWN0YW5nbGUABEFkanVzdG1lbnRzAAUAAAAABU1hbmFnZWRJZAAQAAAABDaVKhtJy9pJqu+wNveh6+I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m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CDXwypAAVdpZHRoAAAAAOCu8jh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JDb2x1bW5TdW1Qb3NpdGlvbgAMAAAARGVmYXVsdERvY2sACERlbGV0ZWQAAQNOdW1iZXJGb3JtYXQAHwAAAAVfaWQAEAAAAAQAAAAAAAAAAAAAAAAAAAAAAAhJc05ldwABAUZvbnRTaXplAAAAAAAAACRAAAMzAAUIAAAFX2lkABAAAAAEJFLTvb7VHEe66npVj675YQJfdHlwZQBXAAAAZW1wb3dlci5DaGFydHMuRGF0YS5EYXRhQ2hhcnRzLk92ZXJsYXlzLkRhdGEuQ29sdW1uU3VtT3ZlcmxheURhdGEsIGVtcG93ZXIuQ2hhcnRzLkRhdGEAEENvbHVtbgAEAAAAEFNlcmllcwD/////A1RleHRFbGVtZW50AOsGAAACQXV0b1NoYXBlVHlwZQAKAAAAUmVjdGFuZ2xlAARBZGp1c3RtZW50cwAFAAAAAAVNYW5hZ2VkSWQAEAAAAAT83U6jREgURaLMWGUsuRHW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Jk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Ag18MqQAFXaWR0aAAAAADgrvI4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SAAAAAVHAAAAIQEAAOcPAAAAAAAAAAAAAOniKEAAAkNvbHVtblN1bVBvc2l0aW9uAAwAAABEZWZhdWx0RG9jawAIRGVsZXRlZAABA051bWJlckZvcm1hdAAfAAAABV9pZAAQAAAABAAAAAAAAAAAAAAAAAAAAAAACElzTmV3AAEBRm9udFNpemUAAAAAAAAAJEAAAzQABQgAAAVfaWQAEAAAAARZ/sBiF1rcSZYqMN6ehHh5Al90eXBlAFcAAABlbXBvd2VyLkNoYXJ0cy5EYXRhLkRhdGFDaGFydHMuT3ZlcmxheXMuRGF0YS5Db2x1bW5TdW1PdmVybGF5RGF0YSwgZW1wb3dlci5DaGFydHMuRGF0YQAQQ29sdW1uAAUAAAAQU2VyaWVzAP////8DVGV4dEVsZW1lbnQA6wYAAAJBdXRvU2hhcGVUeXBlAAoAAABSZWN0YW5nbGUABEFkanVzdG1lbnRzAAUAAAAABU1hbmFnZWRJZAAQAAAABOuvuYl96WFJtX7+dzVN17I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m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CDXwypAAVdpZHRoAAAAAOCu8jh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JDb2x1bW5TdW1Qb3NpdGlvbgAMAAAARGVmYXVsdERvY2sACERlbGV0ZWQAAQNOdW1iZXJGb3JtYXQAHwAAAAVfaWQAEAAAAAQAAAAAAAAAAAAAAAAAAAAAAAhJc05ldwABAUZvbnRTaXplAAAAAAAAACRAAAM1AAUIAAAFX2lkABAAAAAEeVviFb2WKU+l23F9UR/hMgJfdHlwZQBXAAAAZW1wb3dlci5DaGFydHMuRGF0YS5EYXRhQ2hhcnRzLk92ZXJsYXlzLkRhdGEuQ29sdW1uU3VtT3ZlcmxheURhdGEsIGVtcG93ZXIuQ2hhcnRzLkRhdGEAEENvbHVtbgAGAAAAEFNlcmllcwD/////A1RleHRFbGVtZW50AOsGAAACQXV0b1NoYXBlVHlwZQAKAAAAUmVjdGFuZ2xlAARBZGp1c3RtZW50cwAFAAAAAAVNYW5hZ2VkSWQAEAAAAAStSbNkzs5PTo5UNxBXPfZH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Jk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Ag18MqQAFXaWR0aAAAAADgrvI4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EkAAAADAAAAAP////8FAJYOAAAAAAAAAAAAAAEA////////TwAAAAMAEAALErZx37gzV06RSGBUIMANTD0AAAAHAAMAAAA0AEkAAAABAAEAAgD///////9PAAAABAAQAAsrIOLoiEzyQq6FjcZzYRi1PQAAAAgASQAAAAAASQAAAAIAAwAAADQASQAAAAIAAgACAP///////08AAAAFABAAC2cMROnLG5tLrfanpMqaxyhNAAAAAABJAAAAAQBJAAAAAwBJAAAAAQBJAAAABAADAAEA////////TwAAAAYAEAAL4bK37fj1Bku7ZqEri+LUzj0AAAAJAEkAAAACAEkAAAAEAAQABQD///////9PAAAABwAQAAsDECrwRBfiQrejWMj6CdQsPQAAAAoASQAAAAMAAwAAAAEASQAAAAIA////////AwAAADMA////////AwAAACQA////////AwAAAB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KAAAABf////9LAAAA5w8AAAAAAAAAAAAAHy0AAAVfaWQAEAAAAAQrIOLoiEzyQq6FjcZzYRi1A0RhdGEAxCwAAAVEYXRhALQsAAAAUEsDBBQABgAIAAAAIQA3Mb2RewEAAIQF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VEtvwjAMvk/af6hynWhgh2maKBz2OG5IsB8QGreNaJMoNgz+/dzw0DQBFYJLoybx97AdD8frpk5WENA4m4lB2hcJ2NxpY8tMfM8+es8iQVJWq9pZyMQGUIxH93fD2cYDJhxtMRMVkX+REvMKGoWp82D5pHChUcS/oZRe5QtVgnzs959k7iyBpR61GGI0fINCLWtK3te8vVUyN1Ykr9t7LVUmlPe1yRWxULmy+h9JzxWFyUG7fNkwdIo+gNJYAVBTpz4YZgxTIGJjKORRzgA1Xka6c5VyZBSGlfH4wNZPMLQnp13t4r64HMFoSCYq0Kdq2Ltc1/LHhcXcuUV6HuTS1MQUpY0ydq/7DH+8jDIugxsLaf1F4A4dxD0GMn6vlxBhOgiRNjXgrdMeQbuYKxVAT4m7t7y5gL/YXSlXc86ApHa5ddkj6Dl+ftKT4Dzy1AhweRX2T7SN7nkGgkAGDo/0WLMfGHnkXF12aGeaBn2EW8YZOvoFAAD//wMAUEsDBBQABgAIAAAAIQC1VTAj9A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JNT8MwDIbvSPyHyPfV3ZAQQkt3QUi7IVR+gEncD7WNoyQb3b8nHBBUGoMDR3+9fvzK2908jerIIfbiNKyLEhQ7I7Z3rYaX+nF1ByomcpZGcazhxBF21fXV9plHSnkodr2PKqu4qKFLyd8jRtPxRLEQzy5XGgkTpRyGFj2ZgVrGTVneYviuAdVCU+2thrC3N6Dqk8+bf9eWpukNP4g5TOzSmRXIc2Jn2a58yGwh9fkaVVNoOWmwYp5yOiJ5X2RswPNEm78T/XwtTpzIUiI0Evgyz0fHJaD1f1q0NPHLnXnENwnDq8jwyYKLH6jeAQAA//8DAFBLAwQUAAYACAAAACEANkq3CC8EAAAdCgAADwAAAHhsL3dvcmtib29rLnhtbKxWXW+jOBR9X2n/A4v6SsEESIJKRyEEbaV2VKWZzkukyAFTrILN2qZJdzT/fa8hX21Hq+zMRomJv47Pvffca64+bevKeCFCUs4iE106pkFYxnPKniLzyyK1RqYhFWY5rjgjkflKpPnp+vffrjZcPK85fzYAgMnILJVqQtuWWUlqLC95QxjMFFzUWEFXPNmyEQTnsiRE1ZXtOk5g15gys0cIxTkYvChoRhKetTVhqgcRpMIK6MuSNnKPVmfnwNVYPLeNlfG6AYg1rah67UBNo87CmyfGBV5XYPYW+cZWwDeAH3KgcfcnwdSHo2qaCS55oS4B2u5Jf7AfOTZCb1yw/eiD85A8W5AXqmN4YCWCn2QVHLCCIxhyfhkNgbQ6rYTgvJ9E8w/cXPP6qqAVeeyla+Cm+YxrHanKNCos1SyniuSROYQu35DjAFgl2iZuaQWz7ihwB6Z9fZDzvTBA/aTHSiiRZCLWhCpZwwlErwRhTCpFBMOKTDlToMOdXb+quQ57WnJQuDEnf7VUEEgs0BfYCi3OQryW91iVRiuqyJyGyy8SzF9mpaBSUYYvIftaAhnH2HLSNAlWeHnLM1wtF6RulsUwGBDHHa7xsPAC7I8HmTvyhoGTkQKRIFieSBp/zJ//IGqcaU/Z4KrenP7/e7eBVSLcC/deCQP+3yS3ELwH/AKhBMHku0y/gVihwYplIkSrb2iIpskkTS1vNEssb+b61mSaJFY6jBN/PJu4I8f9DsaIIMw4blW5U4mGjkwPJPFh6g5v9zPICVuaH2l8c3YfSz/fNfu579pgXQ8fKdnIo55015Al3zzoureAAHZ2bb9SlvNNZFquO3Z803g9DHi6u+mmv9JclZE5DhxwRT/0J6FPJRgxGviwTOH1XNc+oO7rbBWuph6ZbygnPeUUPpZu3lC2Tzh3pRm4d0+Ddel0w5pWwRWg2XdBgOwJ9RHiJkddkPe7clJQRnKdOYBx0tsh1ZSvshILJVdAuyIroS1ZrblSvNZJCjrtnKSPAXtLmudE30nmdUfij4v4AqEr+wT5R8cI9qRDN+ebwz4vvPDO2aeTBK4SyOqqrdnx2PAifrf9lAQYC8wzXTjg0flojBx3rJ3DK/JA/yYg7CIyJyhMkKuHdeGak4zDvfsK+0ChfNfVlsMCslW3UnVPyHUKAUWeMxk6Y89yZgMfdD92rZE3cK2pl7gzfzhLZrGvJa8v4/D/uJK6khPub3ltnY7dQuDsGd4N5qSIsYQc7TUAfE/Jxv4odgZA0UsRJCkaO1YcB57lJ+nAH6JkOvPTI1ntNnDPuxeI86rNyO52E6xaKJa6Tnb9ULfpbvQwWPQDBz2e3NHhPNF+3+3+t4UPYH3VXQRnLE4fz0Sdfr5b3J259na2WH1Nz108uYuTyW69/UPv2F30dNtpzt7H/PofAAAA//8DAFBLAwQUAAYACAAAACEAgT6Ul/MAAAC6Ag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FJNS8QwEL0L/ocwd5t2FRHZdC8i7FXrDwjJtCnbJiEzfvTfGyq6XVjWSy8Db4Z5783Hdvc1DuIDE/XBK6iKEgR6E2zvOwVvzfPNAwhi7a0egkcFExLs6uur7QsOmnMTuT6SyCyeFDjm+CglGYejpiJE9LnShjRqzjB1Mmpz0B3KTVney7TkgPqEU+ytgrS3tyCaKWbl/7lD2/YGn4J5H9HzGQlJPA15ANHo1CEr+MFF9gjyvPxmTXnOa8Gj+gzlHKtLHqo1PXyGdCCHyEcffymSc+WimbtV7+F0QvvKKb/b8izL9O9m5MnH1d8AAAD//wMAUEsDBBQABgAIAAAAIQAG3ygBvAQAAL8OAAAYAAAAeGwvd29ya3NoZWV0cy9zaGVldDEueG1snFPbitswEH0v9B+E3uNbstnExFnKhqWBUkq3l2dFHscikuVKyo3Sf9+RHTtZUpawxpZkjc6ZM5qZ2cNBSbIDY4WuMhoHESVQcZ2Lap3Rnz+eBhNKrGNVzqSuIKNHsPRh/vHDbK/NxpYAjiBDZTNaOlenYWh5CYrZQNdQoaXQRjGHv2Yd2toAyxuQkmESReNQMVHRliE1t3DoohAcFppvFVSuJTEgmUP9thS17dgUv4VOMbPZ1gOuVY0UKyGFOzaklCieLteVNmwlMe5DPGKcHAy+CX7Dzk2zf+VJCW601YULkDlsNV+HPw2nIeM903X8N9HEo9DATvgEnqmS90mK73qu5Ew2fCfZuCfz12XSrcgz+jc6PQOcYz9E56Gz/aPzWVMn3wzBYoSvTGEOnn25Lat662g4n+UCK8BHTQwUGf0Up4s48YYG+EvA3l6siWOrZ5DAHaCImBKn6y9QuEeQEsFjSnxBr7TeeOQSz0ReQ4PwPhh3Ygen0/fYE39ar/feY9i7vFx37p+aFsBIVszCo5a/Re5K1ICtlkPBttKdN6dBctdvf9f7zyDWpcPD42AyffVQwrfWadWfwCv2NZrmxwVYjs2BIQRDL49riVpwJEr4JsfaZodm3p+kjILY+7Xu6GsdU99yd0pPJC0crQ0c5xN8+gqNuX4DjdYGjXOPvnD9NnjUKR8PJ7j+P4HPRxPxCwAAAP//SwAAAAVKAAAATAAAAOcPAAAAAAAAAAAAAAAAAP//tJbdbuIwEIVfBeV+E489/qsCUgmt+hpRNlp60bIibLv79rUzCYwNN2hTbhKdnAzns4cx9bDv+9OuPbWb+nj4XB3XBRSr4Xf7PoS7Bwz3o9L9GU6Ht+fD8a09jcI+XGSw0oOX/vVXVILwF7DtHn7+2/VD178HTZSq2NRdLP0Ya68LXayCPgT1YyPr6mNTV93k2JLDMIc6O6qQ8BxTpjHHbzelvTdRLLMuwmvnRCJLRA43phWlU8ZopZxBjeCkt7fTqWXSxTJpOsjSkWNOp8F66aQzTkvtvDe308VtZVs8rV3w88+9K0m9wlcSs6zkuDNraJbls8ai6brqLCs55qzonRDWGwfSYlyn1N2QG4tqauMdE5KuDY29PE0sui4862HI24QsZxw0EjQojyilApG5G3IzHCYkOGG3l8eJRdPNubTxOEa25JhpFEojPTopLFhQVzTkZjRMSGjcd9DEoinNZWQQDTlmmokC0CIIZa5oyM1omJDQhH5Yfm9i0ZTGZT8ccsw0E4Z22mirMvKGvIyFCQkLiO+AGatm4zWf/pOHeHwJRik0BpRG7cDbpx/ZAdZMLzAorqRU2VG7zBwGOkL5IM7G1XayEJQttfFWAoDWyjot5A0oqsmhmJJC3T6Y/+9w2QKdwpcAzZWy4wpFqi7/br4AAAD//wAAAP//dI5BDoJADEWvMukBBBRFDMPehYkJJxikwEScTkqJiad30BDc2FX//6/pL7zp8GK4s25UA7aiId5koNh2/bIL+Y97zNI42Wdp/p0DqJpE6PEn7NE0yHO4A9USySKispi/ViiTV9545Mq+UEMOitiiEyOWnAZPLGyshDYn22jgc5NAOBZTD3g1LKO60eRCzQR+3JXeznS04kE8ie9jjyjlGwAA//8DAFBLAwQUAAYACAAAACEAEHnht2sEAACcDwAAEwAAAHhsL3RoZW1lL3RoZW1lMS54bWzMV9tu4zYQfS/QfyD0rliyJVky4ixs2UILbFGg3kWfGd03lGSIdC5Y5N87HOpqOU2TTYH1kzQ+Gh7O5Qx5/emxYOQ+rnlelWvNvDI0EpdhFeVluta+fgl0VyNc0DKirCrjtfYUc+3Tza+/XNOVyOIiJvB9yVd0rWVCHFezGQ/BTPlVdYxL+C+p6oIKeK3TWVTTB/BbsNncMJxZQfNSIyUtwO2fSZKHMfkiXWo3rfM9g9dScGkIWX2QruPRF4iN7kyJ4HV667Oa3FO21gz8abOb6xldNQAmprgAfw2uAUR384k/M7C85a7zhwAmprj9fu/vzc4fAmgYwi6ma1uBa25bnwOQepz69g3bsMb4gf/FhLO33W5tr+GinCJIPVoTvGs41mY+wiNI4e0J3tpufN8Z4RGk8M4EHyw9xxrjEZSxvLy7mMEgaLx3kKRiv12Eu5Bw12jgPQqy31WOXCKpSjGqo0OcVqrkCvqtqgP4X+IYFXlJxNMxTmgIBYow8vV38jlPMyGXoauYDgDKFPIzE6w/8lvk5euLvM197xEW6/eHuy3Gm1Vthk2T5IwdxBOLP3PcMK9YHgVgxERgp3XNdMzgsQntCJfWFL8hdSX+zkV2yOgRgmXiCilvXKecHCsOPYlmFIj4zDeG/FT8UUWqfU1T9q+KA6eit0MLtHZIkFBoZ9kYIQCde+z8FLWjJSC/fQuJwWJjEosLJJat8RUSuLMPYeFdYOFK922q2ix2oQBqXVagiwiVKm9bSisJDymLI5knJZttdmVyPjTTLwWTDSvAgCHRVECfaU9yfXF7cneq1P5DpkckBuU2JjEow4xGcVOdw+HybwX31lx7fUpH9GQo2m7oaSyl5n14rqWInGkDK4dKwUrysNachQ1nhZAe11oCYgmPxRFqh5epRihL4TARilo1/HuU5VhzsaM8UwFH0VFqUOQirgnLi7Umt98FgJWoIcjNnIMg/LTkPJCVn40cJH2c5DhJ4lAM0z6w4PBDACi80oqL/+Ln7wfLL6sTpPuQRQ/klp3qvyiUmL00ZQCjnAsYNSqaUV4PhKyvv7PB1MjuhYOiXIuyY0abiTIUcwVHEe3o4JvaNE45COAoBOP3ZhDepnLA/vDUfX1Uy90MRLOfmSNVkVPzsn78f0N+wKofoiNWSrrxgMV7rfNarYNCvTglfnz0D6j1i42oScZTGZaa3VjH1D7wQDCIhPNC3LoZcTES75388N151coB0Z4rsQ3wIji8q1W330A8dnB0PjHB1Vn5UdQUDn3q7K1kA1rmUTStAU/kVOdr7bthbyx/bvu64dp73VpYhu7am4W+se2FubdNY7edP8NgEVlh2uoSGtAiZ0/NVRTtk+tokYd1xatEXIVVMavwujlD4ngdNecvX0dJDqLz3ZkH3sLbOrq32AS6tdu6uuc7W33n+MtdsPNt1wueNXKPYGuz8C1n7+qO6fu65RiSvuvpS2s+31jLjbu3Ns/N5IadKzFpYgHhRV43/wAAAP//AwBQSwMEFAAGAAgAAAAhAEODRxdjBQAAJxgAAA0AAAB4bC9zdHlsZXMueG1s5Fjbbts4EH1fYP+B0LujSyTVMmwXSRwBAboXNC6wr7RM2UQo0qCoxG7Rf98hKVlyEyeOkyZdrJ0Lr4fD4XB4ZoYf1wVDt0SWVPCR4594DiI8E3PKFyPnyzTt9R1UKsznmAlORs6GlM7H8e+/DUu1YeR6SYhCAMHLkbNUajVw3TJbkgKXJ2JFOPTkQhZYQVUu3HIlCZ6XelLB3MDzYrfAlDsWYVBkh4AUWN5Uq14mihVWdEYZVRuD5aAiG1wtuJB4xkDUtR/iDK39WAZoLeEnaRYyPffWKmgmRSlydQLYrshzmpH7Iidu4uKsRQL045D8yPWCnf2v5ZFIoSvJLdVHuJVLJkdixVusxBkPc8FViTJRcTVyIkDXOh3ccHHHU90FJlOPGg/Lr+gWM2jxHXc8zAQTEimwBTgK08JxQeyIa7IQBH250uNyXFC2se2BbjD2Uw8sKJymbnS1IFac8XCmRx282JmkmD240g7omwDKxWzkpKlnPlqmVicHirlv7y9BNnooQbuUsc5h24bxEK6ZIpKn0Ivq8nSzglPl4BHs4UDXk6MXEm/8IDp8QikYnWvrWlwYW6q3eBbrr4aZ1R2Uz8mazEdOHBr0jsDacg4Rbs9aE/N5m7XSvv4+dy2zPTi7mZBz8OLNVdW30jaNh4zkCrQl6WKp/yux0roTSoGXGw/nFC8Ex0xfsmZGXQDYjDB2rT39P/kO9jpHvCrSQl2B2uHN0NezKYK+66LFsxWN30Wz2F1YD2R+Pi5a59sF9s32QcBaqsBBXam2sxFerdhG+zTtreoazGlrZ4wueEHsgPEQN1W0FJJ+hYna9xklO/pBVTTTDRlMINaFrfP9++tIePpzJdTWcISAoLdGhXDcB6vwpyoNNPXLyRS+makdeZBvJ+Cxd6Ej4S90F4A8Nk6uY3cg6yN34c+qmBGZGgbccSvv5WTeXbHoTuLVlKyNj9UPgnaJ5lWAd6Dz2Ow8NdtHA2myNHKuTTQi50BGa8+PZhVlivIHHhpAna/bp6sPTwzUt0TS0k5PP7q0Uy6VpDc1BTWdle1sCM8rcsXnPSNIgfI+CwWBjw7XwBO3GoVKuZSU30xFSkHDUNfRFgRyf2lqoBu0ys32uzp4v71bZraXXjacrKF5Nf9rOZn7ENF7WKF7nOWr6rNhT5ZaQdQMtGnkqCUEuD+EQ5am2nFd2nXvbP7X9nmAPnGlRB1dAmfVjPYYddpQtYtVR5smctgxsh9s8SLV371BR7ODhg4+ZhNwXcGFwb3teSdhkkT9PgSJfhB4H0LPBk0NynjYMs6XIbY4x6utjvCtc9mjt92wcc+99oPTNL58FV3GHV0GYRKFST/y4TcIkiN1+TTiYbo83tTSD/r7pHqedj5PG1pzk/6DZqufN3jzlc4Amri1QyXQnOS4Ymq67Rw5bfkPMqdVAWFOPepveiuUgRg5bfmTDqL9GBx6u0TNS0ixEndEomyJpSodtNIA5hk2Q02pTqQBEYNs5KCiEDx/s8kgz+vBdffhD5RS+Jg/Td/3nQUvGSTVuELKZGHuloIRsw+Q3VIiYyatgLvjl0AKiPws7rbDTTJl3/CcylJBAqYqILlY4xt/tG8Cw6WaAkVhF5A72E6xT147BxxO55DGQ+A1n0rI8MF/VEkKerk8/5BMLtOg1/fO+73wlES9JDqf9KLw4nwySRMv8C6+dzK6L8jnmiQ0BOd+OCgZZH1lbTq1KVy3bUA/24o1BnMlQeyu7EkQe2eRDyd56vm9MMb9Xj8+jXpp5AeTODy/jNKoI3t0ZK7Wc33fZpC18NFA0YIwyhvLb+y92womD9VHNuE2J+G2Gf7xvwAAAP//AwBQSwMEFAAGAAgAAAAhALmTHu+xAQAAMAYAABQAAAB4bC9zaGFyZWRTdHJpbmdzLnhtbMRUwW6cQAy9R8o/jOaesLuKqioColUbUqlqu0pT9TzLGrAyeKjHbBq+p5/RW34sBppTzyEIkPzG43l6Y7/06nfrzRE4YqDMrs9X1gCV4YBUZ/bHXXH23poojg7OB4LMPkK0V/npSRqjGN1LMbONSHeZJLFsoHXxPHRAulIFbp1oyHUSOwZ3iA2AtD7ZrFbvktYhWVOGniSzmwtresJfPXyYgfXG5mnEPGV9d/rbJxoP5ui8slxbjcrgAxuu95ktitX0jDAXgWTO2zI6P2KVa9E/zuBmBJKppuQ38IBEPdXmGMjsVIZAzqeJjCn6jQxen8VHrFGcx4jAymXp4791opcPtPS5n57+9BXW94BiyJWNuQP0BE0LvDSVAsnRgOA9mFuIMfRcLi/ILdS9dxIYx1EyW9IROkwtsTyX66pCFYQGgyTABGx2HAbVBpa+nO/CTqD+J0ofGctG3mBOvmqPNs7L3LKLm4RqQGrU1dPfeu94nJr/KUi+Je0YiPPSi31J/lPTFSd5wPLej4anaeZzaDvQsgPQ6clkgV/UiHg/JV+qM7703VgoUcfPnwEAAP//AwBQSwMEFAAGAAgAAAAhAEG/+GDZAAAAygEAACMAAAB4bC93b3Jrc2hlZXRzL19yZWxzL3NoZWV0MS54bWwucmVsc6yRwU7DMAxA70j8Q+Q7SbsDQmjpLghpVxgf4KVuG9E6UWwQ+3uCdqHTJC6cLNvy85O93X0ts/mkIjGxh9Y2YIhD6iOPHt4Oz3cPYESRe5wTk4cTCey625vtC82odUimmMVUCouHSTU/OidhogXFpkxcO0MqC2pNy+gyhnccyW2a5t6V3wzoVkyz7z2Ufb8BczjluvlvdhqGGOgphY+FWK+scIrHmSoQy0jqwdpzRc6htVUW3HWP9j89comsVF5JtR5aVkYXPXeRt/YY+UfSrT7QfQMAAP//AwBQSwMEFAAGAAgAAAAhAPpAhMy3AQAA7AQAAEwAAAAFSwAAAP////9RDZYCAAAAAAAAAAAnAAAAeGwvcHJpbnRlclNldHRpbmdzL3ByaW50ZXJTZXR0aW5nczEuYmlu7FOxbtRAEH3ORYiIgqNPgehPSshBSHk+29FF57Nl+xDtJjcE6za71tqOCIieT4j4EX6GFgkkSnp4NmmIEAgpBQUreXbevjczHq8nh8IZarQwOMV9xJhjhId4gkfYIc4hcChpa6IUU/KP6U2h0S1vc3DrA4ab0/fY8LCFd3fGt1fwcBfPiD3aAVUTjHv1zRjvKk23b/C5R+cb1+Es/6lMMFssH+DS+zrYxpfPnz7+rvqw6+Wa4Dq+wRb+p/oHv8Df3PclxXlcHHVtDPHWe40DRNjl1Iyxj5D7iJ7PGYp6b5fcMT2fzD7na4Q9ztGEpwfUBER7RAHn7g0zzkzVNn5pMFkWCbIwD+ZzLE3ppO68xJViGtWU1iBNsiKbzApMrdaqESRRhFhWpSouKkHqStOIC+S5anWDI3ucybm4WoK20vKyV/OwsEZcrs5/hPMgX5eVr5VZp+pU6l6WSW112xddWHemNFJVMap8JZiHRRFmuEq6SBYhSQam5F+INOyzw4lbiUPkrGkK66uTNXxr15p899adwre9pINsyLrYrgSHTl3UJ0rLn3+abUqejoP4V3f5HQAA//8DAFBLAwQUAAYACAAAACEAXGu6cLIBAACoAwAAFAAAAHhsL3RhYmxlcy90YWJsZTEueG1snFNBbtswELwX6B8I3m1KdhO0QuQgcWHAQNBDnTyAllYWEZIrkHQio+jfu6QUO7V7CKoDJQ25Mzuz4M1tbzR7AecV2pLn04wzsBXWyu5K/vS4mnzlzAdpa6nRQskP4Pnt4vOnmyC3GhhVW1/yNoSuEMJXLRjpp9iBpZ0GnZGBft1O+M6BrH0LEIwWsyy7FkYqyweGwlQfITHSPe+7SYWmk0FtlVbhkLg4M1Wx3ll0sauS9471bv5G3rsLcqMqhx6bMCUygU2jKrjoMf8iHLyoGM2Jav6fXNdHLupL1ZQ1cbpiHz9/ZeMzofcyLtlkRU9a3vZ+c2alIXOPcgtaw4yzWvlOy8OPM9hBU/K7vLjPSaOl2MH9xNcl7m0oOQ04YJDaE7Rp8ZWmTtDx1Pe+WVNH1GMa8D06qh7BGV8MY1+i3hvrWTVQnuEnd/NLe3k22Esek7V8MHi0t+mkDvC+81E+5+Iv/aRzFVP8kM7VP3Wo/tx7FnVEsj8aHWU34aBhbRs8DUJDAh/Urg3f6KZQoCvlfBgKU7QRe5AXUIw/ONUBXR8yG08NRUf0XR+LPwAAAP//AwBQSwMEFAAGAAgAAAAhAE2bfH+GAQAA7A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HySTUvEMBCG74L/oeRsN2mrImW3gl8nBcEVxVtMxm60+SAZrf33pu1utSLeMjPvPMy8k+Xpp26SD/BBWbMi2YKRBIywUpl6Re7XV+kJSQJyI3ljDaxIB4GcVvt7S+FKYT3ceuvAo4KQRJIJpXArskF0JaVBbEDzsIgKE4sv1muOMfQ1dVy88Rpoztgx1YBccuS0B6ZuIpItUooJ6d59MwCkoNCABoOBZouMfmsRvA5/NgyVH0qtsHNxp+24P9lSjMVJ/RnUJGzbdtEWwxhx/ow+3lzfDaumyvReCSDVUooSFTZQLen3M77C+/MrCBzTUxALwgNH6yut7NCyi3un36BrrZchds2i2CYhCK8cxvuNzFkiqhse8CYe9EWBPOuqS1M3Kl7mIDnfeBVQGT5Af8ni/INd41ggk2hAOdq1qzwU5xfrK1LlLDtMM5YWbM1YmZ+Uh/lTv8GsvzdkTOjtLP8S86OUHaesWGdZWRRz4g5QDX+QI9TWd6MzYh7N/mf1BQAA//8DAFBLAwQUAAYACAAAACEA9ilR1OIBAAAQBA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U8Fu2zAMvQ/YPxi+N3LaohgCWUWbbuiAFgsat3dGph1hsiRITJbse/Yn+7HJ9uI4aDdgu5F8FPX49MSvd41OtuiDsiZPp5MsTdBIWypT5+lz8ensQ5oEAlOCtgbzdI8hvRbv3/GFtw49KQxJHGFCnq6J3IyxINfYQJhE2ESksr4Biqmvma0qJfHOyk2Dhth5ll0x3BGaEsszNwxM+4mzLf3v0NLKll94KfYuEha8wMZpIBScHcPCEuhCNSiyWB4SfuOcVhIoSiIelfQ22IqSjzuJmrMxyOMqS5Qbr2jfzhinfClB4zyyEBXogJwdC/weoVV4AcoHwbc026Ik65OgvkeNL9NkBQFb7nm6Ba/AUNyhbeuTLtYukBc3foWKwkr//EGEnrPY1SNdOD4wjtWlmHYNMfhrYz/rFg0YQ5jcokcVH/gf7jl/+56WaL91JHCqR6FIY/hSLcDTG/JcjOXp+PXi9FQ/G7ehMb1BEG/qBwj0ZL/9CT5YY271pjGvduzeqHXQKb9HMFCjj8AQzW3jwOxFAyUmyiS98Tk71PmDMl/DsyvsXWvK3wY5LfLlGjyW0VODgYYCv4/e8LodMl+DqbE89LwGWju/9B9cTK8m2UUWnTqqcXb8yuIXAAAA//8DAFBLAQItABQABgAIAAAAIQA3Mb2RewEAAIQFAAATAAAAAAAAAAAAAAAAAAAAAABbQ29udGVudF9UeXBlc10ueG1sUEsBAi0AFAAGAAgAAAAhALVVMCP0AAAATAIAAAsAAAAAAAAAAAAAAAAAtAMAAF9yZWxzLy5yZWxzUEsBAi0AFAAGAAgAAAAhADZKtwgvBAAAHQoAAA8AAAAAAAAAAAAAAAAA2QYAAHhsL3dvcmtib29rLnhtbFBLAQItABQABgAIAAAAIQCBPpSX8wAAALoCAAAaAAAAAAAAAAAAAAAAADULAAB4bC9fcmVscy93b3JrYm9vay54bWwucmVsc1BLAQItABQABgAIAAAAIQAG3ygBvAQAAL8OAAAYAAAAAAAAAAAAAAAAAGgNAAB4bC93b3Jrc2hlZXRzL3NoZWV0MS54bWxQSwECLQAUAAYACAAAACEAEHnht2sEAACcDwAAEwAAAAAAAAAAAAAAAABaEgAAeGwvdGhlbWUvdGhlbWUxLnhtbFBLAQItABQABgAIAAAAIQBDg0cXYwUAACcYAAANAAAAAAAAAAAAAAAAAPYWAAB4bC9zdHlsZXMueG1sUEsBAi0AFAAGAAgAAAAhALmTHu+xAQAAMAYAABQAAAAAAAAAAAAAAAAAhBwAAHhsL3NoYXJlZFN0cmluZ3MueG1sUEsBAi0AFAAGAAgAAAAhAEG/+GDZAAAAygEAACMAAAAAAAAAAAAAAAAAZx4AAHhsL3dvcmtzaGVldHMvX3JlbHMvc2hlZXQxLnhtbC5yZWxzUEsBAi0AFAAGAAgAAAAhAPpAhMy3AQAA7AQAACcAAAAAAAAAAAAAAAAAgR8AAHhsL3ByaW50ZXJTZXR0aW5ncy9wcmludGVyU2V0dGluZ3MxLmJpblBLAQItABQABgAIAAAAIQBca7pwsgEAAKgDAAAUAAAAAAAAAAAAAAAAAH0hAAB4bC90YWJsZXMvdGFibGUxLnhtbFBLAQItABQABgAIAAAAIQBNm3x/hgEAAOwCAAARAAAAAAAAAAAAAAAAAGEjAABkb2NQcm9wcy9jb3JlLnhtbFBLAQItABQABgAIAAAAIQD2KVHU4gEAABAEAAAQAAAAAAAAAAAAAAAAAB4mAABkb2NQcm9wcy9hcHAueG1sUEsFBgAAAAANAA0AaAMAADYpAAAAAAACTmFtZQAMAAAARXhjZWxNaXJyb3IAEFZlcnNpb24AAQAAAAlMYXN0V3JpdGUAJpKR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NAAAABP//////////AQAoBgAAAAAAAAAAAAD/////twm3CQAABV9pZAAQAAAABGcMROnLG5tLrfanpMqaxygDRGF0YQBUCQAACEF1dG9tYXRpY0xheW91dEFjdGl2ZQABBEFkZGl0aW9uYWxDaGFydE1hcmdpbkRhdGFzAAUAAAAAAkRhdGFSZWZlcmVuY2VEaXJlY3Rpb24AEAAAAFNlcmllc0J5Q29sdW1ucwACU2VyaWVzT3JkZXIACgAAAEFzSW5FeGNlbAACUG9pbnRPcmRlcgAKAAAAQXNJbkV4Y2VsAAJQcmltYXJ5QXhpc0Nyb3NzVHlwZQAZAAAAQ3Jvc3Nlc0JldHdlZW5DYXRlZ29yaWVzAAJTZWNvbmRhcnlBeGlzQ3Jvc3NUeXBlAAgAAABJbnZhbGlkAAhJc0NoYXJ0VGl0bGVWaXNpYmxlAAADQ2hhcnRUaXRsZURhdGEAzQYAAAhXYW50VG9CZVZpc2libGUAAANUZXh0Qm94RGF0YQBXBgAABU1hbmFnZWRJZAAQAAAABE5PzyUjlSxPkvm3EPPMv1I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UZvbnRTaXplAAAAAAAAACJACEZvbnRTdHJpa2V0aHJvdWdoAAAIRm9udFN1YnNjcmlwdAAACEZvbnRTdXBlcnNjcmlwdAAACEZvbnRVbmRlcmxpbmUAAAAIU2l6ZVRvVGV4dFdpZHRoAAEIU2l6ZVRvVGV4dEhlaWdodAAB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2Zmc2V0RnJvbUhvbWUAQgAAAAFYAAAAAAAAAAAAAVkAAAAAAAAAAAABTGVuZ3RoAAAAAAAAAAAAAUxlbmd0aFNxdWFyZWQAAAAAAAAAAAAAAAFQbG90VG9DaGFydEFyZWFSYXRpbwAAAAAAAAAAAAJSZW5kZXJNb2RlAAsAAABIeWJyaWRUZXh0AANDdXN0b21pemluZ0Rlc2NyaXB0aW9uRGF0YQCRAAAAAk5hbWUAFwAAAERlZmF1bHRGbGV4Q3VzdG9taXppbmcAEFZlcnNpb24AAQAAABBNaW5vclZlcnNpb24AAAAAAAJDdXN0b21pemluZ1R5cGUACAAAAERlZmF1bHQAAk1pb0NkSWQAAQAAAAACRmxleEN1c3RvbWl6aW5nVHlwZQAIAAAARGVmYXVsdAAAAUxhc3RTZWVuV2lkdGgAAAAAwPWIgUABTGFzdFNlZW5IZWlnaHQAAAAAoD3Lc0AITWlncmF0aW9uVG9QZXJmb3JtYW5jZU1vZGVEb25lAAEFTGFzdFNlZW5TbGlkZUNvbG9yVGhlbWVNZDVIYXNoABAAAAAAwmQJNSTp7c99NH3jhufRHgACTmFtZQAUAAAAR2xvYmFsQ2hhcnRTZXR0aW5ncwAQVmVyc2lvbgAFAAAACUxhc3RXcml0ZQAOxZU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TgAAAAP//////////zIATwAAAAAAAAAAAAAAIAP///////////////8AAAD///////////////9OAAAAMQD///////9OAAAAMQD///////9OAAAAMQD///////9OAAAAGQD///////9OAAAAGQD///////9OAAAAKgD///////////////////////////////////////////////////////////////////////////////////////////////////////////////////////////////////////////////////////////////////////////////////////////////////////////////////////////////////////////////////////////////////////////////////////////////////////////////////////////////////////////////////////////////////////////////////////////////////////////////////////////////8BACAD////////////////AAAO////////TgAAABAA////////////////////////////////////////////////////////////////////////////////////////////////////////////////////////////////////////////////////////////////////////////////////////////////////////////////////////////////////////////////////////////////////////////////////////////////////////////////////////////////////////////////////////////////////////////////////////////////////////////////////////////////////////////////////////////////////////////////////////////////////////////////////////AgABAwMAAAACAAUAAAACABYABkdlbmVyYWxFeGNlbFNldHRpbmdzXzAGAAAAAABPAAAABABOAAAALAADAAMDAwAAAAMABQAAAAMADgAGU2VyaWVzTGFiZWxzXzUGAAAAAQBOAAAAKwBOAAAAHABOAAAAKgBOAAAAHABOAAAAKgD///////8EAAEDAwAAAAQABQAAAAQAHAAGQXV0b21hdGljQnJlYWtTZXR0aW5nc0RhdGFfMAYAAAACAE4AAAARAE4AAAAZAAUAAQMDAAAABQAFAAAABQANAAZMZWFkZXJMaW5lc18wBgAAAAMATgAAABQATgAAACAABgABAwMAAAAGAAUAAAAGAAoABk92ZXJsYXlzXzcGAAAABABOAAAAHQBOAAAAJgAHAAEDAwAAAAcABQAAAAcADwAGTnVtYmVyRm9ybWF0c18xBgAAAAUATwAAAAEATgAAACUACAABAwMAAAAIAAUAAAAIAA4ABkxpbmtEYXRhTGlzdF8xBgAAAAYATgAAABsATwAAAAEACQABAwMAAAAJAAUAAAAJABAABkNvbW1vblNldHRpbmdzXzAGAAAABwBOAAAADwBOAAAAGAAKAAEDAwAAAAoABQAAAAoAKQAGUG9pbnRBbmRTZXJpZXNBZGRpdGlvblN0eWxlc0RlZmluaXRpb25zXzAGAAAACABPAAAAAwBOAAAACwALAAEDAwAAAAsABQAAAAsAKQAGUG9pbnRBbmRTZXJpZXNBZGRpdGlvblN0eWxlc0RlZmluaXRpb25zXzEKAAAAAABOAAAACgBOAAAADQAMAAQDAwAAAAwABQAAAAwADAAGTGVnZW5kRGF0YV8yCgAAAAEATgAAACAATgAAABsATgAAACAATgAAABsATwAAAAUATgAAAB0ATwAAAAUATgAAAB0ADQABAwMAAAANAAUAAAANACYABlBvaW50QW5kU2VyaWVzTWFya2VyU3R5bGVEZWZpbml0aW9uc18wCgAAAAIATgAAAAsATgAAABUADgABAwMAAAAOAAUAAAAOABwABkV4Y2VsQ29sb3JNb2RlRGF0YVByb3BlcnR5XzIKAAAAAwBOAAAAEgBPAAAABAAPAAEDAwAAAA8ABQAAAA8AFAAGQ29sdW1uU3Vtc1NldHRpbmdzXzAKAAAABABOAAAAIwBOAAAACQAQAAIDAwAAABAABQAAABAACwAGV2F0ZXJmYWxsXzEKAAAABQBOAAAAGgBOAAAAAQBOAAAAGgD///////8RAAEDAwAAABEABQAAABEAFAAGQWRkaXRpb25hbEF4aXNEYXRhXzEKAAAABgBOAAAAMQBOAAAABAASAAEDAwAAABIABQAAABIAHAAGRXhjZWxDb2xvck1vZGVEYXRhUHJvcGVydHlfMQ0AAAAAAE4AAAApAE4AAAAOABMABAMDAAAAEwAFAAAAEwAgAAZBenVyZUluZm9ybWF0aW9uUHJvdGVjdGlvbkRhdGFfMA0AAAABAE4AAAAvAE8AAAAGAE4AAAAvAE4AAAAuAE4AAAAvAE4AAAAYAE4AAAAZAE8AAAAFABQAAgMDAAAAFAAFAAAAFAASAAZHcmlkbGluZVNldHRpbmdzXzENAAAAAgBOAAAAHwBOAAAABQBPAAAABQBOAAAAIAAVAAEDAwAAABUABQAAABUAIAAGUG9pbnRBbmRTZXJpZXNTdHlsZURlZmluaXRpb25zXzANAAAAAwBOAAAADQBPAAAABwAWAAIDAwAAABYABQAAABYAHgAGQ2hhcnRTdHlsZVN0YXR1c0luZm9ybWF0aW9uc18wDQAAAAQATgAAACcATgAAAC0ATgAAAC4ATgAAABgAFwABAwMAAAAXAAUAAAAXAAwABkRhdGFMYWJlbHNfOA4AAAAAAE4AAAAiAE4AAAAkABgAAwMDAAAAGAAFAAAAGAAWAAZEYXRhQ2hhcnRDb0F1dGhvcmluZ18wDgAAAAEATgAAAAkATgAAACgATgAAABYATgAAACgATgAAABMATgAAACIAGQAFAwMAAAAZAAUAAAAZAAoABkF4ZXNEYXRhXzQOAAAAAgBOAAAABABOAAAALwBOAAAAMQBOAAAALwBOAAAAMQBOAAAALwBOAAAAAABOAAAAEwBOAAAAAABOAAAAHQAaAAIDAwAAABoABQAAABoACwAGV2F0ZXJmYWxsXzAOAAAAAwBOAAAAHABOAAAAEABOAAAAHABOAAAAEAAbAAIDAwAAABsABQAAABsADgAGTGlua0RhdGFMaXN0XzAOAAAABABOAAAADABOAAAACABOAAAADABPAAAAAgAcAAIDAwAAABwABQAAABwAGwAGU2hhcGVDb25zdHJ1Y3RlZENoYXJ0RGF0YV8wDgAAAAUATgAAAAMATgAAABoATgAAAAMATgAAABoAHQAFAwMAAAAdAAUAAAAdAAoABk92ZXJsYXlzXzYaAAAAAABPAAAAAgBOAAAABgBPAAAAAgBPAAAAAwBOAAAADABOAAAAKgBOAAAADABOAAAAKgBOAAAAGQBOAAAAKgAeAAEDAwAAAB4ABQAAAB4ADgAGU2VyaWVzTGFiZWxzXzMaAAAAAQBOAAAAKgBOAAAAKwAfAAEDAwAAAB8ABQAAAB8AEgAGR3JpZGxpbmVTZXR0aW5nc18wGgAAAAIATwAAAAUATgAAABQAIAACAwMAAAAgAAUAAAAgAAwABkxlZ2VuZERhdGFfMRoAAAADAE4AAAAFAE4AAAAMAE4AAAAUAE4AAAAMACEAAQMDAAAAIQAFAAAAIQAMAAZQZXJzb25hbElkXzAaAAAABABOAAAAJgBPAAAAAwAiAAMDAwAAACIABQAAACIADAAGRGF0YUxhYmVsc183GgAAAAUATgAAACgATgAAABcATgAAACgATgAAACQATgAAABgATwAAAAUAIwABAwMAAAAjAAUAAAAjAA4ABkNvbG9ySW5kaWNlc18yGgAAAAYATwAAAAAATgAAAA8AJAACAwMAAAAkAAUAAAAkAAwABkRhdGFMYWJlbHNfOSgAAAAAAE4AAAAXAE4AAAApAE4AAAAiAE8AAAAFACUAAQMDAAAAJQAFAAAAJQAPAAZOdW1iZXJGb3JtYXRzXzIoAAAAAQBOAAAABwBPAAAAAgAmAAEDAwAAACYABQAAACYACgAGT3ZlcmxheXNfOCgAAAACAE4AAAAGAE4AAAAhACcAAQMDAAAAJwAFAAAAJwAjAAZDYXRlZ29yeUxhYmVsU2V0dGluZ3NEYXRhUHJvcGVydHlfMCgAAAADAE4AAAAuAE4AAAAWACgAAgMDAAAAKAAFAAAAKAAMAAZEYXRhTGFiZWxzXzYoAAAABABOAAAAGABOAAAAIgBOAAAAGABOAAAAIgApAAEDAwAAACkABQAAACkACgAGRGF0YUxpbmtfMSgAAAAFAE4AAAAkAE4AAAASACoABgMDAAAAKgAFAAAAKgAMAAZTZXJpZXNEYXRhXzAoAAAABgBOAAAAMABOAAAAHgBPAAAAAwBOAAAAAwBOAAAAHQBOAAAAAwBOAAAAHQD///////9OAAAAHQD///////9OAAAAAAD///////8rAAEDAwAAACsABQAAACsADgAGU2VyaWVzTGFiZWxzXzQoAAAABwBOAAAAHgBOAAAAAwAsAAEDAwAAACwABQAAACwAFQAGR2xvYmFsQ2hhcnRTZXR0aW5nc180KAAAAAgATgAAAAIATwAAAAUALQABAwMAAAAtAAUAAAAtAB4ABkNoYXJ0U3R5bGVTdGF0dXNJbmZvcm1hdGlvbnNfMT0AAAAAAE4AAAAWAE8AAAAAAC4AAgMDAAAALgAFAAAALgAaAAZDYXRlZ29yeUF4aXNEYXRhUHJvcGVydHlfMT0AAAABAE8AAAAGAE4AAAAnAE4AAAATAE4AAAAWAC8AAwMDAAAALwAFAAAALwAKAAZBeGVzRGF0YV81PQAAAAIATgAAABkATgAAABMATgAAABkATgAAABMATgAAABkATgAAABMAMAABAwMAAAAwAAUAAAAwACAABlBvaW50QW5kU2VyaWVzU3R5bGVEZWZpbml0aW9uc18yPQAAAAMATwAAAAcATgAAACoAMQADAwMAAAAxAAUAAAAxABQABkFkZGl0aW9uYWxBeGlzRGF0YV8wPQAAAAQATgAAAAAATgAAABEATgAAAAAATgAAABkATgAAAAAATgAAABkAAAAAAAAAAAAAAAAAAAAAAAAAAAAAAAAAAAAAAAAAAAAAAAAAAAAAAAAAAAAAAAAAAAAAAAAAAAAAAAAAAAAAAAAAAAAAAAAAAAAAAAAAAE8AAAADAAAAAP////8IAPINAAAAAAAAAAAAAAEDAwAAADIABQAAADIAEwAGQ29sb3JEYXRhUHJvcGVydHlfMD0AAAAFAE4AAAAtAE4AAAAjAAEAAQMDAAAAMwAFAAAAMwANAAZNYXJrZXJzRGF0YV8xRQAAAAAATgAAAAgATgAAAAcAAgACAwMAAAA0AAUAAAA0AAoABk92ZXJsYXlzXzU9AAAABgBOAAAAJQBOAAAAHQBOAAAAGwBOAAAAHQADAAIDSQAAAAAABQAAADUAEAAGUGxvdEFyZWFCb3JkZXJfMD0AAAAHAE4AAAAhAE4AAAAKAE4AAAAdAE4AAAAqAAQAAQNJAAAAAQAFAAAANgANAAZFeGNlbE1pcnJvcl8xPQAAAAgATgAAAA4ATgAAAAIABQAEA0kAAAACAAUAAAA3ABUABkdsb2JhbENoYXJ0U2V0dGluZ3NfNU0AAAAAAE4AAAAsAE4AAAAfAE4AAAAkAE4AAAAUAE4AAAAiAE4AAAAMAE4AAAATAE4AAAAMAAYAAQNJAAAAAwAFAAAAOAAVAAZCcmVha01hbmFnZW1lbnREYXRhXzA9AAAACQBOAAAAEwBOAAAALgAHAAEDSQAAAAQABQAAADkAIAAGUG9pbnRBbmRTZXJpZXNTdHlsZURlZmluaXRpb25zXzE9AAAACgBOAAAAFQBO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AAAAAFoAAABb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UQAAAAUwAAAAUgAAAOcPAAAAAAAAAAAAAG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kAIRm9udFN0cmlrZXRocm91Z2gAAAhGb250U3Vic2NyaXB0AAAIRm9udFN1cGVyc2NyaXB0AAAIRm9udFVuZGVybGluZQAAAAhTaXplVG9UZXh0V2lkdGgAAQhTaXplVG9UZXh0SGVpZ2h0AAEDVGV4dE1hcmdpbgA/AAAAAUxlZnQAAAAAwFqt9j8BVG9wAAAAAKBIJOI/AVJpZ2h0AAAAAMBarfY/AUJvdHRvbQAAAACgSCTiPwACRGlzcGxheVRleHQABAAAADM0JQABSGVpZ2h0AAAAACBgCC1AAVdpZHRoAAAAAMCu8jhAAVRvcAAAAADAs91kQAFMZWZ0AAAAACCWPXB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NMZWFkZXJMaW5lAOEGAAADU3RhcnQAGwAAAAFYAAAAAIAo33ZAAVkAAAAAFZYqZkAAA0VuZAAbAAAAAVgAAAAAqJFqaEABWQAAAAAVlipmQAACU3RhcnRBcnJvd0hlYWQAEQAAAG1zb0Fycm93aGVhZE5vbmUAAkVuZEFycm93SGVhZAARAAAAbXNvQXJyb3doZWFkTm9uZQAFTWFuYWdlZElkABAAAAAEilC37B9huE6uaMhNoZuyyw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GC/U2VAAVRvcAAAAAAglipmQAFMZWZ0AAAAAKCRamhACEZsaXBIb3Jpem9udGFsbHkAAQ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CokQpoQAFZAAAAABWWKmZAAANFbmQAGwAAAAFYAAAAAKiRamhAAVkAAAAAFZYqZkAAAlN0YXJ0QXJyb3dIZWFkABEAAABtc29BcnJvd2hlYWROb25lAAJFbmRBcnJvd0hlYWQAEQAAAG1zb0Fycm93aGVhZE5vbmUABU1hbmFnZWRJZAAQAAAABDTn0V7wLQZPqr7+LjiGKsE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FIAAAAFUQAAAFMAAADnDwAAAAAAAAAAAAAAAAAAAAFIZWlnaHQAAAAAAAAAAAABV2lkdGgAAAAAAAAACEABVG9wAAAAACCWKmZAAUxlZnQAAAAAoJEKaE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lisFcUABWQAAAAANy6RlQAAISGFzTGVhZGVyTGluZQAACElzQ2VudGVyQXV0b21hdGljQWRqdXN0ZWQAAAhJc1VzZXJQb3NpdGlvbgAAAlNlcGFyYXRvcgACAAAACgACVGV4dAAEAAAAMzQlAAhSZXF1aXJlUmVsYXRpdmVQb3NpdGlvblVwZ3JhZGUAAAhJc0dlb21ldHJ5T3V0T2ZCb3VuZHMAAAhJc0xlYWRlckxpbmVJbkF1dG9Nb2RlAAEIRGVsZXRlZAAAAAM2AFUYAAAQUG9pbnRJbmRleAAHAAAAAkFsaWdubWVudAAHAAAAQ2VudGVyABBTZXJpZXNJbmRleAABAAAACFJlcXVpcmVGb250Q29sb3JNaWdyYXRpb24AAAhNYW51YWxEYXRhTGFiZWxCYWNrZ3JvdW5kVmlzaWJsZQABCEhhc1dpc2hDb2xvcg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A1ZhbHVlQXhpc051bWJlckZvcm1hdAAfAAAABV9pZAAQAAAABAAAAAAAAAAAAAAAAAAAAAAAA0NhdGVnb3J5QXhpc051bWJlckZvcm1hdAAfAAAABV9pZAAQAAAABAAAAAAAAAAAAAAAAAAAAAAAA1RleHRCb3gAugYAAAVNYW5hZ2VkSWQAEAAAAAQv2hFz12eBRrQyfYUlZvot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AAAADIxJQACVGV4dEhvcml6b250YWxBbGlnbm1lbnQADgAAAG1zb0FuY2hvck5vbmU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mQAhGb250U3RyaWtldGhyb3VnaAAACEZvbnRTdWJzY3JpcHQAAAhGb250U3VwZXJzY3JpcHQAAAhGb250VW5kZXJsaW5lAAAACFNpemVUb1RleHRXaWR0aAABCFNpemVUb1RleHRIZWlnaHQAAQNUZXh0TWFyZ2luAD8AAAABTGVmdAAAAADAWq32PwFUb3AAAAAAoEgk4j8BUmlnaHQAAAAAwFqt9j8BQm90dG9tAAAAAKBIJOI/AAJEaXNwbGF5VGV4dAAEAAAAMjElAAFIZWlnaHQAAAAAIGAILUABV2lkdGgAAAAAwK7yOEABVG9wAAAAAMAm02hAAUxlZnQAAAAAIDQgb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0xlYWRlckxpbmUA4QYAAANTdGFydAAbAAAAAVgAAAAAMSw1gEABWQAAAACA5FJoQAADRW5kABsAAAABWAAAAAAxLDWAQAFZAAAAAOp/dWNAAAJTdGFydEFycm93SGVhZAARAAAAbXNvQXJyb3doZWFkTm9uZQACRW5kQXJyb3dIZWFkABEAAABtc29BcnJvd2hlYWROb25lAAVNYW5hZ2VkSWQAEAAAAARVNPgdmuDQTrZ+C/GPq+tV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TAAAABVIAAABUAAAA5w8AAAAAAAAAAAAA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GCSdUNAAVdpZHRoAAAAAAAAAAAAAVRvcAAAAADgf3VjQAFMZWZ0AAAAAEAsNYBACEZsaXBIb3Jpem9udGFsbHkAAAhGbGlwSG9yaXpvbnRhbGx5QXBwbGllZAAACEZsaXBWZXJ0aWNhbGx5AAE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xLDWAQAFZAAAAAOp/FWNAAANFbmQAGwAAAAFYAAAAADEsNYBAAVkAAAAA6n91Y0AAAlN0YXJ0QXJyb3dIZWFkABEAAABtc29BcnJvd2hlYWROb25lAAJFbmRBcnJvd0hlYWQAEQAAAG1zb0Fycm93aGVhZE5vbmUABU1hbmFnZWRJZAAQAAAABJAaLn6u8ZRLjUQk6l6ocGo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4H8VY0ABTGVmdAAAAABALDWA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AMX69uQAFZAAAAAA0+mmlAAAhIYXNMZWFkZXJMaW5lAAAISXNDZW50ZXJBdXRvbWF0aWNBZGp1c3RlZAAACElzVXNlclBvc2l0aW9uAAACU2VwYXJhdG9yAAIAAAAKAAJUZXh0AAQAAAAyMSUACFJlcXVpcmVSZWxhdGl2ZVBvc2l0aW9uVXBncmFkZQAACElzR2VvbWV0cnlPdXRPZkJvdW5kcwAACElzTGVhZGVyTGluZUluQXV0b01vZGUAAQhEZWxldGVkAAAAAzcAVRgAABBQb2ludEluZGV4AAgAAAACQWxpZ25tZW50AAcAAABDZW50ZXIAEFNlcmllc0luZGV4AAEAAAAIUmVxdWlyZUZvbnRDb2xvck1pZ3JhdGlvbgAACE1hbnVhbERhdGFMYWJlbEJhY2tncm91bmRWaXNpYmxlAAEISGFzV2lzaENvbG9y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DVmFsdWVBeGlzTnVtYmVyRm9ybWF0AB8AAAAFX2lkABAAAAAEAAAAAAAAAAAAAAAAAAAAAAADQ2F0ZWdvcnlBeGlzTnVtYmVyRm9ybWF0AB8AAAAFX2lkABAAAAAEAAAAAAAAAAAAAAAAAAAAAAADVGV4dEJveAC6BgAABU1hbmFnZWRJZAAQAAAABFTGTE0BMIFCslo6B9SDcN4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VAAAAAVTAAAAVQAAAOcPAAAAAAAAAAAAAAAAAAAAAAABU2NHAAAAAAAAAAAAAVNjQgAAAAAAAAAAAAAQUGF0dGVyblRoZW1lQ29sb3IAAAAAAAFQYXR0ZXJuVGludEFuZFNoYWRlAAAAAAAAAAAACEZpbGxWaXNpYmxlAAEIVmlzaWJsZQABAkZpbGxQYXR0ZXJuABAAAABtc29QYXR0ZXJuTWl4ZWQAAlRleHQABAAAADE1JQACVGV4dEhvcml6b250YWxBbGlnbm1lbnQADgAAAG1zb0FuY2hvck5vbmU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mQAhGb250U3RyaWtldGhyb3VnaAAACEZvbnRTdWJzY3JpcHQAAAhGb250U3VwZXJzY3JpcHQAAAhGb250VW5kZXJsaW5lAAAACFNpemVUb1RleHRXaWR0aAABCFNpemVUb1RleHRIZWlnaHQAAQNUZXh0TWFyZ2luAD8AAAABTGVmdAAAAADAWq32PwFUb3AAAAAAoEgk4j8BUmlnaHQAAAAAwFqt9j8BQm90dG9tAAAAAKBIJOI/AAJEaXNwbGF5VGV4dAAEAAAAMTUlAAFIZWlnaHQAAAAAIGAILUABV2lkdGgAAAAAwK7yOEABVG9wAAAAAECZyGxAAUxlZnQAAAAAID+la0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0xlYWRlckxpbmUA4QYAAANTdGFydAAbAAAAAVgAAAAAcQ4PgEABWQAAAADA6zxsQAADRW5kABsAAAABWAAAAABxDg+AQAFZAAAAALTwFl9AAAJTdGFydEFycm93SGVhZAARAAAAbXNvQXJyb3doZWFkTm9uZQACRW5kQXJyb3dIZWFkABEAAABtc29BcnJvd2hlYWROb25lAAVNYW5hZ2VkSWQAEAAAAASBfkvGERpHQJC/u52ECXtm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OZiWUABV2lkdGgAAAAAAAAAAAABVG9wAAAAAMDwFl9AAUxlZnQAAAAAgA4PgEAIRmxpcEhvcml6b250YWxseQAACEZsaXBIb3Jpem9udGFsbHlBcHBsaWVkAAAIRmxpcFZlcnRpY2FsbHkAAQ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HEOD4BAAVkAAAAAtPBWXkAAA0VuZAAbAAAAAVgAAAAAcQ4PgEABWQAAAAC08BZfQAACU3RhcnRBcnJvd0hlYWQAEQAAAG1zb0Fycm93aGVhZE5vbmUAAkVuZEFycm93SGVhZAARAAAAbXNvQXJyb3doZWFkTm9uZQAFTWFuYWdlZElkABAAAAAESW/zzihwiki9cUsLN0psZA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UAAAAFVAAAAFYAAADnDwAAAAAAAAAAAAB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wPBWXkABTGVmdAAAAACADg+A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AMajRtQAFZAAAAAI2wj21AAAhIYXNMZWFkZXJMaW5lAAAISXNDZW50ZXJBdXRvbWF0aWNBZGp1c3RlZAAACElzVXNlclBvc2l0aW9uAAACU2VwYXJhdG9yAAIAAAAKAAJUZXh0AAQAAAAxNSUACFJlcXVpcmVSZWxhdGl2ZVBvc2l0aW9uVXBncmFkZQAACElzR2VvbWV0cnlPdXRPZkJvdW5kcwAACElzTGVhZGVyTGluZUluQXV0b01vZGUAAQhEZWxldGVkAAAAAzgAUhgAABBQb2ludEluZGV4AAkAAAACQWxpZ25tZW50AAcAAABDZW50ZXIAEFNlcmllc0luZGV4AAEAAAAIUmVxdWlyZUZvbnRDb2xvck1pZ3JhdGlvbgAACE1hbnVhbERhdGFMYWJlbEJhY2tncm91bmRWaXNpYmxlAAEISGFzV2lzaENvbG9y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DVmFsdWVBeGlzTnVtYmVyRm9ybWF0AB8AAAAFX2lkABAAAAAEAAAAAAAAAAAAAAAAAAAAAAADQ2F0ZWdvcnlBeGlzTnVtYmVyRm9ybWF0AB8AAAAFX2lkABAAAAAEAAAAAAAAAAAAAAAAAAAAAAADVGV4dEJveAC4BgAABU1hbmFnZWRJZAAQAAAABGSrIFmtxL5FroyHsvE+wtQ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DAAAAOSUAAlRleHRIb3Jpem9udGFsQWxpZ25tZW50AA4AAABtc29BbmNob3JOb25l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kAIRm9udFN0cmlrZXRocm91Z2gAAAhGb250U3Vic2NyaXB0AAAIRm9udFN1cGVyc2NyaXB0AAAIRm9udFVuZGVybGluZQAAAAhTaXplVG9UZXh0V2lkdGgAAQhTaXplVG9UZXh0SGVpZ2h0AAEDVGV4dE1hcmdpbgA/AAAAAUxlZnQAAAAAwFqt9j8BVG9wAAAAAKBIJOI/AVJpZ2h0AAAAAMBarfY/AUJvdHRvbQAAAACgSCTiPwACRGlzcGxheVRleHQAAwAAADklAAFIZWlnaHQAAAAAIGAILUABV2lkdGgAAAAA4NDUMkABVG9wAAAAAOAFX3BAAUxlZnQAAAAAoGulak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0xlYWRlckxpbmUA4QYAAANTdGFydAAbAAAAAVgAAAAAYr1ldUABWQAAAACAeRNwQAADRW5kABsAAAABWAAAAABivWV1QAFZAAAAADTiQldAAAJTdGFydEFycm93SGVhZAARAAAAbXNvQXJyb3doZWFkTm9uZQACRW5kQXJyb3dIZWFkABEAAABtc29BcnJvd2hlYWROb25lAAVNYW5hZ2VkSWQAEAAAAAT62EFNysPSTZ2KWO3XsazI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WAAAABVUAAABXAAAA5w8AAAAAAAAAAAAA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OCBhWRAAVdpZHRoAAAAAAAAAAAAAVRvcAAAAABA4kJXQAFMZWZ0AAAAAGC9ZXVACEZsaXBIb3Jpem9udGFsbHkAAAhGbGlwSG9yaXpvbnRhbGx5QXBwbGllZAAACEZsaXBWZXJ0aWNhbGx5AAE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BivWV1QAFZAAAAADTiglZAAANFbmQAGwAAAAFYAAAAAGK9ZXVAAVkAAAAANOJCV0AAAlN0YXJ0QXJyb3dIZWFkABEAAABtc29BcnJvd2hlYWROb25lAAJFbmRBcnJvd0hlYWQAEQAAAG1zb0Fycm93aGVhZE5vbmUABU1hbmFnZWRJZAAQAAAABH2NBYYI/ThNvRRsERxy3S4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QOKCVkABTGVmdAAAAABgvWV1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CuuNJrQAFZAAAAgIaRwnBAAAhIYXNMZWFkZXJMaW5lAAAISXNDZW50ZXJBdXRvbWF0aWNBZGp1c3RlZAAACElzVXNlclBvc2l0aW9uAAACU2VwYXJhdG9yAAIAAAAKAAJUZXh0AAMAAAA5JQAIUmVxdWlyZVJlbGF0aXZlUG9zaXRpb25VcGdyYWRlAAAISXNHZW9tZXRyeU91dE9mQm91bmRzAAAISXNMZWFkZXJMaW5lSW5BdXRvTW9kZQABCERlbGV0ZWQAAAADOQBSGAAAEFBvaW50SW5kZXgACgAAAAJBbGlnbm1lbnQABwAAAENlbnRlcgAQU2VyaWVzSW5kZXgAAQAAAAhSZXF1aXJlRm9udENvbG9yTWlncmF0aW9uAAAITWFudWFsRGF0YUxhYmVsQmFja2dyb3VuZFZpc2libGUAAQhIYXNXaXNoQ29sb3I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NWYWx1ZUF4aXNOdW1iZXJGb3JtYXQAHwAAAAVfaWQAEAAAAAQAAAAAAAAAAAAAAAAAAAAAAANDYXRlZ29yeUF4aXNOdW1iZXJGb3JtYXQAHwAAAAVfaWQAEAAAAAQAAAAAAAAAAAAAAAAAAAAAAANUZXh0Qm94ALgGAAAFTWFuYWdlZElkABAAAAAEgiq7t9znr0ekHUy6cdIu0QhIYXNDaGFuZ2VzAAAIVXNlTmFtZUluc3RlYWRPZlRhZ0FzSWQAAQhTaGFwVwAAAAVWAAAAWAAAAOcPAAAAAAAAAAAAA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DAAAAOCUAAlRleHRIb3Jpem9udGFsQWxpZ25tZW50AA4AAABtc29BbmNob3JOb25l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kAIRm9udFN0cmlrZXRocm91Z2gAAAhGb250U3Vic2NyaXB0AAAIRm9udFN1cGVyc2NyaXB0AAAIRm9udFVuZGVybGluZQAAAAhTaXplVG9UZXh0V2lkdGgAAQhTaXplVG9UZXh0SGVpZ2h0AAEDVGV4dE1hcmdpbgA/AAAAAUxlZnQAAAAAwFqt9j8BVG9wAAAAAKBIJOI/AVJpZ2h0AAAAAMBarfY/AUJvdHRvbQAAAACgSCTiPwACRGlzcGxheVRleHQAAwAAADglAAFIZWlnaHQAAAAAIGAILUABV2lkdGgAAAAA4NDUMkABVG9wAAAAAGC/WXJAAUxlZnQAAAAAoF1Aak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0xlYWRlckxpbmUA4QYAAANTdGFydAAbAAAAAVgAAAAAAeEDc0ABWQAAAAAgfQhyQAADRW5kABsAAAABWAAAAAAB4QNzQAFZAAAAAKivmkVAAAJTdGFydEFycm93SGVhZAARAAAAbXNvQXJyb3doZWFkTm9uZQACRW5kQXJyb3dIZWFkABEAAABtc29BcnJvd2hlYWROb25lAAVNYW5hZ2VkSWQAEAAAAAQhS37WqZXtSbk0dO/aJo4/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YE6qbkABV2lkdGgAAAAAAAAAAAABVG9wAAAAAKCvmkVAAUxlZnQAAAAAAOEDc0AIRmxpcEhvcml6b250YWxseQAACEZsaXBIb3Jpem9udGFsbHlBcHBsaWVkAAAIRmxpcFZlcnRpY2FsbHkAAQ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HhA3NAAVkAAAAAqK8aREAAA0VuZAAbAAAAAVgAAAAAAeEDc0ABWQAAAACor5pFQAACU3RhcnRBcnJvd0hlYWQAEQAAAG1zb0Fycm93aGVhZE5vbmUAAkVuZEFycm93SGVhZAARAAAAbXNvQXJyb3doZWFkTm9uZQAFTWFuYWdlZElkABAAAAAEZRt/f93A00q6xajGXbRMo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VgAAAAFVwAAAP////8dBsoJAAAAAAAAAAB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oK8aREABTGVmdAAAAAAA4QNz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Cuqm1rQAFZAAAAgAZLvXJAAAhIYXNMZWFkZXJMaW5lAAAISXNDZW50ZXJBdXRvbWF0aWNBZGp1c3RlZAAACElzVXNlclBvc2l0aW9uAAACU2VwYXJhdG9yAAIAAAAKAAJUZXh0AAMAAAA4JQAIUmVxdWlyZVJlbGF0aXZlUG9zaXRpb25VcGdyYWRlAAAISXNHZW9tZXRyeU91dE9mQm91bmRzAAAISXNMZWFkZXJMaW5lSW5BdXRvTW9kZQABCERlbGV0ZWQAAAAACExhYmVsc1Zpc2libGUAAQhBdXRvbWF0aWNMYWJlbEJhY2tncm91bmRzRW5hYmxlZAABAANTZWNvbmRhcnkASQAAAAREYXRhTGFiZWxzAAUAAAAACExhYmVsc1Zpc2libGUAAAhBdXRvbWF0aWNMYWJlbEJhY2tncm91bmRzRW5hYmxlZAAAAAAIRGlzYWJsZUF1dG9tYXRpY0RlYWN0aXZhdGlvbgAAAAJOYW1lAAsAAABEYXRhTGFiZWxzABBWZXJzaW9uAAkAAAAJTGFzdFdyaXRlABLFlT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ZAAAAAK4AAACU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gAAAABbAAAAUA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sAAAAAXAAAAFo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cAAAAAF0AAABb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XQAAAABeAAAAXA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4AAAAAXwAAAF0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fAAAAAGAAAABe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YAAAAABhAAAAXw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AAAAAYgAAAGA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iAAAAAGMAAABh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YwAAAABkAAAAYg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AAAAAZQAAAGM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lAAAAAGYAAABk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ZgAAAABnAAAAZQ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cAAAAAaAAAAGY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oAAAAAGkAAABn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BqAAAAaA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oAAAAAmAAAAGk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rAAAAAGwAAAD/////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AAAABtAAAAaw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0AAAAAbgAAAGw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uAAAAAG8AAABt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AAAABwAAAAbg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HAAAAAAcQAAAG8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xAAAAAHIAAABw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gAAAABzAAAAcQ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HMAAAAAdAAAAHI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0AAAAAHUAAABz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QAAAAB2AAAAdA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HYAAAAAdwAAAHU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3AAAAAHgAAAB2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AAAAAB5AAAAdw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HkAAAAAegAAAHg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6AAAAAHsAAAB5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wAAAAB8AAAAeg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HwAAAAAfQAAAHs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9AAAAAH4AAAB8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gAAAAB/AAAAfQ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H8AAAAAgAAAAH4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AIEAAAB/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AAAACCAAAAgA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IAAAAAgwAAAIE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DAAAAAIQAAACC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hAAAAACFAAAAgw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UAAAAAhgAAAIQ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GAAAAAIcAAACF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hwAAAACIAAAAhg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gAAAAAiQAAAIc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JAAAAAIoAAACI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gAAAACLAAAAiQ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sAAAAAjAAAAIo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AAAAAI0AAACL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QAAAACOAAAAjA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4AAAAAjwAAAI0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PAAAAAJAAAACO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AAAAACRAAAAjw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EAAAAAngAAAJA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AAAABUAAAACTAAAA5w8AAAAAAAAAAAAAPwAAAAFMZWZ0AAAAAAAAAAAAAVRvcAAAAAAAAAAAAAFSaWdodAAAAAAAAAAAAAFCb3R0b20AAAAAAAAAAAAAAkRpc3BsYXlUZXh0ABkAAABTdHJhdGVnaXNjaGUgQXVzcmljaHR1bmcAAUhlaWdodAAAAAAg18MqQAFXaWR0aAAAAABgfrFgQAFUb3AAAAAAAEvlaEABTGVmdAAAAACgp5kJ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CT3JpZW50YXRpb24ABQAAAE5vbmUACExhYmVsVmlzaWJsZQABAlRleHRBbGlnbm1lbnQABQAAAExlZnQAAAM3AB0HAAADVGV4dEJveERhdGEAzgYAAAVNYW5hZ2VkSWQAEAAAAASjQP1ArJQATIGYSFUfqW6p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DwAAAE5hY2hoYWx0aWdrZWl0AAJUZXh0SG9yaXpvbnRhbEFsaWdubWVudAAOAAAAbXNvQW5jaG9yTm9uZQACUGFyYWdyYXBoQWxpZ25tZW50AA0AAABtc29BbGlnbkxlZnQAAlRleHRWZXJ0aWNhbEFsaWdubWVudAAQAAAAbXNvQW5jaG9yTWlkZGxlAANGb250U3R5bGUAQQEAABBGb250QmFja2dyb3VuZAAAAAAACEZvbnRCb2xkAAEDRm9udENvbG9yAFUAAAAQQQD/AAAAEFIAgAAAABBHAIAAAAAQQgCAAAAAAVNjQQAAAAAAAADwPwFTY1IAAAAAYFGhyz8BU2NHAAAAAGBRocs/AVNjQgAAAABgUaHLPwAQRm9udFRoZW1lQ29sb3IAAgAAAAFGb250VGludEFuZFNoYWRlAAAAAAAAAOC/EEZvbnRTY2hlbWVDb2xvcgAAAAAACEZvbnRJdGFsaWMAAAJGb250TmFtZQAHAAAAK21uLWx0AAFGb250U2l6ZQAAAAAAAAAmQAhGb250U3RyaWtldGhyb3VnaAAACEZvbnRTdWJzY3JpcHQAAAhGb250U3VwZXJzY3JpcHQAAAhGb250VW5kZXJsaW5lAAAACFNpemVUb1RleHRXaWR0aAABCFNpemVUb1RleHRIZWlnaHQAAQNUZXh0TWFyZ2luAD8AAAABTGVmdAAAAAAAAAAAAAFUb3AAAAAAAAAAAAABUmlnaHQAAAAAAAAAAAABQm90dG9tAAAAAAAAAAAAAAJEaXNwbGF5VGV4dAAPAAAATmFjaGhhbHRpZ2tlaXQAAUhlaWdodAAAAAAg18MqQAFXaWR0aAAAAAAgItJSQAFUb3AAAAAAgL3abEABTGVmdAAAAACgp5kJ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CT3JpZW50YXRpb24ABQAAAE5vbmUACExhYmVsVmlzaWJsZQABAlRleHRBbGlnbm1lbnQABQAAAExlZnQAAAM4AA8HAAADVGV4dEJveERhdGEAwAYAAAVNYW5hZ2VkSWQAEAAAAAROpQne5E0ATLiCvqYh/gKq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CAAAAEFuZGVyZXMAAlRleHRIb3Jpem9udGFsQWxpZ25tZW50AA4AAABtc29BbmNob3JOb25lAAJQYXJhZ3JhcGhBbGlnbm1lbnQADQAAAG1zb0FsaWduTGVmdAACVGV4dFZlcnRpY2FsQWxpZ25tZW50ABAAAABtc29BbmNob3JNaWRkbGUAA0ZvbnRTdHlsZQBBAQAAEEZvbnRCYWNrZ3JvdW5kAAAAAAAIRm9udEJvbGQAAQNGb250Q29sb3IAVQAAABBBAP8AAAAQUgCAAAAAEEcAgAAAABBCAIAAAAABU2NBAAAAAAAAAPA/AVNjUgAAAABgUaHLPwFTY0cAAAAAYFGhyz8BU2NCAAAAAGBRocs/ABBGb250VGhlbWVDb2xvcgACAAAAAUZvbnRUaW50QW5kU2hhZGUAAAAAAAAA4L8QRm9udFNjaGVtZUNvbG9yAAAAAAAIRm9udEl0YWxpYwAAAkZvbnROYW1lAAcAAAArbW4tbHQAAUZvbnRTaXplAAAAAAAAACZACEZvbnRTdHJpa2V0aHJvdWdoAAAIRm9udFN1YnNjcmlwdAAACEZvbnRTdXBlcnNjcmlwdAAACEZvbnRVbmRlcmxpbmUAAAAIU2l6ZVRvVGV4dFdpZHRoAAEIU2l6ZVRvVGV4dEhlaWdodAABA1RleHRNYXJnaW4APwAAAAFMZWZ0AAAAAAAAAAAAAVRvcAAAAAAAAAAAAAFSaWdodAAAAAAAAAAAAAFCb3R0b20AAAAAAAAAAAAAAkRpc3BsYXlUZXh0AAgAAABBbmRlcmVzAAFIZWlnaHQAAAAAINfDKkABV2lkdGgAAAAAoIEORkABVG9wAAAAAAAYaHBAAUxlZnQAAAAAoKeZC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kwAAAAWSAAAA/////xkJzgYAAAAAAAAAAH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JPcmllbnRhdGlvbgAFAAAATm9uZQAITGFiZWxWaXNpYmxlAAECVGV4dEFsaWdubWVudAAFAAAATGVmdAAAAzkAJwcAAANUZXh0Qm94RGF0YQDYBgAABU1hbmFnZWRJZAAQAAAABL6K/JwvqudCltf3HkN8kEk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UAAAARGF0ZW52ZXJmw7xnYmFya2VpdAACVGV4dEhvcml6b250YWxBbGlnbm1lbnQADgAAAG1zb0FuY2hvck5vbmUAAlBhcmFncmFwaEFsaWdubWVudAANAAAAbXNvQWxpZ25MZWZ0AAJUZXh0VmVydGljYWxBbGlnbm1lbnQAEAAAAG1zb0FuY2hvck1pZGRsZQADRm9udFN0eWxlAEEBAAAQRm9udEJhY2tncm91bmQAAAAAAAhGb250Qm9sZAABA0ZvbnRDb2xvcgBVAAAAEEEA/wAAABBSAIAAAAAQRwCAAAAAEEIAgAAAAAFTY0EAAAAAAAAA8D8BU2NSAAAAAGBRocs/AVNjRwAAAABgUaHLPwFTY0IAAAAAYFGhyz8AEEZvbnRUaGVtZUNvbG9yAAIAAAABRm9udFRpbnRBbmRTaGFkZQAAAAAAAADgvxBGb250U2NoZW1lQ29sb3IAAAAAAAhGb250SXRhbGljAAACRm9udE5hbWUABwAAACttbi1sdAABRm9udFNpemUAAAAAAAAAJkAIRm9udFN0cmlrZXRocm91Z2gAAAhGb250U3Vic2NyaXB0AAAIRm9udFN1cGVyc2NyaXB0AAAIRm9udFVuZGVybGluZQAAAAhTaXplVG9UZXh0V2lkdGgAAQhTaXplVG9UZXh0SGVpZ2h0AAEDVGV4dE1hcmdpbgA/AAAAAUxlZnQAAAAAAAAAAAABVG9wAAAAAAAAAAAAAVJpZ2h0AAAAAAAAAAAAAUJvdHRvbQAAAAAAAAAAAAACRGlzcGxheVRleHQAFAAAAERhdGVudmVyZsO8Z2JhcmtlaXQAAUhlaWdodAAAAAAg18MqQAFXaWR0aAAAAADALxZZQAFUb3AAAAAAgNFickABTGVmdAAAAACgp5kJ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CT3JpZW50YXRpb24ABQAAAE5vbmUACExhYmVsVmlzaWJsZQABAlRleHRBbGlnbm1lbnQABQAAAExlZnQAAAAIV2FudHNUb0JlVmlzaWJsZQABAkxhYmVsVGV4dEFsaWdubWVudAAFAAAATGVmdAAAAk5hbWUAGQAAAENhdGVnb3J5QXhpc0RhdGFQcm9wZXJ0eQAQVmVyc2lvbgABAAAACUxhc3RXcml0ZQDbxJU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QAAAAAWQAAADo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VAAAABTQAAACWAAAA5w8AAAAAAAAAAAAARm9udFNpemUAAAAAAAAAJk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Ag18MqQAFXaWR0aAAAAADgrvI4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CQ29sdW1uU3VtUG9zaXRpb24ADAAAAERlZmF1bHREb2NrAAhEZWxldGVkAAEDTnVtYmVyRm9ybWF0AB8AAAAFX2lkABAAAAAEAAAAAAAAAAAAAAAAAAAAAAADVGV4dEZvcm1hdA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Jc05ldwABAUZvbnRTaXplAAAAAAAAACRAAAM3AN4JAAAFX2lkABAAAAAENJ6iqpGD+U2xAczF6XBKZQJfdHlwZQBXAAAAZW1wb3dlci5DaGFydHMuRGF0YS5EYXRhQ2hhcnRzLk92ZXJsYXlzLkRhdGEuQ29sdW1uU3VtT3ZlcmxheURhdGEsIGVtcG93ZXIuQ2hhcnRzLkRhdGEAEENvbHVtbgAIAAAAEFNlcmllcwD/////A1RleHRFbGVtZW50AOsGAAACQXV0b1NoYXBlVHlwZQAKAAAAUmVjdGFuZ2xlAARBZGp1c3RtZW50cwAFAAAAAAVNYW5hZ2VkSWQAEAAAAASZl6wOas2gSr9Jyj9cx0Vj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Jk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Ag18MqQAFXaWR0aAAAAADgrvI4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CQ29sdW1uU3VtUG9zaXRpb24ADAAAAERlZmF1bHREb2NrAAhEZWxldGVkAAEDTnVtYmVyRm9ybWF0AB8AAAAFX2lkABAAAAAEAAAAAAAAAAAAAAAAAAAAAAADVGV4dEZvcm1hdA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Jc05ldwABAUZvbnRTaXplAAAAAAAAACRAAAM4AN4JAAAFX2lkABAAAAAEguQJvCq5ukC/pfrYXuUcBgJfdHlwZQBXAAAAZW1wb3dlci5DaGFydHMuRGF0YS5EYXRhQ2hhcnRzLk92ZXJsYXlzlgAAAAWVAAAAlwAAAOcPAAAAAAAAAAAAAC5EYXRhLkNvbHVtblN1bU92ZXJsYXlEYXRhLCBlbXBvd2VyLkNoYXJ0cy5EYXRhABBDb2x1bW4ACQAAABBTZXJpZXMA/////wNUZXh0RWxlbWVudADrBgAAAkF1dG9TaGFwZVR5cGUACgAAAFJlY3RhbmdsZQAEQWRqdXN0bWVudHMABQAAAAAFTWFuYWdlZElkABAAAAAENBMi6b1QeEGqHTvMCqh0kQ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Z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INfDKkABV2lkdGgAAAAA4K7yOE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kNvbHVtblN1bVBvc2l0aW9uAAwAAABEZWZhdWx0RG9jawAIRGVsZXRlZAABA051bWJlckZvcm1hdAAfAAAABV9pZAAQAAAABAAAAAAAAAAAAAAAAAAAAAAAA1RleHRGb3JtYXQ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SXNOZXcAAQFGb250U2l6ZQAAAAAAAAAkQAADOQDeCQAABV9pZAAQAAAABMNO4+8tWkpHj5FrJaUH6UACX3R5cGUAVwAAAGVtcG93ZXIuQ2hhcnRzLkRhdGEuRGF0YUNoYXJ0cy5PdmVybGF5cy5EYXRhLkNvbHVtblN1bU92ZXJsYXlEYXRhLCBlbXBvd2VyLkNoYXJ0cy5EYXRhABBDb2x1bW4ACgAAABBTZXJpZXMA/////wNUZXh0RWxlbWVudADrBgAAAkF1dG9TaGFwZVR5cGUACgAAAFJlY3RhbmdsZQAEQWRqdXN0bWVudHMABQAAAAAFTWFuYWdlZElkABAAAAAElduWodKagUiFJF6nVHqq3Q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Z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INfDKkABV2lkdGgAAAAA4K7yOE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pcAAAAFlgAAAP////+9AyoMAAAAAAAAAAB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JDb2x1bW5TdW1Qb3NpdGlvbgAMAAAARGVmYXVsdERvY2sACERlbGV0ZWQAAQNOdW1iZXJGb3JtYXQAHwAAAAVfaWQAEAAAAAQAAAAAAAAAAAAAAAAAAAAAAANUZXh0Rm9ybWF0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lzTmV3AAEBRm9udFNpemUAAAAAAAAAJEAAAAJOYW1lAAkAAABPdmVybGF5cwAQVmVyc2lvbgAIAAAACUxhc3RXcml0ZQAU7pE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YAAAAAJ0AAABq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QAAAACaAAAAng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oAAAAAmwAAAJk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bAAAAAJwAAACa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AAAAACjAAAAmw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0AAAAAogAAAJg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eAAAAAJkAAACR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wAAAAUJAAAAoAAAAOcPAAAAAAAAAAAAAHVtblN1bVBvc2l0aW9uAAwAAABEZWZhdWx0RG9jawAIQWRkUHJlZml4U3BhY2UAAAhBZGRQb3N0Zml4U3BhY2UAAAhEZWxldGVkAAEISXNOZXcAAQFGb250U2l6ZQAAAAAAAAAkQAADNgD7BwAABV9pZAAQAAAABJzTzTIdlXxPow4OKoF9HhICX3R5cGUAVwAAAGVtcG93ZXIuQ2hhcnRzLkRhdGEuRGF0YUNoYXJ0cy5PdmVybGF5cy5EYXRhLkNvbHVtblN1bU92ZXJsYXlEYXRhLCBlbXBvd2VyLkNoYXJ0cy5EYXRhABBDb2x1bW4ABwAAABBTZXJpZXMA/////wNUZXh0RWxlbWVudADrBgAAAkF1dG9TaGFwZVR5cGUACgAAAFJlY3RhbmdsZQAEQWRqdXN0bWVudHMABQAAAAAFTWFuYWdlZElkABAAAAAE08vaXAZhJk6fJkjmllSUmQ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Z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INfDKkABV2lkdGgAAAAA4K7yOE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kNvbHVtblN1bVBvc2l0aW9uAAwAAABEZWZhdWx0RG9jawAIQWRkUHJlZml4U3BhY2UAAAhBZGRQb3N0Zml4U3BhY2UAAAhEZWxldGVkAAEISXNOZXcAAQFGb250U2l6ZQAAAAAAAAAkQAADNwD7BwAABV9pZAAQAAAABDSeoqqRg/lNsQHMxelwSmUCX3R5cGUAVwAAAGVtcG93ZXIuQ2hhcnRzLkRhdGEuRGF0YUNoYXJ0cy5PdmVybGF5cy5EYXRhLkNvbHVtblN1bU92ZXJsYXlEYXRhLCBlbXBvd2VyLkNoYXJ0cy5EYXRhABBDb2x1bW4ACAAAABBTZXJpZXMA/////wNUZXh0RWxlbWVudADrBgAAAkF1dG9TaGFwZVR5cGUACgAAAFJlY3RhbmdsZQAEQWRqdXN0bWVudHMABQAAAAAFTWFuYWdlZElkABAAAAAEmZesDmrNoEq/Sco/XMdFYw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Z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INfDKkABV2lkdGgAAAAA4K7yOE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qAAAAAFnwAAAKEAAADnDwAAAAAAAAAAAABnSGVpZ2h0AAAAAKDp4ihAAAJDb2x1bW5TdW1Qb3NpdGlvbgAMAAAARGVmYXVsdERvY2sACEFkZFByZWZpeFNwYWNlAAAIQWRkUG9zdGZpeFNwYWNlAAAIRGVsZXRlZAABCElzTmV3AAEBRm9udFNpemUAAAAAAAAAJEAAAzgA+wcAAAVfaWQAEAAAAASC5Am8Krm6QL+l+the5RwGAl90eXBlAFcAAABlbXBvd2VyLkNoYXJ0cy5EYXRhLkRhdGFDaGFydHMuT3ZlcmxheXMuRGF0YS5Db2x1bW5TdW1PdmVybGF5RGF0YSwgZW1wb3dlci5DaGFydHMuRGF0YQAQQ29sdW1uAAkAAAAQU2VyaWVzAP////8DVGV4dEVsZW1lbnQA6wYAAAJBdXRvU2hhcGVUeXBlAAoAAABSZWN0YW5nbGUABEFkanVzdG1lbnRzAAUAAAAABU1hbmFnZWRJZAAQAAAABDQTIum9UHhBqh07zAqodJE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m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CDXwypAAVdpZHRoAAAAAOCu8jh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JDb2x1bW5TdW1Qb3NpdGlvbgAMAAAARGVmYXVsdERvY2sACEFkZFByZWZpeFNwYWNlAAAIQWRkUG9zdGZpeFNwYWNlAAAIRGVsZXRlZAABCElzTmV3AAEBRm9udFNpemUAAAAAAAAAJEAAAzkA+wcAAAVfaWQAEAAAAATDTuPvLVpKR4+RayWlB+lAAl90eXBlAFcAAABlbXBvd2VyLkNoYXJ0cy5EYXRhLkRhdGFDaGFydHMuT3ZlcmxheXMuRGF0YS5Db2x1bW5TdW1PdmVybGF5RGF0YSwgZW1wb3dlci5DaGFydHMuRGF0YQAQQ29sdW1uAAoAAAAQU2VyaWVzAP////8DVGV4dEVsZW1lbnQA6wYAAAJBdXRvU2hhcGVUeXBlAAoAAABSZWN0YW5nbGUABEFkanVzdG1lbnRzAAUAAAAABU1hbmFnZWRJZAAQAAAABJXblqHSmoFIhSRep1R6qt0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m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CDXwypAAVdpZHRoAAAAAOCu8jh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mhAAAABaAAAAD/////xgAhDwAAAAAAAAAAbgAAAAAAAAAAAAFQb3NpdGlvbmluZ0hlaWdodAAAAACg6eIoQAACQ29sdW1uU3VtUG9zaXRpb24ADAAAAERlZmF1bHREb2NrAAhBZGRQcmVmaXhTcGFjZQAACEFkZFBvc3RmaXhTcGFjZQAACERlbGV0ZWQAAQhJc05ldwABAUZvbnRTaXplAAAAAAAAACRAAAACTmFtZQAJAAAAT3ZlcmxheXMAEFZlcnNpb24ABwAAAAlMYXN0V3JpdGUAE+6R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ogAAAACvAAAAnQ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MAAAAApAAAAJw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kAAAAAKUAAACj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pQAAAACmAAAApA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YAAAAAvgAAAKU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nAAAABRYAAACoAAAA5w8AAAAAAAAAAA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IQAFUb3AAAAAAIJYqZkABTGVmdAAAAACgkQpo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CWKwVxQAFZAAAAAA3LpGVAAAhIYXNMZWFkZXJMaW5lAAAISXNDZW50ZXJBdXRvbWF0aWNBZGp1c3RlZAAACElzVXNlclBvc2l0aW9uAAAIQWRkUHJlZml4U3BhY2UAAAhBZGRQb3N0Zml4U3BhY2UAAAJTZXBhcmF0b3IAAgAAAAoAAlRleHQABAAAADM0JQAIUmVxdWlyZVJlbGF0aXZlUG9zaXRpb25VcGdyYWRlAAAISXNHZW9tZXRyeU91dE9mQm91bmRzAAAISXNMZWFkZXJMaW5lSW5BdXRvTW9kZQABCERlbGV0ZWQAAAADNgAsFgAAEFBvaW50SW5kZXgABwAAAAJBbGlnbm1lbnQABwAAAENlbnRlcgAQU2VyaWVzSW5kZXgAAQAAAAhSZXF1aXJlRm9udENvbG9yTWlncmF0aW9uAAAITWFudWFsRGF0YUxhYmVsQmFja2dyb3VuZFZpc2libGUAAQhIYXNXaXNoQ29sb3IAAANUZXh0Qm94ALoGAAAFTWFuYWdlZElkABAAAAAEL9oRc9dngUa0Mn2FJWb6LQ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QAAAAyMSUAAlRleHRIb3Jpem9udGFsQWxpZ25tZW50AA4AAABtc29BbmNob3JOb25l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kAIRm9udFN0cmlrZXRocm91Z2gAAAhGb250U3Vic2NyaXB0AAAIRm9udFN1cGVyc2NyaXB0AAAIRm9udFVuZGVybGluZQAAAAhTaXplVG9UZXh0V2lkdGgAAQhTaXplVG9UZXh0SGVpZ2h0AAEDVGV4dE1hcmdpbgA/AAAAAUxlZnQAAAAAwFqt9j8BVG9wAAAAAKBIJOI/AVJpZ2h0AAAAAMBarfY/AUJvdHRvbQAAAACgSCTiPwACRGlzcGxheVRleHQABAAAADIxJQABSGVpZ2h0AAAAACBgCC1AAVdpZHRoAAAAAMCu8jhAAVRvcAAAAADAJtNoQAFMZWZ0AAAAACA0IG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NMZWFkZXJMaW5lAOEGAAADU3RhcnQAGwAAAAFYAAAAADEsNYBAAVkAAAAAgORSaEAAA0VuZAAbAAAAAVgAAAAAMSw1gEABWQAAAADqf3VjQAACU3RhcnRBcnJvd0hlYWQAEQAAAG1zb0Fycm93aGVhZE5vbmUAAkVuZEFycm93SGVhZAARAAAAbXNvQXJyb3doZWFkTm9uZQAFTWFuYWdlZElkABAAAAAEVTT4HZrg0E62fgvxj6vrV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qAAAAAWnAAAAqQAAAOcPAAAAAAAAAAAAA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gknVDQAFXaWR0aAAAAAAAAAAAAAFUb3AAAAAA4H91Y0ABTGVmdAAAAABALDWAQAhGbGlwSG9yaXpvbnRhbGx5AAAIRmxpcEhvcml6b250YWxseUFwcGxpZWQAAAhGbGlwVmVydGljYWxseQAB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MSw1gEABWQAAAADqfxVjQAADRW5kABsAAAABWAAAAAAxLDWAQAFZAAAAAOp/dWNAAAJTdGFydEFycm93SGVhZAARAAAAbXNvQXJyb3doZWFkTm9uZQACRW5kQXJyb3dIZWFkABEAAABtc29BcnJvd2hlYWROb25lAAVNYW5hZ2VkSWQAEAAAAASQGi5+rvGUS41EJOpeqHBq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CEABV2lkdGgAAAAAAAAAAAABVG9wAAAAAOB/FWNAAUxlZnQAAAAAQCw1gE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DF+vbkABWQAAAAANPpppQAAISGFzTGVhZGVyTGluZQAACElzQ2VudGVyQXV0b21hdGljQWRqdXN0ZWQAAAhJc1VzZXJQb3NpdGlvbgAACEFkZFByZWZpeFNwYWNlAAAIQWRkUG9zdGZpeFNwYWNlAAACU2VwYXJhdG9yAAIAAAAKAAJUZXh0AAQAAAAyMSUACFJlcXVpcmVSZWxhdGl2ZVBvc2l0aW9uVXBncmFkZQAACElzR2VvbWV0cnlPdXRPZkJvdW5kcwAACElzTGVhZGVyTGluZUluQXV0b01vZGUAAQhEZWxldGVkAAAAAzcALBYAABBQb2ludEluZGV4AAgAAAACQWxpZ25tZW50AAcAAABDZW50ZXIAEFNlcmllc0luZGV4AAEAAAAIUmVxdWlyZUZvbnRDb2xvck1pZ3JhdGlvbgAACE1hbnVhbERhdGFMYWJlbEJhY2tncm91bmRWaXNpYmxlAAEISGFzV2lzaENvbG9yAAADVGV4dEJveAC6BgAABU1hbmFnZWRJZAAQAAAABFTGTE0BMIFCslo6B9SDcN4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MTUlAAJUZXh0SG9yaXpvbnRhbEFsaWdubWVudAAOAAAAbXNvQW5jaG9yTm9uZQACUGFyYWdyYXBoQWxpZ25tZW50AA8AAABtc29BbGlnbkNlbnRlcgACVGV4dFZlcnRpY2FsQWxpZ25tZW50ABAAAABtc29BbmNob3JNaWRkbGUAA0ZvbnRTdHlsZQBBAQAAEEZvbnRCYWNrZ3JvdW5kAAAAAAAIRm9udEJvbGQAAANGb250Q29sb3IAVQAAABBBAP8AAAAQUgD/AAAAEEcA/wAAABBCAP8AAAABU2NBAAAAAAAAAPA/AVNjUqkAAAAFqAAAAKoAAADnDwAAAAAAAAAAAAAAAAAAAAAA8D8BU2NHAAAAAAAAAPA/AVNjQgAAAAAAAADwPwAQRm9udFRoZW1lQ29sb3IAAAAAAAFGb250VGludEFuZFNoYWRlAAAAAAAAAAAAEEZvbnRTY2hlbWVDb2xvcgABAAAACEZvbnRJdGFsaWMAAAJGb250TmFtZQAHAAAAK21uLWx0AAFGb250U2l6ZQAAAAAAAAAmQAhGb250U3RyaWtldGhyb3VnaAAACEZvbnRTdWJzY3JpcHQAAAhGb250U3VwZXJzY3JpcHQAAAhGb250VW5kZXJsaW5lAAAACFNpemVUb1RleHRXaWR0aAABCFNpemVUb1RleHRIZWlnaHQAAQNUZXh0TWFyZ2luAD8AAAABTGVmdAAAAADAWq32PwFUb3AAAAAAoEgk4j8BUmlnaHQAAAAAwFqt9j8BQm90dG9tAAAAAKBIJOI/AAJEaXNwbGF5VGV4dAAEAAAAMTUlAAFIZWlnaHQAAAAAIGAILUABV2lkdGgAAAAAwK7yOEABVG9wAAAAAECZyGxAAUxlZnQAAAAAID+la0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0xlYWRlckxpbmUA4QYAAANTdGFydAAbAAAAAVgAAAAAcQ4PgEABWQAAAADA6zxsQAADRW5kABsAAAABWAAAAABxDg+AQAFZAAAAALTwFl9AAAJTdGFydEFycm93SGVhZAARAAAAbXNvQXJyb3doZWFkTm9uZQACRW5kQXJyb3dIZWFkABEAAABtc29BcnJvd2hlYWROb25lAAVNYW5hZ2VkSWQAEAAAAASBfkvGERpHQJC/u52ECXtm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OZiWUABV2lkdGgAAAAAAAAAAAABVG9wAAAAAMDwFl9AAUxlZnQAAAAAgA4PgEAIRmxpcEhvcml6b250YWxseQAACEZsaXBIb3Jpem9udGFsbHlBcHBsaWVkAAAIRmxpcFZlcnRpY2FsbHkAAQ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HEOD4BAAVkAAAAAtPBWXkAAA0VuZAAbAAAAAVgAAAAAcQ4PgEABWQAAAAC08BZfQAACU3RhcnRBcnJvd0hlYWQAEQAAAG1zb0Fycm93aGVhZE5vbmUAAkVuZEFycm93SGVhZAARAAAAbXNvQXJyb3doZWFkTm9uZQAFTWFuYWdlZElkABAAAAAESW/zzihwiki9cUsLN0psZA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hAAVdpZHRoAAAAAAAAAAAAAVRvcAAAAADA8FZeQAFMZWZ0AAAAAIAOD4BACEZsaXBIb3Jpem9udGFsbHkAAAhGbGlwSG9yaXpvbnRhbGx5QXBwbGllZAAACEZsaXBWZXJ0aWNhbGx5AAAIRmxpcFZlcnRpY2GqAAAABakAAACrAAAA5w8AAAAAAAAAAAAA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AMajRtQAFZAAAAAI2wj21AAAhIYXNMZWFkZXJMaW5lAAAISXNDZW50ZXJBdXRvbWF0aWNBZGp1c3RlZAAACElzVXNlclBvc2l0aW9uAAAIQWRkUHJlZml4U3BhY2UAAAhBZGRQb3N0Zml4U3BhY2UAAAJTZXBhcmF0b3IAAgAAAAoAAlRleHQABAAAADE1JQAIUmVxdWlyZVJlbGF0aXZlUG9zaXRpb25VcGdyYWRlAAAISXNHZW9tZXRyeU91dE9mQm91bmRzAAAISXNMZWFkZXJMaW5lSW5BdXRvTW9kZQABCERlbGV0ZWQAAAADOAApFgAAEFBvaW50SW5kZXgACQAAAAJBbGlnbm1lbnQABwAAAENlbnRlcgAQU2VyaWVzSW5kZXgAAQAAAAhSZXF1aXJlRm9udENvbG9yTWlncmF0aW9uAAAITWFudWFsRGF0YUxhYmVsQmFja2dyb3VuZFZpc2libGUAAQhIYXNXaXNoQ29sb3IAAANUZXh0Qm94ALgGAAAFTWFuYWdlZElkABAAAAAEZKsgWa3EvkWujIey8T7C1A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5JQACVGV4dEhvcml6b250YWxBbGlnbm1lbnQADgAAAG1zb0FuY2hvck5vbmU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mQAhGb250U3RyaWtldGhyb3VnaAAACEZvbnRTdWJzY3JpcHQAAAhGb250U3VwZXJzY3JpcHQAAAhGb250VW5kZXJsaW5lAAAACFNpemVUb1RleHRXaWR0aAABCFNpemVUb1RleHRIZWlnaHQAAQNUZXh0TWFyZ2luAD8AAAABTGVmdAAAAADAWq32PwFUb3AAAAAAoEgk4j8BUmlnaHQAAAAAwFqt9j8BQm90dG9tAAAAAKBIJOI/AAJEaXNwbGF5VGV4dAADAAAAOSUAAUhlaWdodAAAAAAgYAgtQAFXaWR0aAAAAADg0NQyQAFUb3AAAAAA4AVfcEABTGVmdAAAAACga6Vq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DTGVhZGVyTGluZQDhBgAAA1N0YXJ0ABsAAAABWAAAAABivWV1QAFZAAAAAIB5E3BAAANFbmQAGwAAAAFYAAAAAGK9ZXVAAVkAAAAANOJCV0AAAlN0YXJ0QXJyb3dIZWFkABEAAABtc29BcnJvd2hlYWROb25lAAJFbmRBcnJvd0hlYWQAEQAAAG1zb0Fycm93aGVhZE5vbmUABU1hbmFnZWRJZAAQAAAABPrYQU3Kw9JNnYpY7dexrMg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gYVkQAFXaWR0aAAAAAAAAAAAAAFUb3AAAAAAQOJCV0ABTGVmdAAAAABgvWV1QAhGbGlwSG9yaXpvbnRhbGx5AAAIRmxpcEhvcml6b250YWxseUFwcGxpZWQAAAhGbGlwVmVydGljYWxseQABCEZsaXBWZXJ0aWNhbGx5QXBwbGllZAAAAVJvdGF0aW9uAAAAAAAAAAAAAVpPcmRlcgAAAAAAAAAAAANCb3JkZXJDb2xvcgBVAAAAEEEA/wAAABBSAAAAAAAQRwAAAAAAEEIAAAAAAAFTY0EAAAAAAAAA8D8BU2NSAAAAAAAAAAAAAVNjRwAAAAAAAAAAAAFTY0IAAAAAAAAAAAAAEEJvcmRlclRoZW1lQ29sb3IAAAAAAAFCb3JkZXJUqwAAAAWqAAAArAAAAOcPAAAAAAAAAAAAA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GK9ZXVAAVkAAAAANOKCVkAAA0VuZAAbAAAAAVgAAAAAYr1ldUABWQAAAAA04kJXQAACU3RhcnRBcnJvd0hlYWQAEQAAAG1zb0Fycm93aGVhZE5vbmUAAkVuZEFycm93SGVhZAARAAAAbXNvQXJyb3doZWFkTm9uZQAFTWFuYWdlZElkABAAAAAEfY0Fhgj9OE29FGwRHHLdLg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hAAVdpZHRoAAAAAAAAAAAAAVRvcAAAAABA4oJWQAFMZWZ0AAAAAGC9ZXV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K640mtAAVkAAACAhpHCcEAACEhhc0xlYWRlckxpbmUAAAhJc0NlbnRlckF1dG9tYXRpY0FkanVzdGVkAAAISXNVc2VyUG9zaXRpb24AAAhBZGRQcmVmaXhTcGFjZQAACEFkZFBvc3RmaXhTcGFjZQAAAlNlcGFyYXRvcgACAAAACgACVGV4dAADAAAAOSUACFJlcXVpcmVSZWxhdGl2ZVBvc2l0aW9uVXBncmFkZQAACElzR2VvbWV0cnlPdXRPZkJvdW5kcwAACElzTGVhZGVyTGluZUluQXV0b01vZGUAAQhEZWxldGVkAAAAAzkAKRYAABBQb2ludEluZGV4AAoAAAACQWxpZ25tZW50AAcAAABDZW50ZXIAEFNlcmllc0luZGV4AAEAAAAIUmVxdWlyZUZvbnRDb2xvck1pZ3JhdGlvbgAACE1hbnVhbERhdGFMYWJlbEJhY2tncm91bmRWaXNpYmxlAAEISGFzV2lzaENvbG9yAAADVGV4dEJveAC4BgAABU1hbmFnZWRJZAAQAAAABIIqu7fc569HpB1MunHSLtE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DAAAAOCUAAlRleHRIb3Jpem9udGFsQWxpZ25tZW50AA4AAABtc29BbmNob3JOb25l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kAIRm9udFN0cmlrZXRocm91Z2gAAAhGb250U3Vic2NyaXB0AAAIRm9udFN1cGVyc2NyaXB0AAAIRm9udFVuZGVybGluZQAAAAhTaXplVG9UZXh0V2lkdGgAAQhTaXplVG9UZXh0SGVpZ2h0AAEDVGV4dE1hcmdpbgA/AAAAAUxlZnQAAAAAwFqt9j8BVG9wAAAAAKBIJOI/AVJpZ2h0AAAAAMBarfY/AUJvdHRvbQAAAACgSCTiPwACRGlzcGxheVRleHQAAwAAADglAAFIZWlnaHQAAAAAIGAILUABV2lkdGgAAAAA4NDUMkABVG9wAAAAAGC/WXJAAUxlZnQAAAAAoF1Aak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KwAAAAFqwAAAK0AAADnDwAAAAAAAAAAAAAACExpbmVSdWxlQmVmb3JlAAAITGluZVJ1bGVXaXRoaW4AAAFSaWdodEluZGVudAAAAAAAAAAAAAFTcGFjZUFmdGVyAAAAAAAAAAAAAVNwYWNlQmVmb3JlAAAAAAAAAAAAAVNwYWNlV2l0aGluAAAAAAAAAAAAAVBvc2l0aW9uaW5nSGVpZ2h0AAAAAKDp4ihAAANMZWFkZXJMaW5lAOEGAAADU3RhcnQAGwAAAAFYAAAAAAHhA3NAAVkAAAAAIH0IckAAA0VuZAAbAAAAAVgAAAAAAeEDc0ABWQAAAACor5pFQAACU3RhcnRBcnJvd0hlYWQAEQAAAG1zb0Fycm93aGVhZE5vbmUAAkVuZEFycm93SGVhZAARAAAAbXNvQXJyb3doZWFkTm9uZQAFTWFuYWdlZElkABAAAAAEIUt+1qmV7Um5NHTv2iaOPw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GBOqm5AAVdpZHRoAAAAAAAAAAAAAVRvcAAAAACgr5pFQAFMZWZ0AAAAAADhA3NACEZsaXBIb3Jpem9udGFsbHkAAAhGbGlwSG9yaXpvbnRhbGx5QXBwbGllZAAACEZsaXBWZXJ0aWNhbGx5AAE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B4QNzQAFZAAAAAKivGkRAAANFbmQAGwAAAAFYAAAAAAHhA3NAAVkAAAAAqK+aRUAAAlN0YXJ0QXJyb3dIZWFkABEAAABtc29BcnJvd2hlYWROb25lAAJFbmRBcnJvd0hlYWQAEQAAAG1zb0Fycm93aGVhZE5vbmUABU1hbmFnZWRJZAAQAAAABGUbf3/dwNNKusWoxl20TKE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oK8aREABTGVmdAAAAAAA4QNz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Cuqm1rQAFZAAAAgAZLvXJAAAhIYXNMZWFkZXJMaW5lAAAISXNDZW50ZXJBdXRvbWF0aWNBZGp1c3RlZAAACElzVXNlclBvc2l0aW9uAAAIQWRkUHJlZml4U3BhY2UAAAhBZGRQb3N0Zml4U3BhY2UAAAJTZXBhcmF0b3IAAgAAAAoAAlRleHQAAwAAADglAAhSZXF1aXJlUmVsYXRpdmVQb3NpdGlvblVwZ3JhZGUAAAhJc0dlb21ldHJ5T3V0T2ZCb3VuZHMAAAhJc0xlYWRlckxpbmVJbkF1dG9Nb2RlAAEIRGVsZXRlZAAAAAADVGV4dERlZmluaXRpb24AzQEAAANSb290RWxlbWVudAC7AQAAAl90eXBlAIUAAABtaW8uQ29tbW9uLlBvd2VyUG9pbnQuTWFuYWdlZC5EYXRhLkRhdGFDaGFydHMuRGF0YUxhYmVscy5EYXRhLkJ1aWxkZXKtAAAABawAAAD/////JATDCwAAAAAAAAAA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xhYmVsc1Zpc2libGUAAQhBdXRvbWF0aWNMYWJlbEJhY2tncm91bmRzRW5hYmxlZAABAANTZWNvbmRhcnkAJgIAAAREYXRhTGFiZWxzAAU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xhYmVsc1Zpc2libGUAAAhBdXRvbWF0aWNMYWJlbEJhY2tncm91bmRzRW5hYmxlZAAAAAAIRGlzYWJsZUF1dG9tYXRpY0RlYWN0aXZhdGlvbgAAAAJOYW1lAAsAAABEYXRhTGFiZWxzABBWZXJzaW9uAAgAAAAJTGFzdFdyaXRlABDFlT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gAAAADuAAAAWQ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8AAAAAsAAAAKI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wAAAAALEAAACv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sQAAAACyAAAAsA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IAAAAAswAAALE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zAAAAALQAAACy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tAAAAAC1AAAAsw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UAAAAAtgAAALQ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2AAAAALcAAAC1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twAAAAC4AAAAtg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gAAAAAuQAAALc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5AAAAALoAAAC4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ugAAAAC7AAAAuQ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sAAAAAvAAAALo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8AAAAAL0AAAC7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vQAAAADiAAAAvA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4AAAAAvwAAAKY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MAAAAC+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AAAAADBAAAAvw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EAAAAAwgAAAMA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CAAAAAMMAAADB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wAAAADEAAAAwg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QAAAAAxQAAAMM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FAAAAAMYAAADE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xgAAAADHAAAAxQ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cAAAAAyAAAAMY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IAAAAAMkAAADH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yQAAAADKAAAAyA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oAAAAAywAAAMk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LAAAAAMwAAADK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zAAAAADNAAAAyw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0AAAAAzgAAAMw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OAAAAAM8AAADN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zwAAAADQAAAAzg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AAAAAA0QAAAM8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RAAAAANIAAADQ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0gAAAADTAAAA0Q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MAAAAA1AAAANI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UAAAAANUAAADT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1QAAAADWAAAA1A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YAAAAA1wAAANU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XAAAAANgAAADW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2AAAAADZAAAA1w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kAAAAA2gAAANg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aAAAAANsAAADZ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2wAAAADcAAAA2g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wAAAAA3QAAANs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dAAAAAN4AAADc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3gAAAADfAAAA3Q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8AAAAA4AAAAN4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gAAAAAOEAAADf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4QAAAADjAAAA4A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OIAAAAA7wAAAL0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jAAAAAP4AAADh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5AAAAAUdAAAA5QAAAOcPAAAAAAAAAAAAAGFjZVdpdGhpbgAAAAAAAAAAAAFQb3NpdGlvbmluZ0hlaWdodAAAAACg6eIoQAACQ29sdW1uU3VtUG9zaXRpb24ADAAAAERlZmF1bHREb2NrAAhEZWxldGVkAAEDTnVtYmVyRm9ybWF0AB8AAAAFX2lkABAAAAAEAAAAAAAAAAAAAAAAAAAAAAAISXNOZXcAAQFGb250U2l6ZQAAAAAAAAAkQAADNgAFCAAABV9pZAAQAAAABJzTzTIdlXxPow4OKoF9HhICX3R5cGUAVwAAAGVtcG93ZXIuQ2hhcnRzLkRhdGEuRGF0YUNoYXJ0cy5PdmVybGF5cy5EYXRhLkNvbHVtblN1bU92ZXJsYXlEYXRhLCBlbXBvd2VyLkNoYXJ0cy5EYXRhABBDb2x1bW4ABwAAABBTZXJpZXMA/////wNUZXh0RWxlbWVudADrBgAAAkF1dG9TaGFwZVR5cGUACgAAAFJlY3RhbmdsZQAEQWRqdXN0bWVudHMABQAAAAAFTWFuYWdlZElkABAAAAAE08vaXAZhJk6fJkjmllSUmQ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Z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INfDKkABV2lkdGgAAAAA4K7yOE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kNvbHVtblN1bVBvc2l0aW9uAAwAAABEZWZhdWx0RG9jawAIRGVsZXRlZAABA051bWJlckZvcm1hdAAfAAAABV9pZAAQAAAABAAAAAAAAAAAAAAAAAAAAAAACElzTmV3AAEBRm9udFNpemUAAAAAAAAAJEAAAzcABQgAAAVfaWQAEAAAAAQ0nqKqkYP5TbEBzMXpcEplAl90eXBlAFcAAABlbXBvd2VyLkNoYXJ0cy5EYXRhLkRhdGFDaGFydHMuT3ZlcmxheXMuRGF0YS5Db2x1bW5TdW1PdmVybGF5RGF0YSwgZW1wb3dlci5DaGFydHMuRGF0YQAQQ29sdW1uAAgAAAAQU2VyaWVzAP////8DVGV4dEVsZW1lbnQA6wYAAAJBdXRvU2hhcGVUeXBlAAoAAABSZWN0YW5nbGUABEFkanVzdG1lbnRzAAUAAAAABU1hbmFnZWRJZAAQAAAABJmXrA5qzaBKv0nKP1zHRWM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m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CDXwypAAVdpZHRoAAAAAOCu8jh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OUAAAAF5AAAAOYAAADnDwAAAAAAAAAAAABhY2VBZnRlcgAAAAAAAAAAAAFTcGFjZUJlZm9yZQAAAAAAAAAAAAFTcGFjZVdpdGhpbgAAAAAAAAAAAAFQb3NpdGlvbmluZ0hlaWdodAAAAACg6eIoQAACQ29sdW1uU3VtUG9zaXRpb24ADAAAAERlZmF1bHREb2NrAAhEZWxldGVkAAEDTnVtYmVyRm9ybWF0AB8AAAAFX2lkABAAAAAEAAAAAAAAAAAAAAAAAAAAAAAISXNOZXcAAQFGb250U2l6ZQAAAAAAAAAkQAADOAAFCAAABV9pZAAQAAAABILkCbwqubpAv6X62F7lHAYCX3R5cGUAVwAAAGVtcG93ZXIuQ2hhcnRzLkRhdGEuRGF0YUNoYXJ0cy5PdmVybGF5cy5EYXRhLkNvbHVtblN1bU92ZXJsYXlEYXRhLCBlbXBvd2VyLkNoYXJ0cy5EYXRhABBDb2x1bW4ACQAAABBTZXJpZXMA/////wNUZXh0RWxlbWVudADrBgAAAkF1dG9TaGFwZVR5cGUACgAAAFJlY3RhbmdsZQAEQWRqdXN0bWVudHMABQAAAAAFTWFuYWdlZElkABAAAAAENBMi6b1QeEGqHTvMCqh0kQ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wAAABBSAP8AAAAQRwD/AAAAEEIA/wAAAAFTY0EAAAAAAAAA8D8BU2NSAAAAAAAAAPA/AVNjRwAAAAAAAADwPwFTY0IAAAAAAAAA8D8AEFBhdHRlcm5UaGVtZUNvbG9yAAAAAAABUGF0dGVyblRpbnRBbmRTaGFkZQAAAAAAAAAAAAhGaWxsVmlzaWJsZQABCFZpc2libGUAAAJGaWxsUGF0dGVybgAQAAAAbXNvUGF0dGVybk1peGVkAAJUZXh0AAUAAAAtMjcyAAJUZXh0SG9yaXpvbnRhbEFsaWdubWVudAAOAAAAbXNvQW5jaG9yTm9uZQ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ZACEZvbnRTdHJpa2V0aHJvdWdoAAAIRm9udFN1YnNjcmlwdAAACEZvbnRTdXBlcnNjcmlwdAAACEZvbnRVbmRlcmxpbmUAAAAIU2l6ZVRvVGV4dFdpZHRoAAEIU2l6ZVRvVGV4dEhlaWdodAABA1RleHRNYXJnaW4APwAAAAFMZWZ0AAAAAAAAAAAAAVRvcAAAAAAAAAAAAAFSaWdodAAAAADAWq0GQAFCb3R0b20AAAAAAAAAAAAAAkRpc3BsYXlUZXh0AAUAAAAtMjcyAAFIZWlnaHQAAAAAINfDKkABV2lkdGgAAAAA4K7yOEABVG9wAAAAAOBx5HZAAUxlZnQAAAAAYA4mgkAIRmxpcEhvcml6b250YWxseQAACEZsaXBIb3Jpem9udGFsbHlBcHBsaWVkAAAIRmxpcFZlcnRpY2FsbHkAAAhGbGlwVmVydGljYWxseUFwcGxpZWQAAAFSb3RhdGlvbgAAAAAAAAAAAAFaT3JkZXIAAAAAAAAAAAADQm9yZGVyQ29sb3IAVQAAABBBAAAAAAAQUgD/AAAAEEcA/wAAABBCAP8AAAABU2NBAAAAAAAAAAAAAVNjUgAAAAAAAADwPwFTY0cAAAAAAAAA8D8BU2NCAAAAAAAAAP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kNvbHVtblN1bVBvc2l0aW9uAAwAAABEZWZhdWx0RG9jawAIRGVsZXRlZAABA051bWJlckZvcm1hdAAfAAAABV9pZAAQAAAABAAAAAAAAAAAAAAAAAAAAAAACElzTmV3AAEBRm9udFNpemUAAAAAAAAAJEAAAzkABQgAAAVfaWQAEAAAAATDTuPvLVpKR4+RayWlB+lAAl90eXBlAFcAAABlbXBvd2VyLkNoYXJ0cy5EYXRhLkRhdGFDaGFydHMuT3ZlcmxheXMuRGF0YS5Db2x1bW5TdW1PdmVybGF5RGF0YSwgZW1wb3dlci5DaGFydHMuRGF0YQAQQ29sdW1uAAoAAAAQU2VyaWVzAP////8DVGV4dEVsZW1lbnQA6wYAAAJBdXRvU2hhcGVUeXBlAAoAAABSZWN0YW5nbGUABEFkanVzdG1lbnRzAAUAAAAABU1hbmFnZWRJZAAQAAAABJXblqHSmoFIhSRep1R6qt0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m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CDXwypAAVdpZHRoAAAAAOCu8jh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DmAAAABeUAAAD/////KgG9DgAAAAAAAAAACExpbmVSdWxlV2l0aGluAAABUmlnaHRJbmRlbnQAAAAAAAAAAAABU3BhY2VBZnRlcgAAAAAAAAAAAAFTcGFjZUJlZm9yZQAAAAAAAAAAAAFTcGFjZVdpdGhpbgAAAAAAAAAAAAFQb3NpdGlvbmluZ0hlaWdodAAAAACg6eIoQAACQ29sdW1uU3VtUG9zaXRpb24ADAAAAERlZmF1bHREb2NrAAhEZWxldGVkAAEDTnVtYmVyRm9ybWF0AB8AAAAFX2lkABAAAAAEAAAAAAAAAAAAAAAAAAAAAAAISXNOZXcAAQFGb250U2l6ZQAAAAAAAAAkQAAAAk5hbWUACQAAAE92ZXJsYXlzABBWZXJzaW9uAAYAAAAJTGFzdFdyaXRlABPukT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5wAAAAUnAAAA6AAAAOcPAAAAAAAAAAA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CEABVG9wAAAAACCWKmZAAUxlZnQAAAAAoJEKaE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lisFcUABWQAAAAANy6RlQAAISGFzTGVhZGVyTGluZQAACElzQ2VudGVyQXV0b21hdGljQWRqdXN0ZWQAAAhJc1VzZXJQb3NpdGlvbgAACEFkZFByZWZpeFNwYWNlAAAIQWRkUG9zdGZpeFNwYWNlAAACU2VwYXJhdG9yAAIAAAAKAAJUZXh0AAQAAAAzNCUACFJlcXVpcmVSZWxhdGl2ZVBvc2l0aW9uVXBncmFkZQAACElzR2VvbWV0cnlPdXRPZkJvdW5kcwAACElzTGVhZGVyTGluZUluQXV0b01vZGUAAQhEZWxldGVkAAAAAzYALBYAABBQb2ludEluZGV4AAcAAAACQWxpZ25tZW50AAcAAABDZW50ZXIAEFNlcmllc0luZGV4AAEAAAAIUmVxdWlyZUZvbnRDb2xvck1pZ3JhdGlvbgAACE1hbnVhbERhdGFMYWJlbEJhY2tncm91bmRWaXNpYmxlAAEISGFzV2lzaENvbG9yAAADVGV4dEJveAC6BgAABU1hbmFnZWRJZAAQAAAABC/aEXPXZ4FGtDJ9hSVm+i0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EAAAAMjElAAJUZXh0SG9yaXpvbnRhbEFsaWdubWVudAAOAAAAbXNvQW5jaG9yTm9uZQ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ZACEZvbnRTdHJpa2V0aHJvdWdoAAAIRm9udFN1YnNjcmlwdAAACEZvbnRTdXBlcnNjcmlwdAAACEZvbnRVbmRlcmxpbmUAAAAIU2l6ZVRvVGV4dFdpZHRoAAEIU2l6ZVRvVGV4dEhlaWdodAABA1RleHRNYXJnaW4APwAAAAFMZWZ0AAAAAMBarfY/AVRvcAAAAACgSCTiPwFSaWdodAAAAADAWq32PwFCb3R0b20AAAAAoEgk4j8AAkRpc3BsYXlUZXh0AAQAAAAyMSUAAUhlaWdodAAAAAAgYAgtQAFXaWR0aAAAAADArvI4QAFUb3AAAAAAwCbTaEABTGVmdAAAAAAgNCBt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DTGVhZGVyTGluZQDhBgAAA1N0YXJ0ABsAAAABWAAAAAAxLDWAQAFZAAAAAIDkUmhAAANFbmQAGwAAAAFYAAAAADEsNYBAAVkAAAAA6n91Y0AAAlN0YXJ0QXJyb3dIZWFkABEAAABtc29BcnJvd2hlYWROb25lAAJFbmRBcnJvd0hlYWQAEQAAAG1zb0Fycm93aGVhZE5vbmUABU1hbmFnZWRJZAAQAAAABFU0+B2a4NBOtn4L8Y+r61U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OgAAAAF5wAAAOkAAADnDwAAAAAAAAAAAA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YJJ1Q0ABV2lkdGgAAAAAAAAAAAABVG9wAAAAAOB/dWNAAUxlZnQAAAAAQCw1gEAIRmxpcEhvcml6b250YWxseQAACEZsaXBIb3Jpem9udGFsbHlBcHBsaWVkAAAIRmxpcFZlcnRpY2FsbHkAAQ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DEsNYBAAVkAAAAA6n8VY0AAA0VuZAAbAAAAAVgAAAAAMSw1gEABWQAAAADqf3VjQAACU3RhcnRBcnJvd0hlYWQAEQAAAG1zb0Fycm93aGVhZE5vbmUAAkVuZEFycm93SGVhZAARAAAAbXNvQXJyb3doZWFkTm9uZQAFTWFuYWdlZElkABAAAAAEkBoufq7xlEuNRCTqXqhwag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hAAVdpZHRoAAAAAAAAAAAAAVRvcAAAAADgfxVjQAFMZWZ0AAAAAEAsNYB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Axfr25AAVkAAAAADT6aaUAACEhhc0xlYWRlckxpbmUAAAhJc0NlbnRlckF1dG9tYXRpY0FkanVzdGVkAAAISXNVc2VyUG9zaXRpb24AAAhBZGRQcmVmaXhTcGFjZQAACEFkZFBvc3RmaXhTcGFjZQAAAlNlcGFyYXRvcgACAAAACgACVGV4dAAEAAAAMjElAAhSZXF1aXJlUmVsYXRpdmVQb3NpdGlvblVwZ3JhZGUAAAhJc0dlb21ldHJ5T3V0T2ZCb3VuZHMAAAhJc0xlYWRlckxpbmVJbkF1dG9Nb2RlAAEIRGVsZXRlZAAAAAM3ACwWAAAQUG9pbnRJbmRleAAIAAAAAkFsaWdubWVudAAHAAAAQ2VudGVyABBTZXJpZXNJbmRleAABAAAACFJlcXVpcmVGb250Q29sb3JNaWdyYXRpb24AAAhNYW51YWxEYXRhTGFiZWxCYWNrZ3JvdW5kVmlzaWJsZQABCEhhc1dpc2hDb2xvcgAAA1RleHRCb3gAugYAAAVNYW5hZ2VkSWQAEAAAAARUxkxNATCBQrJaOgfUg3De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AAAADE1JQACVGV4dEhvcml6b250YWxBbGlnbm1lbnQADgAAAG1zb0FuY2hvck5vbmUAAlBhcmFncmFwaEFsaWdubWVudAAPAAAAbXNvQWxpZ25DZW50ZXIAAlRleHRWZXJ0aWNhbEFsaWdubWVudAAQAAAAbXNvQW5jaG9yTWlkZGxlAANGb250U3R5bGUAQQEAABBGb250QmFja2dyb3VuZAAAAAAACEZvbnRCb2xkAAADRm9udENvbG9yAFUAAAAQQQD/AAAAEFIA/wAAABBHAP8AAAAQQgD/AAAAAVNjQQAAAAAAAADwPwFTY1LpAAAABegAAADqAAAA5w8AAAAAAAAAAAAAAAAAAAAAAPA/AVNjRwAAAAAAAADwPwFTY0IAAAAAAAAA8D8AEEZvbnRUaGVtZUNvbG9yAAAAAAABRm9udFRpbnRBbmRTaGFkZQAAAAAAAAAAABBGb250U2NoZW1lQ29sb3IAAQAAAAhGb250SXRhbGljAAACRm9udE5hbWUABwAAACttbi1sdAABRm9udFNpemUAAAAAAAAAJkAIRm9udFN0cmlrZXRocm91Z2gAAAhGb250U3Vic2NyaXB0AAAIRm9udFN1cGVyc2NyaXB0AAAIRm9udFVuZGVybGluZQAAAAhTaXplVG9UZXh0V2lkdGgAAQhTaXplVG9UZXh0SGVpZ2h0AAEDVGV4dE1hcmdpbgA/AAAAAUxlZnQAAAAAwFqt9j8BVG9wAAAAAKBIJOI/AVJpZ2h0AAAAAMBarfY/AUJvdHRvbQAAAACgSCTiPwACRGlzcGxheVRleHQABAAAADE1JQABSGVpZ2h0AAAAACBgCC1AAVdpZHRoAAAAAMCu8jhAAVRvcAAAAABAmchsQAFMZWZ0AAAAACA/pWt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NMZWFkZXJMaW5lAOEGAAADU3RhcnQAGwAAAAFYAAAAAHEOD4BAAVkAAAAAwOs8bEAAA0VuZAAbAAAAAVgAAAAAcQ4PgEABWQAAAAC08BZfQAACU3RhcnRBcnJvd0hlYWQAEQAAAG1zb0Fycm93aGVhZE5vbmUAAkVuZEFycm93SGVhZAARAAAAbXNvQXJyb3doZWFkTm9uZQAFTWFuYWdlZElkABAAAAAEgX5LxhEaR0CQv7udhAl7Zg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MDmYllAAVdpZHRoAAAAAAAAAAAAAVRvcAAAAADA8BZfQAFMZWZ0AAAAAIAOD4BACEZsaXBIb3Jpem9udGFsbHkAAAhGbGlwSG9yaXpvbnRhbGx5QXBwbGllZAAACEZsaXBWZXJ0aWNhbGx5AAE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BxDg+AQAFZAAAAALTwVl5AAANFbmQAGwAAAAFYAAAAAHEOD4BAAVkAAAAAtPAWX0AAAlN0YXJ0QXJyb3dIZWFkABEAAABtc29BcnJvd2hlYWROb25lAAJFbmRBcnJvd0hlYWQAEQAAAG1zb0Fycm93aGVhZE5vbmUABU1hbmFnZWRJZAAQAAAABElv884ocIpIvXFLCzdKbGQ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wPBWXkABTGVmdAAAAACADg+AQAhGbGlwSG9yaXpvbnRhbGx5AAAIRmxpcEhvcml6b250YWxseUFwcGxpZWQAAAhGbGlwVmVydGljYWxseQAACEZsaXBWZXJ0aWNh6gAAAAXpAAAA6wAAAOcPAAAAAAAAAAAAAG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DGo0bUABWQAAAACNsI9tQAAISGFzTGVhZGVyTGluZQAACElzQ2VudGVyQXV0b21hdGljQWRqdXN0ZWQAAAhJc1VzZXJQb3NpdGlvbgAACEFkZFByZWZpeFNwYWNlAAAIQWRkUG9zdGZpeFNwYWNlAAACU2VwYXJhdG9yAAIAAAAKAAJUZXh0AAQAAAAxNSUACFJlcXVpcmVSZWxhdGl2ZVBvc2l0aW9uVXBncmFkZQAACElzR2VvbWV0cnlPdXRPZkJvdW5kcwAACElzTGVhZGVyTGluZUluQXV0b01vZGUAAQhEZWxldGVkAAAAAzgAKRYAABBQb2ludEluZGV4AAkAAAACQWxpZ25tZW50AAcAAABDZW50ZXIAEFNlcmllc0luZGV4AAEAAAAIUmVxdWlyZUZvbnRDb2xvck1pZ3JhdGlvbgAACE1hbnVhbERhdGFMYWJlbEJhY2tncm91bmRWaXNpYmxlAAEISGFzV2lzaENvbG9yAAADVGV4dEJveAC4BgAABU1hbmFnZWRJZAAQAAAABGSrIFmtxL5FroyHsvE+wtQ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DAAAAOSUAAlRleHRIb3Jpem9udGFsQWxpZ25tZW50AA4AAABtc29BbmNob3JOb25l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kAIRm9udFN0cmlrZXRocm91Z2gAAAhGb250U3Vic2NyaXB0AAAIRm9udFN1cGVyc2NyaXB0AAAIRm9udFVuZGVybGluZQAAAAhTaXplVG9UZXh0V2lkdGgAAQhTaXplVG9UZXh0SGVpZ2h0AAEDVGV4dE1hcmdpbgA/AAAAAUxlZnQAAAAAwFqt9j8BVG9wAAAAAKBIJOI/AVJpZ2h0AAAAAMBarfY/AUJvdHRvbQAAAACgSCTiPwACRGlzcGxheVRleHQAAwAAADklAAFIZWlnaHQAAAAAIGAILUABV2lkdGgAAAAA4NDUMkABVG9wAAAAAOAFX3BAAUxlZnQAAAAAoGulak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0xlYWRlckxpbmUA4QYAAANTdGFydAAbAAAAAVgAAAAAYr1ldUABWQAAAACAeRNwQAADRW5kABsAAAABWAAAAABivWV1QAFZAAAAADTiQldAAAJTdGFydEFycm93SGVhZAARAAAAbXNvQXJyb3doZWFkTm9uZQACRW5kQXJyb3dIZWFkABEAAABtc29BcnJvd2hlYWROb25lAAVNYW5hZ2VkSWQAEAAAAAT62EFNysPSTZ2KWO3XsazI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IGFZEABV2lkdGgAAAAAAAAAAAABVG9wAAAAAEDiQldAAUxlZnQAAAAAYL1ldUAIRmxpcEhvcml6b250YWxseQAACEZsaXBIb3Jpem9udGFsbHlBcHBsaWVkAAAIRmxpcFZlcnRpY2FsbHkAAQhGbGlwVmVydGljYWxseUFwcGxpZWQAAAFSb3RhdGlvbgAAAAAAAAAAAAFaT3JkZXIAAAAAAAAAAAADQm9yZGVyQ29sb3IAVQAAABBBAP8AAAAQUgAAAAAAEEcAAAAAABBCAAAAAAABU2NBAAAAAAAAAPA/AVNjUgAAAAAAAAAAAAFTY0cAAAAAAAAAAAABU2NCAAAAAAAAAAAAABBCb3JkZXJUaGVtZUNvbG9yAAAAAAABQm9yZGVyVOsAAAAF6gAAAOwAAADnDwAAAAAAAAAAAAB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BivWV1QAFZAAAAADTiglZAAANFbmQAGwAAAAFYAAAAAGK9ZXVAAVkAAAAANOJCV0AAAlN0YXJ0QXJyb3dIZWFkABEAAABtc29BcnJvd2hlYWROb25lAAJFbmRBcnJvd0hlYWQAEQAAAG1zb0Fycm93aGVhZE5vbmUABU1hbmFnZWRJZAAQAAAABH2NBYYI/ThNvRRsERxy3S4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QOKCVkABTGVmdAAAAABgvWV1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CuuNJrQAFZAAAAgIaRwnBAAAhIYXNMZWFkZXJMaW5lAAAISXNDZW50ZXJBdXRvbWF0aWNBZGp1c3RlZAAACElzVXNlclBvc2l0aW9uAAAIQWRkUHJlZml4U3BhY2UAAAhBZGRQb3N0Zml4U3BhY2UAAAJTZXBhcmF0b3IAAgAAAAoAAlRleHQAAwAAADklAAhSZXF1aXJlUmVsYXRpdmVQb3NpdGlvblVwZ3JhZGUAAAhJc0dlb21ldHJ5T3V0T2ZCb3VuZHMAAAhJc0xlYWRlckxpbmVJbkF1dG9Nb2RlAAEIRGVsZXRlZAAAAAM5ACkWAAAQUG9pbnRJbmRleAAKAAAAAkFsaWdubWVudAAHAAAAQ2VudGVyABBTZXJpZXNJbmRleAABAAAACFJlcXVpcmVGb250Q29sb3JNaWdyYXRpb24AAAhNYW51YWxEYXRhTGFiZWxCYWNrZ3JvdW5kVmlzaWJsZQABCEhhc1dpc2hDb2xvcgAAA1RleHRCb3gAuAYAAAVNYW5hZ2VkSWQAEAAAAASCKru33OevR6QdTLpx0i7R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glAAJUZXh0SG9yaXpvbnRhbEFsaWdubWVudAAOAAAAbXNvQW5jaG9yTm9uZQ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ZACEZvbnRTdHJpa2V0aHJvdWdoAAAIRm9udFN1YnNjcmlwdAAACEZvbnRTdXBlcnNjcmlwdAAACEZvbnRVbmRlcmxpbmUAAAAIU2l6ZVRvVGV4dFdpZHRoAAEIU2l6ZVRvVGV4dEhlaWdodAABA1RleHRNYXJnaW4APwAAAAFMZWZ0AAAAAMBarfY/AVRvcAAAAACgSCTiPwFSaWdodAAAAADAWq32PwFCb3R0b20AAAAAoEgk4j8AAkRpc3BsYXlUZXh0AAMAAAA4JQABSGVpZ2h0AAAAACBgCC1AAVdpZHRoAAAAAODQ1DJAAVRvcAAAAABgv1lyQAFMZWZ0AAAAAKBdQGp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DsAAAABesAAADtAAAA5w8AAAAAAAAAAAAAAAhMaW5lUnVsZUJlZm9yZQAACExpbmVSdWxlV2l0aGluAAABUmlnaHRJbmRlbnQAAAAAAAAAAAABU3BhY2VBZnRlcgAAAAAAAAAAAAFTcGFjZUJlZm9yZQAAAAAAAAAAAAFTcGFjZVdpdGhpbgAAAAAAAAAAAAFQb3NpdGlvbmluZ0hlaWdodAAAAACg6eIoQAADTGVhZGVyTGluZQDhBgAAA1N0YXJ0ABsAAAABWAAAAAAB4QNzQAFZAAAAACB9CHJAAANFbmQAGwAAAAFYAAAAAAHhA3NAAVkAAAAAqK+aRUAAAlN0YXJ0QXJyb3dIZWFkABEAAABtc29BcnJvd2hlYWROb25lAAJFbmRBcnJvd0hlYWQAEQAAAG1zb0Fycm93aGVhZE5vbmUABU1hbmFnZWRJZAAQAAAABCFLftaple1JuTR079omjj8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gTqpuQAFXaWR0aAAAAAAAAAAAAAFUb3AAAAAAoK+aRUABTGVmdAAAAAAA4QNzQAhGbGlwSG9yaXpvbnRhbGx5AAAIRmxpcEhvcml6b250YWxseUFwcGxpZWQAAAhGbGlwVmVydGljYWxseQAB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eEDc0ABWQAAAACorxpEQAADRW5kABsAAAABWAAAAAAB4QNzQAFZAAAAAKivmkVAAAJTdGFydEFycm93SGVhZAARAAAAbXNvQXJyb3doZWFkTm9uZQACRW5kQXJyb3dIZWFkABEAAABtc29BcnJvd2hlYWROb25lAAVNYW5hZ2VkSWQAEAAAAARlG39/3cDTSrrFqMZdtEyh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CEABV2lkdGgAAAAAAAAAAAABVG9wAAAAAKCvGkRAAUxlZnQAAAAAAOEDc0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rqpta0ABWQAAAIAGS71yQAAISGFzTGVhZGVyTGluZQAACElzQ2VudGVyQXV0b21hdGljQWRqdXN0ZWQAAAhJc1VzZXJQb3NpdGlvbgAACEFkZFByZWZpeFNwYWNlAAAIQWRkUG9zdGZpeFNwYWNlAAACU2VwYXJhdG9yAAIAAAAKAAJUZXh0AAMAAAA4JQAIUmVxdWlyZVJlbGF0aXZlUG9zaXRpb25VcGdyYWRlAAAISXNHZW9tZXRyeU91dE9mQm91bmRzAAAISXNMZWFkZXJMaW5lSW5BdXRvTW9kZQABCERlbGV0ZWQAAAAAA1RleHREZWZpbml0aW9uAM0BAAADUm9vdEVsZW1lbnQAuwEAAAJfdHlwZQCFAAAAbWlvLkNvbW1vbi5Qb3dlclBvaW50Lk1hbmFnZWQuRGF0YS5EYXRhQ2hhcnRzLkRhdGFMYWJlbHMuRGF0YS5CdWlsZGVy7QAAAAXsAAAA/////yQEwwsAAAAAAAAAAC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MYWJlbHNWaXNpYmxlAAEIQXV0b21hdGljTGFiZWxCYWNrZ3JvdW5kc0VuYWJsZWQAAQADU2Vjb25kYXJ5ACYCAAAERGF0YUxhYmVscwAF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MYWJlbHNWaXNpYmxlAAAIQXV0b21hdGljTGFiZWxCYWNrZ3JvdW5kc0VuYWJsZWQAAAAACERpc2FibGVBdXRvbWF0aWNEZWFjdGl2YXRpb24AAAACTmFtZQALAAAARGF0YUxhYmVscwAQVmVyc2lvbgAHAAAACUxhc3RXcml0ZQAPxZU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O4AAAAAKwEAAK4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vAAAAAPAAAADi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8AAAAADxAAAA7w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PEAAAAA8gAAAPA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yAAAAAPMAAADx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8wAAAAD0AAAA8g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PQAAAAA9QAAAPM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1AAAAAPYAAAD0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9gAAAAD3AAAA9Q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PcAAAAA+AAAAPY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4AAAAAPkAAAD3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6AAAA+A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PoAAAAA+wAAAPk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7AAAAAPwAAAD6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9AAAA+w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P0AAAAALAEAAPw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AAAAAP8AAADj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AAAAAAAQAA/g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AAAAQEAAP8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AAAAIBAAAA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AAAADAQAAAQ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BAAAABAEAAAI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AQAAAAUBAAAD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AAAAGAQAABA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YBAAAABwEAAAU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HAQAAAAgBAAAG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EAAAAJAQAABw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BAAAACgEAAAg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AQAAAAsBAAAJ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wEAAAAMAQAACg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BAAAADQEAAAs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AQAAAA4BAAAM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gEAAAAPAQAADQ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8BAAAAEAEAAA4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QAAABEBAAAP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QEAAAASAQAAEA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IBAAAAEwEAABE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TAQAAABQBAAAS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EAAAAVAQAAEw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UBAAAAFgEAABQ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AQAAABcBAAAV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wEAAAAYAQAAFg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BAAAAGQEAABc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ZAQAAABoBAAAY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gEAAAAbAQAAGQ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BAAAAHAEAABo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QAAAB0BAAAb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HQEAAAAeAQAAHA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4BAAAAHwEAAB0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QAAACABAAAe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AEAAAA7AQAAHw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EBAAAFSAAAACIBAADnDwAAAAAAAAAAAABhY2VXaXRoaW4AAAAAAAAAAAABUG9zaXRpb25pbmdIZWlnaHQAAAAAoOniKEAAAkNvbHVtblN1bVBvc2l0aW9uAAwAAABEZWZhdWx0RG9jawAIRGVsZXRlZAABA051bWJlckZvcm1hdAAfAAAABV9pZAAQAAAABAAAAAAAAAAAAAAAAAAAAAAACElzTmV3AAEBRm9udFNpemUAAAAAAAAAJEAAAzYABQgAAAVfaWQAEAAAAASc080yHZV8T6MODiqBfR4SAl90eXBlAFcAAABlbXBvd2VyLkNoYXJ0cy5EYXRhLkRhdGFDaGFydHMuT3ZlcmxheXMuRGF0YS5Db2x1bW5TdW1PdmVybGF5RGF0YSwgZW1wb3dlci5DaGFydHMuRGF0YQAQQ29sdW1uAAcAAAAQU2VyaWVzAP////8DVGV4dEVsZW1lbnQA6wYAAAJBdXRvU2hhcGVUeXBlAAoAAABSZWN0YW5nbGUABEFkanVzdG1lbnRzAAUAAAAABU1hbmFnZWRJZAAQAAAABNPL2lwGYSZOnyZI5pZUlJk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m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CDXwypAAVdpZHRoAAAAAOCu8jh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JDb2x1bW5TdW1Qb3NpdGlvbgAMAAAARGVmYXVsdERvY2sACERlbGV0ZWQAAQNOdW1iZXJGb3JtYXQAHwAAAAVfaWQAEAAAAAQAAAAAAAAAAAAAAAAAAAAAAAhJc05ldwABAUZvbnRTaXplAAAAAAAAACRAAAM3AAUIAAAFX2lkABAAAAAENJ6iqpGD+U2xAczF6XBKZQJfdHlwZQBXAAAAZW1wb3dlci5DaGFydHMuRGF0YS5EYXRhQ2hhcnRzLk92ZXJsYXlzLkRhdGEuQ29sdW1uU3VtT3ZlcmxheURhdGEsIGVtcG93ZXIuQ2hhcnRzLkRhdGEAEENvbHVtbgAIAAAAEFNlcmllcwD/////A1RleHRFbGVtZW50AOsGAAACQXV0b1NoYXBlVHlwZQAKAAAAUmVjdGFuZ2xlAARBZGp1c3RtZW50cwAFAAAAAAVNYW5hZ2VkSWQAEAAAAASZl6wOas2gSr9Jyj9cx0Vj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Jk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Ag18MqQAFXaWR0aAAAAADgrvI4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AiAQAABSEBAAAjAQAA5w8AAAAAAAAAAAAAYWNlQWZ0ZXIAAAAAAAAAAAABU3BhY2VCZWZvcmUAAAAAAAAAAAABU3BhY2VXaXRoaW4AAAAAAAAAAAABUG9zaXRpb25pbmdIZWlnaHQAAAAAoOniKEAAAkNvbHVtblN1bVBvc2l0aW9uAAwAAABEZWZhdWx0RG9jawAIRGVsZXRlZAABA051bWJlckZvcm1hdAAfAAAABV9pZAAQAAAABAAAAAAAAAAAAAAAAAAAAAAACElzTmV3AAEBRm9udFNpemUAAAAAAAAAJEAAAzgABQgAAAVfaWQAEAAAAASC5Am8Krm6QL+l+the5RwGAl90eXBlAFcAAABlbXBvd2VyLkNoYXJ0cy5EYXRhLkRhdGFDaGFydHMuT3ZlcmxheXMuRGF0YS5Db2x1bW5TdW1PdmVybGF5RGF0YSwgZW1wb3dlci5DaGFydHMuRGF0YQAQQ29sdW1uAAkAAAAQU2VyaWVzAP////8DVGV4dEVsZW1lbnQA6wYAAAJBdXRvU2hhcGVUeXBlAAoAAABSZWN0YW5nbGUABEFkanVzdG1lbnRzAAUAAAAABU1hbmFnZWRJZAAQAAAABDQTIum9UHhBqh07zAqodJE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P8AAAAQUgD/AAAAEEcA/wAAABBCAP8AAAABU2NBAAAAAAAAAPA/AVNjUgAAAAAAAADwPwFTY0cAAAAAAAAA8D8BU2NCAAAAAAAAAPA/ABBQYXR0ZXJuVGhlbWVDb2xvcgAAAAAAAVBhdHRlcm5UaW50QW5kU2hhZGUAAAAAAAAAAAAIRmlsbFZpc2libGUAAQhWaXNpYmxlAAACRmlsbFBhdHRlcm4AEAAAAG1zb1BhdHRlcm5NaXhlZAACVGV4dAAFAAAALTI3MgACVGV4dEhvcml6b250YWxBbGlnbm1lbnQADgAAAG1zb0FuY2hvck5vbmU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mQAhGb250U3RyaWtldGhyb3VnaAAACEZvbnRTdWJzY3JpcHQAAAhGb250U3VwZXJzY3JpcHQAAAhGb250VW5kZXJsaW5lAAAACFNpemVUb1RleHRXaWR0aAABCFNpemVUb1RleHRIZWlnaHQAAQNUZXh0TWFyZ2luAD8AAAABTGVmdAAAAAAAAAAAAAFUb3AAAAAAAAAAAAABUmlnaHQAAAAAwFqtBkABQm90dG9tAAAAAAAAAAAAAAJEaXNwbGF5VGV4dAAFAAAALTI3MgABSGVpZ2h0AAAAACDXwypAAVdpZHRoAAAAAOCu8jhAAVRvcAAAAADgceR2QAFMZWZ0AAAAAGAOJoJACEZsaXBIb3Jpem9udGFsbHkAAAhGbGlwSG9yaXpvbnRhbGx5QXBwbGllZAAACEZsaXBWZXJ0aWNhbGx5AAAIRmxpcFZlcnRpY2FsbHlBcHBsaWVkAAABUm90YXRpb24AAAAAAAAAAAABWk9yZGVyAAAAAAAAAAA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JDb2x1bW5TdW1Qb3NpdGlvbgAMAAAARGVmYXVsdERvY2sACERlbGV0ZWQAAQNOdW1iZXJGb3JtYXQAHwAAAAVfaWQAEAAAAAQAAAAAAAAAAAAAAAAAAAAAAAhJc05ldwABAUZvbnRTaXplAAAAAAAAACRAAAM5AAUIAAAFX2lkABAAAAAEw07j7y1aSkePkWslpQfpQAJfdHlwZQBXAAAAZW1wb3dlci5DaGFydHMuRGF0YS5EYXRhQ2hhcnRzLk92ZXJsYXlzLkRhdGEuQ29sdW1uU3VtT3ZlcmxheURhdGEsIGVtcG93ZXIuQ2hhcnRzLkRhdGEAEENvbHVtbgAKAAAAEFNlcmllcwD/////A1RleHRFbGVtZW50AOsGAAACQXV0b1NoYXBlVHlwZQAKAAAAUmVjdGFuZ2xlAARBZGp1c3RtZW50cwAFAAAAAAVNYW5hZ2VkSWQAEAAAAASV25ah0pqBSIUkXqdUeqrd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D/AAAAEFIA/wAAABBHAP8AAAAQQgD/AAAAAVNjQQAAAAAAAADwPwFTY1IAAAAAAAAA8D8BU2NHAAAAAAAAAPA/AVNjQgAAAAAAAADwPwAQUGF0dGVyblRoZW1lQ29sb3IAAAAAAAFQYXR0ZXJuVGludEFuZFNoYWRlAAAAAAAAAAAACEZpbGxWaXNpYmxlAAEIVmlzaWJsZQAAAkZpbGxQYXR0ZXJuABAAAABtc29QYXR0ZXJuTWl4ZWQAAlRleHQABQAAAC0yNzIAAlRleHRIb3Jpem9udGFsQWxpZ25tZW50AA4AAABtc29BbmNob3JOb25l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JkAIRm9udFN0cmlrZXRocm91Z2gAAAhGb250U3Vic2NyaXB0AAAIRm9udFN1cGVyc2NyaXB0AAAIRm9udFVuZGVybGluZQAAAAhTaXplVG9UZXh0V2lkdGgAAQhTaXplVG9UZXh0SGVpZ2h0AAEDVGV4dE1hcmdpbgA/AAAAAUxlZnQAAAAAAAAAAAABVG9wAAAAAAAAAAAAAVJpZ2h0AAAAAMBarQZAAUJvdHRvbQAAAAAAAAAAAAACRGlzcGxheVRleHQABQAAAC0yNzIAAUhlaWdodAAAAAAg18MqQAFXaWR0aAAAAADgrvI4QAFUb3AAAAAA4HHkdkABTGVmdAAAAABgDiaCQAhGbGlwSG9yaXpvbnRhbGx5AAAIRmxpcEhvcml6b250YWxseUFwcGxpZWQAAAhGbGlwVmVydGljYWxseQAACEZsaXBWZXJ0aWNhbGx5QXBwbGllZAAAAVJvdGF0aW9uAAAAAAAAAAAAAVpPcmRlcgAAAAAAAAAAA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IwEAAAUiAQAA/////yoBvQ4AAAAAAAAAAAhMaW5lUnVsZVdpdGhpbgAAAVJpZ2h0SW5kZW50AAAAAAAAAAAAAVNwYWNlQWZ0ZXIAAAAAAAAAAAABU3BhY2VCZWZvcmUAAAAAAAAAAAABU3BhY2VXaXRoaW4AAAAAAAAAAAABUG9zaXRpb25pbmdIZWlnaHQAAAAAoOniKEAAAkNvbHVtblN1bVBvc2l0aW9uAAwAAABEZWZhdWx0RG9jawAIRGVsZXRlZAABA051bWJlckZvcm1hdAAfAAAABV9pZAAQAAAABAAAAAAAAAAAAAAAAAAAAAAACElzTmV3AAEBRm9udFNpemUAAAAAAAAAJEAAAAJOYW1lAAkAAABPdmVybGF5cwAQVmVyc2lvbgAFAAAACUxhc3RXcml0ZQAN7pE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QBAAAFPAAAACUBAADnDwAAAAAAAAAA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hAAVRvcAAAAAAglipmQAFMZWZ0AAAAAKCRCmh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JYrBXFAAVkAAAAADcukZUAACEhhc0xlYWRlckxpbmUAAAhJc0NlbnRlckF1dG9tYXRpY0FkanVzdGVkAAAISXNVc2VyUG9zaXRpb24AAAhBZGRQcmVmaXhTcGFjZQAACEFkZFBvc3RmaXhTcGFjZQAAAlNlcGFyYXRvcgACAAAACgACVGV4dAAEAAAAMzQlAAhSZXF1aXJlUmVsYXRpdmVQb3NpdGlvblVwZ3JhZGUAAAhJc0dlb21ldHJ5T3V0T2ZCb3VuZHMAAAhJc0xlYWRlckxpbmVJbkF1dG9Nb2RlAAEIRGVsZXRlZAAAAAM2ACwWAAAQUG9pbnRJbmRleAAHAAAAAkFsaWdubWVudAAHAAAAQ2VudGVyABBTZXJpZXNJbmRleAABAAAACFJlcXVpcmVGb250Q29sb3JNaWdyYXRpb24AAAhNYW51YWxEYXRhTGFiZWxCYWNrZ3JvdW5kVmlzaWJsZQABCEhhc1dpc2hDb2xvcgAAA1RleHRCb3gAugYAAAVNYW5hZ2VkSWQAEAAAAAQv2hFz12eBRrQyfYUlZvot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AAAADIxJQACVGV4dEhvcml6b250YWxBbGlnbm1lbnQADgAAAG1zb0FuY2hvck5vbmU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mQAhGb250U3RyaWtldGhyb3VnaAAACEZvbnRTdWJzY3JpcHQAAAhGb250U3VwZXJzY3JpcHQAAAhGb250VW5kZXJsaW5lAAAACFNpemVUb1RleHRXaWR0aAABCFNpemVUb1RleHRIZWlnaHQAAQNUZXh0TWFyZ2luAD8AAAABTGVmdAAAAADAWq32PwFUb3AAAAAAoEgk4j8BUmlnaHQAAAAAwFqt9j8BQm90dG9tAAAAAKBIJOI/AAJEaXNwbGF5VGV4dAAEAAAAMjElAAFIZWlnaHQAAAAAIGAILUABV2lkdGgAAAAAwK7yOEABVG9wAAAAAMAm02hAAUxlZnQAAAAAIDQgb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oOniKEAAA0xlYWRlckxpbmUA4QYAAANTdGFydAAbAAAAAVgAAAAAMSw1gEABWQAAAACA5FJoQAADRW5kABsAAAABWAAAAAAxLDWAQAFZAAAAAOp/dWNAAAJTdGFydEFycm93SGVhZAARAAAAbXNvQXJyb3doZWFkTm9uZQACRW5kQXJyb3dIZWFkABEAAABtc29BcnJvd2hlYWROb25lAAVNYW5hZ2VkSWQAEAAAAARVNPgdmuDQTrZ+C/GPq+tV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lAQAABSQBAAAmAQAA5w8AAAAAAAAAAAAA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GCSdUNAAVdpZHRoAAAAAAAAAAAAAVRvcAAAAADgf3VjQAFMZWZ0AAAAAEAsNYBACEZsaXBIb3Jpem9udGFsbHkAAAhGbGlwSG9yaXpvbnRhbGx5QXBwbGllZAAACEZsaXBWZXJ0aWNhbGx5AAE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xLDWAQAFZAAAAAOp/FWNAAANFbmQAGwAAAAFYAAAAADEsNYBAAVkAAAAA6n91Y0AAAlN0YXJ0QXJyb3dIZWFkABEAAABtc29BcnJvd2hlYWROb25lAAJFbmRBcnJvd0hlYWQAEQAAAG1zb0Fycm93aGVhZE5vbmUABU1hbmFnZWRJZAAQAAAABJAaLn6u8ZRLjUQk6l6ocGo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IQAFXaWR0aAAAAAAAAAAAAAFUb3AAAAAA4H8VY0ABTGVmdAAAAABALDWAQ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AMX69uQAFZAAAAAA0+mmlAAAhIYXNMZWFkZXJMaW5lAAAISXNDZW50ZXJBdXRvbWF0aWNBZGp1c3RlZAAACElzVXNlclBvc2l0aW9uAAAIQWRkUHJlZml4U3BhY2UAAAhBZGRQb3N0Zml4U3BhY2UAAAJTZXBhcmF0b3IAAgAAAAoAAlRleHQABAAAADIxJQAIUmVxdWlyZVJlbGF0aXZlUG9zaXRpb25VcGdyYWRlAAAISXNHZW9tZXRyeU91dE9mQm91bmRzAAAISXNMZWFkZXJMaW5lSW5BdXRvTW9kZQABCERlbGV0ZWQAAAADNwAsFgAAEFBvaW50SW5kZXgACAAAAAJBbGlnbm1lbnQABwAAAENlbnRlcgAQU2VyaWVzSW5kZXgAAQAAAAhSZXF1aXJlRm9udENvbG9yTWlncmF0aW9uAAAITWFudWFsRGF0YUxhYmVsQmFja2dyb3VuZFZpc2libGUAAQhIYXNXaXNoQ29sb3IAAANUZXh0Qm94ALoGAAAFTWFuYWdlZElkABAAAAAEVMZMTQEwgUKyWjoH1INw3g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QAAAAxNSUAAlRleHRIb3Jpem9udGFsQWxpZ25tZW50AA4AAABtc29BbmNob3JOb25lAAJQYXJhZ3JhcGhBbGlnbm1lbnQADwAAAG1zb0FsaWduQ2VudGVyAAJUZXh0VmVydGljYWxBbGlnbm1lbnQAEAAAAG1zb0FuY2hvck1pZGRsZQADRm9udFN0eWxlAEEBAAAQRm9udEJhY2tncm91bmQAAAAAAAhGb250Qm9sZAAAA0ZvbnRDb2xvcgBVAAAAEEEA/wAAABBSAP8AAAAQRwD/AAAAEEIA/wAAAAFTY0EAAAAAAAAA8D8BU2NSJgEAAAUlAQAAJwEAAOcPAAAAAAAAAAAAAAAAAAAAAADwPwFTY0cAAAAAAAAA8D8BU2NCAAAAAAAAAPA/ABBGb250VGhlbWVDb2xvcgAAAAAAAUZvbnRUaW50QW5kU2hhZGUAAAAAAAAAAAAQRm9udFNjaGVtZUNvbG9yAAEAAAAIRm9udEl0YWxpYwAAAkZvbnROYW1lAAcAAAArbW4tbHQAAUZvbnRTaXplAAAAAAAAACZACEZvbnRTdHJpa2V0aHJvdWdoAAAIRm9udFN1YnNjcmlwdAAACEZvbnRTdXBlcnNjcmlwdAAACEZvbnRVbmRlcmxpbmUAAAAIU2l6ZVRvVGV4dFdpZHRoAAEIU2l6ZVRvVGV4dEhlaWdodAABA1RleHRNYXJnaW4APwAAAAFMZWZ0AAAAAMBarfY/AVRvcAAAAACgSCTiPwFSaWdodAAAAADAWq32PwFCb3R0b20AAAAAoEgk4j8AAkRpc3BsYXlUZXh0AAQAAAAxNSUAAUhlaWdodAAAAAAgYAgtQAFXaWR0aAAAAADArvI4QAFUb3AAAAAAQJnIbEABTGVmdAAAAAAgP6Vr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Cg6eIoQAADTGVhZGVyTGluZQDhBgAAA1N0YXJ0ABsAAAABWAAAAABxDg+AQAFZAAAAAMDrPGxAAANFbmQAGwAAAAFYAAAAAHEOD4BAAVkAAAAAtPAWX0AAAlN0YXJ0QXJyb3dIZWFkABEAAABtc29BcnJvd2hlYWROb25lAAJFbmRBcnJvd0hlYWQAEQAAAG1zb0Fycm93aGVhZE5vbmUABU1hbmFnZWRJZAAQAAAABIF+S8YRGkdAkL+7nYQJe2Y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5mJZQAFXaWR0aAAAAAAAAAAAAAFUb3AAAAAAwPAWX0ABTGVmdAAAAACADg+AQAhGbGlwSG9yaXpvbnRhbGx5AAAIRmxpcEhvcml6b250YWxseUFwcGxpZWQAAAhGbGlwVmVydGljYWxseQAB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cQ4PgEABWQAAAAC08FZeQAADRW5kABsAAAABWAAAAABxDg+AQAFZAAAAALTwFl9AAAJTdGFydEFycm93SGVhZAARAAAAbXNvQXJyb3doZWFkTm9uZQACRW5kQXJyb3dIZWFkABEAAABtc29BcnJvd2hlYWROb25lAAVNYW5hZ2VkSWQAEAAAAARJb/POKHCKSL1xSws3Smxk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CEABV2lkdGgAAAAAAAAAAAABVG9wAAAAAMDwVl5AAUxlZnQAAAAAgA4PgEAIRmxpcEhvcml6b250YWxseQAACEZsaXBIb3Jpem9udGFsbHlBcHBsaWVkAAAIRmxpcFZlcnRpY2FsbHkAAAhGbGlwVmVydGljYScBAAAFJgEAACgBAADnDwAAAAAAAAAAAAB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AxqNG1AAVkAAAAAjbCPbUAACEhhc0xlYWRlckxpbmUAAAhJc0NlbnRlckF1dG9tYXRpY0FkanVzdGVkAAAISXNVc2VyUG9zaXRpb24AAAhBZGRQcmVmaXhTcGFjZQAACEFkZFBvc3RmaXhTcGFjZQAAAlNlcGFyYXRvcgACAAAACgACVGV4dAAEAAAAMTUlAAhSZXF1aXJlUmVsYXRpdmVQb3NpdGlvblVwZ3JhZGUAAAhJc0dlb21ldHJ5T3V0T2ZCb3VuZHMAAAhJc0xlYWRlckxpbmVJbkF1dG9Nb2RlAAEIRGVsZXRlZAAAAAM4ACkWAAAQUG9pbnRJbmRleAAJAAAAAkFsaWdubWVudAAHAAAAQ2VudGVyABBTZXJpZXNJbmRleAABAAAACFJlcXVpcmVGb250Q29sb3JNaWdyYXRpb24AAAhNYW51YWxEYXRhTGFiZWxCYWNrZ3JvdW5kVmlzaWJsZQABCEhhc1dpc2hDb2xvcgAAA1RleHRCb3gAuAYAAAVNYW5hZ2VkSWQAEAAAAARkqyBZrcS+Ra6Mh7LxPsLU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klAAJUZXh0SG9yaXpvbnRhbEFsaWdubWVudAAOAAAAbXNvQW5jaG9yTm9uZQ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ZACEZvbnRTdHJpa2V0aHJvdWdoAAAIRm9udFN1YnNjcmlwdAAACEZvbnRTdXBlcnNjcmlwdAAACEZvbnRVbmRlcmxpbmUAAAAIU2l6ZVRvVGV4dFdpZHRoAAEIU2l6ZVRvVGV4dEhlaWdodAABA1RleHRNYXJnaW4APwAAAAFMZWZ0AAAAAMBarfY/AVRvcAAAAACgSCTiPwFSaWdodAAAAADAWq32PwFCb3R0b20AAAAAoEgk4j8AAkRpc3BsYXlUZXh0AAMAAAA5JQABSGVpZ2h0AAAAACBgCC1AAVdpZHRoAAAAAODQ1DJAAVRvcAAAAADgBV9wQAFMZWZ0AAAAAKBrpWp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KDp4ihAAANMZWFkZXJMaW5lAOEGAAADU3RhcnQAGwAAAAFYAAAAAGK9ZXVAAVkAAAAAgHkTcEAAA0VuZAAbAAAAAVgAAAAAYr1ldUABWQAAAAA04kJXQAACU3RhcnRBcnJvd0hlYWQAEQAAAG1zb0Fycm93aGVhZE5vbmUAAkVuZEFycm93SGVhZAARAAAAbXNvQXJyb3doZWFkTm9uZQAFTWFuYWdlZElkABAAAAAE+thBTcrD0k2diljt17GsyA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OCBhWRAAVdpZHRoAAAAAAAAAAAAAVRvcAAAAABA4kJXQAFMZWZ0AAAAAGC9ZXVACEZsaXBIb3Jpem9udGFsbHkAAAhGbGlwSG9yaXpvbnRhbGx5QXBwbGllZAAACEZsaXBWZXJ0aWNhbGx5AAEIRmxpcFZlcnRpY2FsbHlBcHBsaWVkAAABUm90YXRpb24AAAAAAAAAAAABWk9yZGVyAAAAAAAAAAAAA0JvcmRlckNvbG9yAFUAAAAQQQD/AAAAEFIAAAAAABBHAAAAAAAQQgAAAAAAAVNjQQAAAAAAAADwPwFTY1IAAAAAAAAAAAABU2NHAAAAAAAAAAAAAVNjQgAAAAAAAAAAAAAQQm9yZGVyVGhlbWVDb2xvcgAAAAAAAUJvcmRlclQoAQAABScBAAApAQAA5w8AAAAAAAAAAAAAaW50QW5kU2hhZGUAAAAAAAAAAAAQQm9yZGVyU2NoZW1lQ29sb3IAAg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Yr1ldUABWQAAAAA04oJWQAADRW5kABsAAAABWAAAAABivWV1QAFZAAAAADTiQldAAAJTdGFydEFycm93SGVhZAARAAAAbXNvQXJyb3doZWFkTm9uZQACRW5kQXJyb3dIZWFkABEAAABtc29BcnJvd2hlYWROb25lAAVNYW5hZ2VkSWQAEAAAAAR9jQWGCP04Tb0UbBEcct0u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CEABV2lkdGgAAAAAAAAAAAABVG9wAAAAAEDiglZAAUxlZnQAAAAAYL1ldU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rrjSa0ABWQAAAICGkcJwQAAISGFzTGVhZGVyTGluZQAACElzQ2VudGVyQXV0b21hdGljQWRqdXN0ZWQAAAhJc1VzZXJQb3NpdGlvbgAACEFkZFByZWZpeFNwYWNlAAAIQWRkUG9zdGZpeFNwYWNlAAACU2VwYXJhdG9yAAIAAAAKAAJUZXh0AAMAAAA5JQAIUmVxdWlyZVJlbGF0aXZlUG9zaXRpb25VcGdyYWRlAAAISXNHZW9tZXRyeU91dE9mQm91bmRzAAAISXNMZWFkZXJMaW5lSW5BdXRvTW9kZQABCERlbGV0ZWQAAAADOQApFgAAEFBvaW50SW5kZXgACgAAAAJBbGlnbm1lbnQABwAAAENlbnRlcgAQU2VyaWVzSW5kZXgAAQAAAAhSZXF1aXJlRm9udENvbG9yTWlncmF0aW9uAAAITWFudWFsRGF0YUxhYmVsQmFja2dyb3VuZFZpc2libGUAAQhIYXNXaXNoQ29sb3IAAANUZXh0Qm94ALgGAAAFTWFuYWdlZElkABAAAAAEgiq7t9znr0ekHUy6cdIu0Q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4JQACVGV4dEhvcml6b250YWxBbGlnbm1lbnQADgAAAG1zb0FuY2hvck5vbmU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mQAhGb250U3RyaWtldGhyb3VnaAAACEZvbnRTdWJzY3JpcHQAAAhGb250U3VwZXJzY3JpcHQAAAhGb250VW5kZXJsaW5lAAAACFNpemVUb1RleHRXaWR0aAABCFNpemVUb1RleHRIZWlnaHQAAQNUZXh0TWFyZ2luAD8AAAABTGVmdAAAAADAWq32PwFUb3AAAAAAoEgk4j8BUmlnaHQAAAAAwFqt9j8BQm90dG9tAAAAAKBIJOI/AAJEaXNwbGF5VGV4dAADAAAAOCUAAUhlaWdodAAAAAAgYAgtQAFXaWR0aAAAAADg0NQyQAFUb3AAAAAAYL9ZckABTGVmdAAAAACgXUBq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KQEAAAUoAQAAKgEAAOcPAAAAAAAAAAAAAAAITGluZVJ1bGVCZWZvcmUAAAhMaW5lUnVsZVdpdGhpbgAAAVJpZ2h0SW5kZW50AAAAAAAAAAAAAVNwYWNlQWZ0ZXIAAAAAAAAAAAABU3BhY2VCZWZvcmUAAAAAAAAAAAABU3BhY2VXaXRoaW4AAAAAAAAAAAABUG9zaXRpb25pbmdIZWlnaHQAAAAAoOniKEAAA0xlYWRlckxpbmUA4QYAAANTdGFydAAbAAAAAVgAAAAAAeEDc0ABWQAAAAAgfQhyQAADRW5kABsAAAABWAAAAAAB4QNzQAFZAAAAAKivmkVAAAJTdGFydEFycm93SGVhZAARAAAAbXNvQXJyb3doZWFkTm9uZQACRW5kQXJyb3dIZWFkABEAAABtc29BcnJvd2hlYWROb25lAAVNYW5hZ2VkSWQAEAAAAAQhS37WqZXtSbk0dO/aJo4/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YE6qbkABV2lkdGgAAAAAAAAAAAABVG9wAAAAAKCvmkVAAUxlZnQAAAAAAOEDc0AIRmxpcEhvcml6b250YWxseQAACEZsaXBIb3Jpem9udGFsbHlBcHBsaWVkAAAIRmxpcFZlcnRpY2FsbHkAAQ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I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HhA3NAAVkAAAAAqK8aREAAA0VuZAAbAAAAAVgAAAAAAeEDc0ABWQAAAACor5pFQAACU3RhcnRBcnJvd0hlYWQAEQAAAG1zb0Fycm93aGVhZE5vbmUAAkVuZEFycm93SGVhZAARAAAAbXNvQXJyb3doZWFkTm9uZQAFTWFuYWdlZElkABAAAAAEZRt/f93A00q6xajGXbRMo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hAAVdpZHRoAAAAAAAAAAAAAVRvcAAAAACgrxpEQAFMZWZ0AAAAAADhA3N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C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K6qbWtAAVkAAACABku9ckAACEhhc0xlYWRlckxpbmUAAAhJc0NlbnRlckF1dG9tYXRpY0FkanVzdGVkAAAISXNVc2VyUG9zaXRpb24AAAhBZGRQcmVmaXhTcGFjZQAACEFkZFBvc3RmaXhTcGFjZQAAAlNlcGFyYXRvcgACAAAACgACVGV4dAADAAAAOCUACFJlcXVpcmVSZWxhdGl2ZVBvc2l0aW9uVXBncmFkZQAACElzR2VvbWV0cnlPdXRPZkJvdW5kcwAACElzTGVhZGVyTGluZUluQXV0b01vZGUAAQhEZWxldGVkAAAAAANUZXh0RGVmaW5pdGlvbgDNAQAAA1Jvb3RFbGVtZW50ALsBAAACX3R5cGUAhQAAAG1pby5Db21tb24uUG93ZXJQb2ludC5NYW5hZ2VkLkRhdGEuRGF0YUNoYXJ0cy5EYXRhTGFiZWxzLkRhdGEuQnVpbGRlcioBAAAFKQEAAP////8kBMMLAAAAAAAAAAA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TGFiZWxzVmlzaWJsZQABCEF1dG9tYXRpY0xhYmVsQmFja2dyb3VuZHNFbmFibGVkAAEAA1NlY29uZGFyeQAmAgAABERhdGFMYWJlbHMABQAA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TGFiZWxzVmlzaWJsZQAACEF1dG9tYXRpY0xhYmVsQmFja2dyb3VuZHNFbmFibGVkAAAAAAhEaXNhYmxlQXV0b21hdGljRGVhY3RpdmF0aW9uAAAAAk5hbWUACwAAAERhdGFMYWJlbHMAEFZlcnNpb24ABgAAAAlMYXN0V3JpdGUAB8WV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AQAAAAAAAADu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AEAAAAtAQAA/Q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0BAAAALgEAACw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uAQAAAC8BAAAt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wEAAAAwAQAALg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ABAAAAMQEAAC8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xAQAAADIBAAAw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gEAAAAzAQAAMQ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MBAAAANAEAADI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0AQAAADUBAAAz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QEAAAA2AQAANA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YBAAAANwEAADU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3AQAAADgBAAA2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OAEAAAA5AQAANw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kBAAAAOgEAADg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6AQAAAJQAAAA5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OwEAAAA8AQAAIA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wBAAAAPQEAADs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9AQAAAD4BAAA8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PgEAAAA/AQAAPQ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8BAAAAQAEAAD4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AQAAAEEBAAA/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EAAABCAQAAQA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IBAAAAQwEAAEE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DAQAAAEQBAABC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AEAAABFAQAAQw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UBAAAARgEAAEQ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AQAAAEcBAABF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wEAAABIAQAARg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gBAAAASQEAAEc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JAQAAAEoBAABI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SgEAAABLAQAASQ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sBAAAATAEAAEo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MAQAAAE0BAABL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TQEAAABOAQAATA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4BAAAATwEAAE0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PAQAAAFABAABO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UAEAAABRAQAATw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EBAAAAUgEAAFA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AQAAAFMBAABR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UwEAAABUAQAAUg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QBAAAAVQEAAFM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VAQAAAFYBAABU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VgEAAABXAQAAVQ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cBAAAAWAEAAFY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YAQAAAFkBAABX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EAAABaAQAAWAE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oBAAAAWwEAAFkB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bAQAAAFAAAABaAQ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XAEAAAVhAQAA/////58GSAkAAAAAAAAAAAAQQQD/AAAAEFIApgAAABBHAKYAAAAQQgCmAAAAAVNjQQAAAAAAAADwPwFTY1IAAAAAYKVn2D8BU2NHAAAAAGClZ9g/AVNjQgAAAABgpWfYPwAAAzU4AIgAAAADQ2VsbEFkZHJlc3MAGgAAABBSb3cAAQAAABBDb2x1bW4AAAAAAAADQ29sb3IAVQAAABBBAP8AAAAQUgDdAAAAEEcA3QAAABBCAN0AAAABU2NBAAAAAAAAAPA/AVNjUgAAAACARCPnPwFTY0cAAAAAgEQj5z8BU2NCAAAAAIBEI+c/AAADNTkAiAAAAANDZWxsQWRkcmVzcwAaAAAAEFJvdwACAAAAEENvbHVtbgAAAAAAAANDb2xvcgBVAAAAEEEA/wAAABBSAN0AAAAQRwDdAAAAEEIA3QAAAAFTY0EAAAAAAAAA8D8BU2NSAAAAAIBEI+c/AVNjRwAAAACARCPnPwFTY0IAAAAAgEQj5z8AAAM2MACIAAAAA0NlbGxBZGRyZXNzABoAAAAQUm93AAMAAAAQQ29sdW1uAAAAAAAAA0NvbG9yAFUAAAAQQQD/AAAAEFIA3QAAABBHAN0AAAAQQgDdAAAAAVNjQQAAAAAAAADwPwFTY1IAAAAAgEQj5z8BU2NHAAAAAIBEI+c/AVNjQgAAAACARCPnPwAAAzYxAIgAAAADQ2VsbEFkZHJlc3MAGgAAABBSb3cABAAAABBDb2x1bW4AAAAAAAADQ29sb3IAVQAAABBBAP8AAAAQUgDdAAAAEEcA3QAAABBCAN0AAAABU2NBAAAAAAAAAPA/AVNjUgAAAACARCPnPwFTY0cAAAAAgEQj5z8BU2NCAAAAAIBEI+c/AAADNjIAiAAAAANDZWxsQWRkcmVzcwAaAAAAEFJvdwAFAAAAEENvbHVtbgAAAAAAAANDb2xvcgBVAAAAEEEA/wAAABBSAN0AAAAQRwDdAAAAEEIA3QAAAAFTY0EAAAAAAAAA8D8BU2NSAAAAAIBEI+c/AVNjRwAAAACARCPnPwFTY0IAAAAAgEQj5z8AAAM2MwCIAAAAA0NlbGxBZGRyZXNzABoAAAAQUm93AAYAAAAQQ29sdW1uAAAAAAAAA0NvbG9yAFUAAAAQQQD/AAAAEFIA3QAAABBHAN0AAAAQQgDdAAAAAVNjQQAAAAAAAADwPwFTY1IAAAAAgEQj5z8BU2NHAAAAAIBEI+c/AVNjQgAAAACARCPnPwAAAzY0AIgAAAADQ2VsbEFkZHJlc3MAGgAAABBSb3cABwAAABBDb2x1bW4AAAAAAAADQ29sb3IAVQAAABBBAP8AAAAQUgDdAAAAEEcA3QAAABBCAN0AAAABU2NBAAAAAAAAAPA/AVNjUgAAAACARCPnPwFTY0cAAAAAgEQj5z8BU2NCAAAAAIBEI+c/AAADNjUAiAAAAANDZWxsQWRkcmVzcwAaAAAAEFJvdwAIAAAAEENvbHVtbgAAAAAAAANDb2xvcgBVAAAAEEEA/wAAABBSAN0AAAAQRwDdAAAAEEIA3QAAAAFTY0EAAAAAAAAA8D8BU2NSAAAAAIBEI+c/AVNjRwAAAACARCPnPwFTY0IAAAAAgEQj5z8AAAM2NgCIAAAAA0NlbGxBZGRyZXNzABoAAAAQUm93AAkAAAAQQ29sdW1uAAAAAAAAA0NvbG9yAFUAAAAQQQD/AAAAEFIA3QAAABBHAN0AAAAQQgDdAAAAAVNjQQAAAAAAAADwPwFTY1IAAAAAgEQj5z8BU2NHAAAAAIBEI+c/AVNjQgAAAACARCPnPwAAAzY3AIgAAAADQ2VsbEFkZHJlc3MAGgAAABBSb3cACgAAABBDb2x1bW4AAAAAAAADQ29sb3IAVQAAABBBAP8AAAAQUgDdAAAAEEcA3QAAABBCAN0AAAABU2NBAAAAAAAAAPA/AVNjUgAAAACARCPnPwFTY0cAAAAAgEQj5z8BU2NCAAAAAIBEI+c/AAADNjgAiAAAAANDZWxsQWRkcmVzcwAaAAAAEFJvdwALAAAAEENvbHVtbgAAAAAAAANDb2xvcgBVAAAAEEEA/wAAABBSAN0AAAAQRwDdAAAAEEIA3QAAAAFTY0EAAAAAAAAA8D8BU2NSAAAAAIBEI+c/AVNjRwAAAACARCPnPwFTY0IAAAAAgEQj5z8AAAAAAk5hbWUAGwAAAEV4Y2VsQ29sb3JNb2RlRGF0YVByb3BlcnR5ABBWZXJzaW9uAAEAAAAJTGFzdFdyaXRlALsMj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0BAAAFXwEAAP////+fBkgJAAAAAAAAAAAAEEEA/wAAABBSAKYAAAAQRwCmAAAAEEIApgAAAAFTY0EAAAAAAAAA8D8BU2NSAAAAAGClZ9g/AVNjRwAAAABgpWfYPwFTY0IAAAAAYKVn2D8AAAM1OACIAAAAA0NlbGxBZGRyZXNzABoAAAAQUm93AAEAAAAQQ29sdW1uAAAAAAAAA0NvbG9yAFUAAAAQQQD/AAAAEFIA3QAAABBHAN0AAAAQQgDdAAAAAVNjQQAAAAAAAADwPwFTY1IAAAAAgEQj5z8BU2NHAAAAAIBEI+c/AVNjQgAAAACARCPnPwAAAzU5AIgAAAADQ2VsbEFkZHJlc3MAGgAAABBSb3cAAgAAABBDb2x1bW4AAAAAAAADQ29sb3IAVQAAABBBAP8AAAAQUgDdAAAAEEcA3QAAABBCAN0AAAABU2NBAAAAAAAAAPA/AVNjUgAAAACARCPnPwFTY0cAAAAAgEQj5z8BU2NCAAAAAIBEI+c/AAADNjAAiAAAAANDZWxsQWRkcmVzcwAaAAAAEFJvdwADAAAAEENvbHVtbgAAAAAAAANDb2xvcgBVAAAAEEEA/wAAABBSAN0AAAAQRwDdAAAAEEIA3QAAAAFTY0EAAAAAAAAA8D8BU2NSAAAAAIBEI+c/AVNjRwAAAACARCPnPwFTY0IAAAAAgEQj5z8AAAM2MQCIAAAAA0NlbGxBZGRyZXNzABoAAAAQUm93AAQAAAAQQ29sdW1uAAAAAAAAA0NvbG9yAFUAAAAQQQD/AAAAEFIA3QAAABBHAN0AAAAQQgDdAAAAAVNjQQAAAAAAAADwPwFTY1IAAAAAgEQj5z8BU2NHAAAAAIBEI+c/AVNjQgAAAACARCPnPwAAAzYyAIgAAAADQ2VsbEFkZHJlc3MAGgAAABBSb3cABQAAABBDb2x1bW4AAAAAAAADQ29sb3IAVQAAABBBAP8AAAAQUgDdAAAAEEcA3QAAABBCAN0AAAABU2NBAAAAAAAAAPA/AVNjUgAAAACARCPnPwFTY0cAAAAAgEQj5z8BU2NCAAAAAIBEI+c/AAADNjMAiAAAAANDZWxsQWRkcmVzcwAaAAAAEFJvdwAGAAAAEENvbHVtbgAAAAAAAANDb2xvcgBVAAAAEEEA/wAAABBSAN0AAAAQRwDdAAAAEEIA3QAAAAFTY0EAAAAAAAAA8D8BU2NSAAAAAIBEI+c/AVNjRwAAAACARCPnPwFTY0IAAAAAgEQj5z8AAAM2NACIAAAAA0NlbGxBZGRyZXNzABoAAAAQUm93AAcAAAAQQ29sdW1uAAAAAAAAA0NvbG9yAFUAAAAQQQD/AAAAEFIA3QAAABBHAN0AAAAQQgDdAAAAAVNjQQAAAAAAAADwPwFTY1IAAAAAgEQj5z8BU2NHAAAAAIBEI+c/AVNjQgAAAACARCPnPwAAAzY1AIgAAAADQ2VsbEFkZHJlc3MAGgAAABBSb3cACAAAABBDb2x1bW4AAAAAAAADQ29sb3IAVQAAABBBAP8AAAAQUgDdAAAAEEcA3QAAABBCAN0AAAABU2NBAAAAAAAAAPA/AVNjUgAAAACARCPnPwFTY0cAAAAAgEQj5z8BU2NCAAAAAIBEI+c/AAADNjYAiAAAAANDZWxsQWRkcmVzcwAaAAAAEFJvdwAJAAAAEENvbHVtbgAAAAAAAANDb2xvcgBVAAAAEEEA/wAAABBSAN0AAAAQRwDdAAAAEEIA3QAAAAFTY0EAAAAAAAAA8D8BU2NSAAAAAIBEI+c/AVNjRwAAAACARCPnPwFTY0IAAAAAgEQj5z8AAAM2NwCIAAAAA0NlbGxBZGRyZXNzABoAAAAQUm93AAoAAAAQQ29sdW1uAAAAAAAAA0NvbG9yAFUAAAAQQQD/AAAAEFIA3QAAABBHAN0AAAAQQgDdAAAAAVNjQQAAAAAAAADwPwFTY1IAAAAAgEQj5z8BU2NHAAAAAIBEI+c/AVNjQgAAAACARCPnPwAAAzY4AIgAAAADQ2VsbEFkZHJlc3MAGgAAABBSb3cACwAAABBDb2x1bW4AAAAAAAADQ29sb3IAVQAAABBBAP8AAAAQUgDdAAAAEEcA3QAAABBCAN0AAAABU2NBAAAAAAAAAPA/AVNjUgAAAACARCPnPwFTY0cAAAAAgEQj5z8BU2NCAAAAAIBEI+c/AAAAAAJOYW1lABsAAABFeGNlbENvbG9yTW9kZURhdGFQcm9wZXJ0eQAQVmVyc2lvbgACAAAACUxhc3RXcml0ZQAADYw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eAQAABf////9fAQAA5w8AAAAAAAAAAAAAbSYAAAVfaWQAEAAAAATuBhso0xxbQY04axUMSzePA0RhdGEAAyYAAAhFeGNlbENvbG9yTW9kZUFjdGl2ZQAACENvbG9yQ2FjaGVSZXBhaXJlZEZvckxpbmtlZENoYXJ0cwAABENvbG9yQ2FjaGUAtyUAAAMwAIgAAAADQ2VsbEFkZHJlc3MAGgAAABBSb3cAAQAAABBDb2x1bW4AAQAAAAADQ29sb3IAVQAAABBBAP8AAAAQUgD4AAAAEEcA+AAAABBCAPgAAAABU2NBAAAAAAAAAPA/AVNjUgAAAACgtgnuPwFTY0cAAAAAoLYJ7j8BU2NCAAAAAKC2Ce4/AAADMQCIAAAAA0NlbGxBZGRyZXNzABoAAAAQUm93AAIAAAAQQ29sdW1uAAEAAAAAA0NvbG9yAFUAAAAQQQD/AAAAEFIA+AAAABBHAPgAAAAQQgD4AAAAAVNjQQAAAAAAAADwPwFTY1IAAAAAoLYJ7j8BU2NHAAAAAKC2Ce4/AVNjQgAAAACgtgnuPwAAAzIAiAAAAANDZWxsQWRkcmVzcwAaAAAAEFJvdwADAAAAEENvbHVtbgABAAAAAANDb2xvcgBVAAAAEEEA/wAAABBSAPgAAAAQRwD4AAAAEEIA+AAAAAFTY0EAAAAAAAAA8D8BU2NSAAAAAKC2Ce4/AVNjRwAAAACgtgnuPwFTY0IAAAAAoLYJ7j8AAAMzAIgAAAADQ2VsbEFkZHJlc3MAGgAAABBSb3cABAAAABBDb2x1bW4AAQAAAAADQ29sb3IAVQAAABBBAP8AAAAQUgD4AAAAEEcA+AAAABBCAPgAAAABU2NBAAAAAAAAAPA/AVNjUgAAAACgtgnuPwFTY0cAAAAAoLYJ7j8BU2NCAAAAAKC2Ce4/AAADNACIAAAAA0NlbGxBZGRyZXNzABoAAAAQUm93AAUAAAAQQ29sdW1uAAEAAAAAA0NvbG9yAFUAAAAQQQD/AAAAEFIA+AAAABBHAPgAAAAQQgD4AAAAAVNjQQAAAAAAAADwPwFTY1IAAAAAoLYJ7j8BU2NHAAAAAKC2Ce4/AVNjQgAAAACgtgnuPwAAAzUAiAAAAANDZWxsQWRkcmVzcwAaAAAAEFJvdwAGAAAAEENvbHVtbgABAAAAAANDb2xvcgBVAAAAEEEA/wAAABBSAPgAAAAQRwD4AAAAEEIA+AAAAAFTY0EAAAAAAAAA8D8BU2NSAAAAAKC2Ce4/AVNjRwAAAACgtgnuPwFTY0IAAAAAoLYJ7j8AAAM2AIgAAAADQ2VsbEFkZHJlc3MAGgAAABBSb3cABwAAABBDb2x1bW4AAQAAAAADQ29sb3IAVQAAABBBAP8AAAAQUgD4AAAAEEcA+AAAABBCAPgAAAABU2NBAAAAAAAAAPA/AVNjUgAAAACgtgnuPwFTY0cAAAAAoLYJ7j8BU2NCAAAAAKC2Ce4/AAADNwCIAAAAA0NlbGxBZGRyZXNzABoAAAAQUm93AAgAAAAQQ29sdW1uAAEAAAAAA0NvbG9yAFUAAAAQQQD/AAAAEFIA+AAAABBHAPgAAAAQQgD4AAAAAVNjQQAAAAAAAADwPwFTY1IAAAAAoLYJ7j8BU2NHAAAAAKC2Ce4/AVNjQgAAAACgtgnuPwAAAzgAiAAAAANDZWxsQWRkcmVzcwAaAAAAEFJvdwAJAAAAEENvbHVtbgABAAAAAANDb2xvcgBVAAAAEEEA/wAAABBSAPgAAAAQRwD4AAAAEEIA+AAAAAFTY0EAAAAAAAAA8D8BU2NSAAAAAKC2Ce4/AVNjRwAAAACgtgnuPwFTY0IAAAAAoLYJ7j8AAAM5AIgAAAADQ2VsbEFkZHJlc3MAGgAAABBSb3cACgAAABBDb2x1bW4AAQAAAAADQ29sb3IAVQAAABBBAP8AAAAQUgD4AAAAEEcA+AAAABBCAPgAAAABU2NBAAAAAAAAAPA/AVNjUgAAAACgtgnuPwFTY0cAAAAAoLYJ7j8BU2NCAAAAAKC2Ce4/AAADMTAAiAAAAANDZWxsQWRkcmVzcwAaAAAAEFJvdwALAAAAEENvbHVtbgABAAAAAANDb2xvcgBVAAAAEEEA/wAAABBSAPgAAAAQRwD4AAAAEEIA+AAAAAFTY0EAAAAAAAAA8D8BU2NSAAAAAKC2Ce4/AVNjRwAAAACgtgnuPwFTY0IAAAAAoLYJ7j8AAAMxMQCIAAAAA0NlbGxBZGRyZXNzABoAAAAQUm93AAEAAAAQQ29sdW1uAAIAAAAAA0NvbG9yAFUAAAAQQQD/AAAAEFIA+AAAABBHAPgAAAAQQgD4AAAAAVNjQQAAAAAAAADwPwFTY1IAAAAAoLYJ7j8BU2NHAAAAAKC2Ce4/AVNjQgAAAACgtgnuPwAAAzEyAIgAAAADQ2VsbEFkZHJlc3MAGgAAABBSb3cAAgAAABBDb2x1bW4AAgAAAAADQ29sb3IAVQAAABBBAP8AAAAQUgD4AAAAEEcA+AAAABBCAPgAAAABU2NBAAAAAAAAAPA/AVNjUgAAAACgtgnuPwFTY0cAAAAAoLYJ7j8BU2NCAAAAAKC2Ce4/AAADMTMAiAAAAANDZWxsQWRkcmVzcwAaAAAAEFJvdwADAAAAEENvbHVtbgACAAAAAANDb2xvcgBVAAAAEEEA/wAAABBSAPgAAAAQRwD4AAAAEEIA+AAAAAFTY0EAAAAAAAAA8D8BU2NSAAAAAKC2Ce4/AVNjRwAAAACgtgnuPwFTY0IAAAAAoLYJ7j8AAAMxNACIAAAAA0NlbGxBZGRyZXNzABoAAAAQUm93AAQAAAAQQ29sdW1uAAIAAAAAA0NvbG9yAFUAAAAQQQD/AAAAEFIA+AAAABBHAPgAAAAQQgD4AAAAAVNjQQAAAAAAAADwPwFTY1IAAAAAoLYJ7j8BU2NHAAAAAKC2Ce4/AVNjQgAAAACgtgnuPwAAAzE1AIgAAAADQ2VsbEFkZHJlc3MAGgAAABBSb3cABQAAABBDb2x1bW4AAgAAAAADQ29sb3IAVQAAABBBAP8AAAAQUgD4AAAAEEcA+AAAABBCAPgAAAABU2NBAAAAAAAAAPA/AVNjUgAAAACgtgnuPwFTY0cAAAAAoLYJ7j8BU2NCAAAAAKC2Ce4/AAADMTYAiAAAAANDZWxsQWRkcmVzcwAaAAAAEFJvdwAGAAAAEENvbHVtbgACAAAAAANDb2xvcgBVAAAAEEEA/wAAABBSAPgAAAAQRwD4AAAAEEIA+AAAAAFTY0EAAAAAAAAA8D8BU2NSAAAAAKC2Ce4/AVNjRwAAAACgtgnuPwFTY0IAAAAAoLYJ7j8AAAMxNwCIAAAAA0NlbGxBZGRyZXNzABoAAAAQUm93AAcAAAAQQ29sdW1uAAIAAAAAA0NvbG9yAFUAAAAQQQD/AAAAEFIA+AAAABBHAPgAAAAQQgD4AAAAAVNjQQAAAAAAAADwPwFTY1IAAAAAoLYJ7j8BU2NHAAAAAKC2Ce4/AVNjQgAAAACgtgnuPwAAAzE4AIgAAAADQ2VsbEFkZHJlc3MAGgAAABBSb3cACAAAABBDb2x1bW4AAgAAAAADQ29sb3IAVQAAABBBAP8AAAAQUgD4AAAAEEcA+AAAABBCAPgAAAABU2NBAAAAAAAAAPA/AVNjUgAAAACgtgnuPwFTY0cAAAAAoLYJ7j8BU2NCAAAAAKC2Ce4/AAADMTkAiAAAAANDZWxsQWRkcmVzcwAaAAAAEFJvdwAJAAAAEENvbHVtbgACAAAAAANDb2xvcgBVAAAAEEEA/wAAABBSAPgAAAAQRwD4AAAAEEIA+AAAAAFTY0EAAAAAAAAA8D8BU2NSAAAAAKC2Ce4/AVNjRwAAAACgtgnuPwFTY0IAAAAAoLYJ7j8AAAMyMACIAAAAA0NlbGxBZGRyZXNzABoAAAAQUm93AAoAAAAQQ29sdW1uAAIAAAAAA0NvbG9yAFUAAAAQQQD/AAAAEFIA+AAAABBHAPgAAAAQQgD4AAAAAVNjQQAAAAAAAADwPwFTY1IAAAAAoLYJ7j8BU2NHAAAAAKC2Ce4/AVNjQgAAAACgtgnuPwAAAzIxAIgAAAADQ2VsbEFkZHJlc3MAGgAAABBSb3cACwAAABBDb2x1bW4AAgAAAAADQ29sb3IAVQAAABBBAP8AAAAQUgD4AAAAEEcA+AAAABBCAPgAAAABU2NBAAAAAAAAAPA/AVNjUgAAAACgtgnuPwFTY0cAAAAAoLYJ7j8BU2NCAAAAAKC2Ce4/AAADMjIAiAAAAANDZWxsQWRkcmVzcwAaAAAAEFJvdwABAAAAEENvbHVtbgADAAAAAANDb2xvcgBVAAAAEEEA/wAAABBSAPgAAAAQRwD4AAAAEEIA+AAAAAFTY0EAAAAAAAAA8D8BU2NSAAAAAKC2Ce4/AVNjRwAAAACgtgnuPwFTY0IAAAAAoLYJ7j8AAAMyMwCIAAAAA0NlbGxBZGRyZXNzABoAAAAQUm93AAIAAAAQQ29sdW1uAAMAAAAAA0NvbG9yAFUAAAAQQQD/AAAAEFIA+AAAABBHAPgAAAAQQgD4AAAAAVNjQQAAAAAAAADwPwFTY1IAAAAAoLYJ7j8BU2NHAAAAAKC2Ce4/AVNjQgAAAACgtgnuPwAAAzI0AIgAAAADQ2VsbEFkZHJlc3MAGgAAABBSb3cAAwAAABBDb2x1bW4AAwAAAAADQ29sb3IAVQAAABBBAP8AAAAQUgD4AAAAEEcA+AAAABBCAPgAAAABU2NBAAAAAAAAAPA/AVNjUgAAAACgtgnuPwFTY0cAAAAAoLYJ7j8BU2NCAAAAAKC2Ce4/AAADMjUAiAAAAANDZWxsQWRkcmVzcwAaAAAAEFJvdwAEAAAAEENvbHVtbgADAAAAAANDb2xvcgBVAAAAEEEA/wAAABBSAPgAAAAQRwD4AAAAEEIA+AAAAAFTY0EAAAAAAAAA8D8BU2NSAAAAAKC2Ce4/AVNjRwAAAACgtgnuPwFTY0IAAAAAoLYJ7j8AAAMyNgCIAAAAA0NlbGxBZGRyZXNzABoAAAAQUm93AAUAAAAQQ29sdW1uAAMAAAAAA0NvbG9yAFUAAAAQQQD/AAAAEFIA+AAAABBHAPgAAAAQQgD4AAAAAVNjQQAAAAAAAADwPwFTY1IAAAAAoLYJ7j8BU2NHAAAAAKC2Ce4/AVNjQgAAAACgtgnuPwAAAzI3AIgAAAADQ2VsbEFkZHJlc3MAGgAAABBSb3cABgAAABBDb2x1bW4AAwAAAAADQ29sb3IAVQAAABBBAP8AAAAQUgD4AAAAEEcA+AAAABBCAPgAAAABU2NBAAAAAAAAAPA/AVNjUgAAAACgtgnuPwFTY0cAAAAAoLYJ7j8BU2NCAAAAAKC2Ce4/AAADMjgAiAAAAANDZWxsQWRkcmVzcwAaAAAAEFJvdwAHAAAAEENvbHVtbgADAAAAXwEAAAVeAQAAXQEAAOcPAAAAAAAAAAAAAAADQ29sb3IAVQAAABBBAP8AAAAQUgD4AAAAEEcA+AAAABBCAPgAAAABU2NBAAAAAAAAAPA/AVNjUgAAAACgtgnuPwFTY0cAAAAAoLYJ7j8BU2NCAAAAAKC2Ce4/AAADMjkAiAAAAANDZWxsQWRkcmVzcwAaAAAAEFJvdwAIAAAAEENvbHVtbgADAAAAAANDb2xvcgBVAAAAEEEA/wAAABBSAPgAAAAQRwD4AAAAEEIA+AAAAAFTY0EAAAAAAAAA8D8BU2NSAAAAAKC2Ce4/AVNjRwAAAACgtgnuPwFTY0IAAAAAoLYJ7j8AAAMzMACIAAAAA0NlbGxBZGRyZXNzABoAAAAQUm93AAkAAAAQQ29sdW1uAAMAAAAAA0NvbG9yAFUAAAAQQQD/AAAAEFIA+AAAABBHAPgAAAAQQgD4AAAAAVNjQQAAAAAAAADwPwFTY1IAAAAAoLYJ7j8BU2NHAAAAAKC2Ce4/AVNjQgAAAACgtgnuPwAAAzMxAIgAAAADQ2VsbEFkZHJlc3MAGgAAABBSb3cACgAAABBDb2x1bW4AAwAAAAADQ29sb3IAVQAAABBBAP8AAAAQUgD4AAAAEEcA+AAAABBCAPgAAAABU2NBAAAAAAAAAPA/AVNjUgAAAACgtgnuPwFTY0cAAAAAoLYJ7j8BU2NCAAAAAKC2Ce4/AAADMzIAiAAAAANDZWxsQWRkcmVzcwAaAAAAEFJvdwALAAAAEENvbHVtbgADAAAAAANDb2xvcgBVAAAAEEEA/wAAABBSAPgAAAAQRwD4AAAAEEIA+AAAAAFTY0EAAAAAAAAA8D8BU2NSAAAAAKC2Ce4/AVNjRwAAAACgtgnuPwFTY0IAAAAAoLYJ7j8AAAMzMwCIAAAAA0NlbGxBZGRyZXNzABoAAAAQUm93AAEAAAAQQ29sdW1uAAQAAAAAA0NvbG9yAFUAAAAQQQD/AAAAEFIA+AAAABBHAPgAAAAQQgD4AAAAAVNjQQAAAAAAAADwPwFTY1IAAAAAoLYJ7j8BU2NHAAAAAKC2Ce4/AVNjQgAAAACgtgnuPwAAAzM0AIgAAAADQ2VsbEFkZHJlc3MAGgAAABBSb3cAAgAAABBDb2x1bW4ABAAAAAADQ29sb3IAVQAAABBBAP8AAAAQUgD4AAAAEEcA+AAAABBCAPgAAAABU2NBAAAAAAAAAPA/AVNjUgAAAACgtgnuPwFTY0cAAAAAoLYJ7j8BU2NCAAAAAKC2Ce4/AAADMzUAiAAAAANDZWxsQWRkcmVzcwAaAAAAEFJvdwADAAAAEENvbHVtbgAEAAAAAANDb2xvcgBVAAAAEEEA/wAAABBSAPgAAAAQRwD4AAAAEEIA+AAAAAFTY0EAAAAAAAAA8D8BU2NSAAAAAKC2Ce4/AVNjRwAAAACgtgnuPwFTY0IAAAAAoLYJ7j8AAAMzNgCIAAAAA0NlbGxBZGRyZXNzABoAAAAQUm93AAQAAAAQQ29sdW1uAAQAAAAAA0NvbG9yAFUAAAAQQQD/AAAAEFIA+AAAABBHAPgAAAAQQgD4AAAAAVNjQQAAAAAAAADwPwFTY1IAAAAAoLYJ7j8BU2NHAAAAAKC2Ce4/AVNjQgAAAACgtgnuPwAAAzM3AIgAAAADQ2VsbEFkZHJlc3MAGgAAABBSb3cABQAAABBDb2x1bW4ABAAAAAADQ29sb3IAVQAAABBBAP8AAAAQUgD4AAAAEEcA+AAAABBCAPgAAAABU2NBAAAAAAAAAPA/AVNjUgAAAACgtgnuPwFTY0cAAAAAoLYJ7j8BU2NCAAAAAKC2Ce4/AAADMzgAiAAAAANDZWxsQWRkcmVzcwAaAAAAEFJvdwAGAAAAEENvbHVtbgAEAAAAAANDb2xvcgBVAAAAEEEA/wAAABBSAPgAAAAQRwD4AAAAEEIA+AAAAAFTY0EAAAAAAAAA8D8BU2NSAAAAAKC2Ce4/AVNjRwAAAACgtgnuPwFTY0IAAAAAoLYJ7j8AAAMzOQCIAAAAA0NlbGxBZGRyZXNzABoAAAAQUm93AAcAAAAQQ29sdW1uAAQAAAAAA0NvbG9yAFUAAAAQQQD/AAAAEFIA+AAAABBHAPgAAAAQQgD4AAAAAVNjQQAAAAAAAADwPwFTY1IAAAAAoLYJ7j8BU2NHAAAAAKC2Ce4/AVNjQgAAAACgtgnuPwAAAzQwAIgAAAADQ2VsbEFkZHJlc3MAGgAAABBSb3cACAAAABBDb2x1bW4ABAAAAAADQ29sb3IAVQAAABBBAP8AAAAQUgD4AAAAEEcA+AAAABBCAPgAAAABU2NBAAAAAAAAAPA/AVNjUgAAAACgtgnuPwFTY0cAAAAAoLYJ7j8BU2NCAAAAAKC2Ce4/AAADNDEAiAAAAANDZWxsQWRkcmVzcwAaAAAAEFJvdwAJAAAAEENvbHVtbgAEAAAAAANDb2xvcgBVAAAAEEEA/wAAABBSAPgAAAAQRwD4AAAAEEIA+AAAAAFTY0EAAAAAAAAA8D8BU2NSAAAAAKC2Ce4/AVNjRwAAAACgtgnuPwFTY0IAAAAAoLYJ7j8AAAM0MgCIAAAAA0NlbGxBZGRyZXNzABoAAAAQUm93AAoAAAAQQ29sdW1uAAQAAAAAA0NvbG9yAFUAAAAQQQD/AAAAEFIA+AAAABBHAPgAAAAQQgD4AAAAAVNjQQAAAAAAAADwPwFTY1IAAAAAoLYJ7j8BU2NHAAAAAKC2Ce4/AVNjQgAAAACgtgnuPwAAAzQzAIgAAAADQ2VsbEFkZHJlc3MAGgAAABBSb3cACwAAABBDb2x1bW4ABAAAAAADQ29sb3IAVQAAABBBAP8AAAAQUgD4AAAAEEcA+AAAABBCAPgAAAABU2NBAAAAAAAAAPA/AVNjUgAAAACgtgnuPwFTY0cAAAAAoLYJ7j8BU2NCAAAAAKC2Ce4/AAADNDQAiAAAAANDZWxsQWRkcmVzcwAaAAAAEFJvdwABAAAAEENvbHVtbgAFAAAAAANDb2xvcgBVAAAAEEEA/wAAABBSAPgAAAAQRwD4AAAAEEIA+AAAAAFTY0EAAAAAAAAA8D8BU2NSAAAAAKC2Ce4/AVNjRwAAAACgtgnuPwFTY0IAAAAAoLYJ7j8AAAM0NQCIAAAAA0NlbGxBZGRyZXNzABoAAAAQUm93AAIAAAAQQ29sdW1uAAUAAAAAA0NvbG9yAFUAAAAQQQD/AAAAEFIA+AAAABBHAPgAAAAQQgD4AAAAAVNjQQAAAAAAAADwPwFTY1IAAAAAoLYJ7j8BU2NHAAAAAKC2Ce4/AVNjQgAAAACgtgnuPwAAAzQ2AIgAAAADQ2VsbEFkZHJlc3MAGgAAABBSb3cAAwAAABBDb2x1bW4ABQAAAAADQ29sb3IAVQAAABBBAP8AAAAQUgD4AAAAEEcA+AAAABBCAPgAAAABU2NBAAAAAAAAAPA/AVNjUgAAAACgtgnuPwFTY0cAAAAAoLYJ7j8BU2NCAAAAAKC2Ce4/AAADNDcAiAAAAANDZWxsQWRkcmVzcwAaAAAAEFJvdwAEAAAAEENvbHVtbgAFAAAAAANDb2xvcgBVAAAAEEEA/wAAABBSAPgAAAAQRwD4AAAAEEIA+AAAAAFTY0EAAAAAAAAA8D8BU2NSAAAAAKC2Ce4/AVNjRwAAAACgtgnuPwFTY0IAAAAAoLYJ7j8AAAM0OACIAAAAA0NlbGxBZGRyZXNzABoAAAAQUm93AAUAAAAQQ29sdW1uAAUAAAAAA0NvbG9yAFUAAAAQQQD/AAAAEFIA+AAAABBHAPgAAAAQQgD4AAAAAVNjQQAAAAAAAADwPwFTY1IAAAAAoLYJ7j8BU2NHAAAAAKC2Ce4/AVNjQgAAAACgtgnuPwAAAzQ5AIgAAAADQ2VsbEFkZHJlc3MAGgAAABBSb3cABgAAABBDb2x1bW4ABQAAAAADQ29sb3IAVQAAABBBAP8AAAAQUgD4AAAAEEcA+AAAABBCAPgAAAABU2NBAAAAAAAAAPA/AVNjUgAAAACgtgnuPwFTY0cAAAAAoLYJ7j8BU2NCAAAAAKC2Ce4/AAADNTAAiAAAAANDZWxsQWRkcmVzcwAaAAAAEFJvdwAHAAAAEENvbHVtbgAFAAAAAANDb2xvcgBVAAAAEEEA/wAAABBSAPgAAAAQRwD4AAAAEEIA+AAAAAFTY0EAAAAAAAAA8D8BU2NSAAAAAKC2Ce4/AVNjRwAAAACgtgnuPwFTY0IAAAAAoLYJ7j8AAAM1MQCIAAAAA0NlbGxBZGRyZXNzABoAAAAQUm93AAgAAAAQQ29sdW1uAAUAAAAAA0NvbG9yAFUAAAAQQQD/AAAAEFIA+AAAABBHAPgAAAAQQgD4AAAAAVNjQQAAAAAAAADwPwFTY1IAAAAAoLYJ7j8BU2NHAAAAAKC2Ce4/AVNjQgAAAACgtgnuPwAAAzUyAIgAAAADQ2VsbEFkZHJlc3MAGgAAABBSb3cACQAAABBDb2x1bW4ABQAAAAADQ29sb3IAVQAAABBBAP8AAAAQUgD4AAAAEEcA+AAAABBCAPgAAAABU2NBAAAAAAAAAPA/AVNjUgAAAACgtgnuPwFTY0cAAAAAoLYJ7j8BU2NCAAAAAKC2Ce4/AAADNTMAiAAAAANDZWxsQWRkcmVzcwAaAAAAEFJvdwAKAAAAEENvbHVtbgAFAAAAAANDb2xvcgBVAAAAEEEA/wAAABBSAPgAAAAQRwD4AAAAEEIA+AAAAAFTY0EAAAAAAAAA8D8BU2NSAAAAAKC2Ce4/AVNjRwAAAACgtgnuPwFTY0IAAAAAoLYJ7j8AAAM1NACIAAAAA0NlbGxBZGRyZXNzABoAAAAQUm93AAsAAAAQQ29sdW1uAAUAAAAAA0NvbG9yAFUAAAAQQQD/AAAAEFIA+AAAABBHAPgAAAAQQgD4AAAAAVNjQQAAAAAAAADwPwFTY1IAAAAAoLYJ7j8BU2NHAAAAAKC2Ce4/AVNjQgAAAACgtgnuPwAAAzU1AIgAAAADQ2VsbEFkZHJlc3MAGgAAABBSb3cAAAAAABBDb2x1bW4AAAAAAAADQ29sb3IAVQAAABBBAP8AAAAQUgCmAAAAEEcApgAAABBCAKYAAAABU2NBAAAAAAAAAPA/AVNjUgAAAABgpWfYPwFTY0cAAAAAYKVn2D8BU2NCAAAAAGClZ9g/AAADNTYAiAAAAANDZWxsQWRkcmVzcwAaAAAAEFJvdwAAAAAAEENvbHVtbgABAAAAAANDb2xvcgBVAAAAEEEA/wAAABBSAKYAAAAQRwCmAAAAEEIApgAAAAFTY0EAAAAAAAAA8D8BU2NSAAAAAGClZ9g/AVNjRwAAAABgpWfYPwFTY0IAAAAAYKVn2D8AAAM1NwCIAAAAA0NlbGxBZGRyZXNzABoAAAAQUm93AAAAAAAQQ29sdW1uAAIAAAAAA0NvbG9yAFUAAGABAAAF/////2EBAADnDwAAAAAAAAAAAABtJgAABV9pZAAQAAAABHcdaUJq3etNlaWb2Jau324DRGF0YQADJgAACEV4Y2VsQ29sb3JNb2RlQWN0aXZlAAAIQ29sb3JDYWNoZVJlcGFpcmVkRm9yTGlua2VkQ2hhcnRzAAAEQ29sb3JDYWNoZQC3JQAAAzAAiAAAAANDZWxsQWRkcmVzcwAaAAAAEFJvdwABAAAAEENvbHVtbgABAAAAAANDb2xvcgBVAAAAEEEA/wAAABBSAPgAAAAQRwD4AAAAEEIA+AAAAAFTY0EAAAAAAAAA8D8BU2NSAAAAAKC2Ce4/AVNjRwAAAACgtgnuPwFTY0IAAAAAoLYJ7j8AAAMxAIgAAAADQ2VsbEFkZHJlc3MAGgAAABBSb3cAAgAAABBDb2x1bW4AAQAAAAADQ29sb3IAVQAAABBBAP8AAAAQUgD4AAAAEEcA+AAAABBCAPgAAAABU2NBAAAAAAAAAPA/AVNjUgAAAACgtgnuPwFTY0cAAAAAoLYJ7j8BU2NCAAAAAKC2Ce4/AAADMgCIAAAAA0NlbGxBZGRyZXNzABoAAAAQUm93AAMAAAAQQ29sdW1uAAEAAAAAA0NvbG9yAFUAAAAQQQD/AAAAEFIA+AAAABBHAPgAAAAQQgD4AAAAAVNjQQAAAAAAAADwPwFTY1IAAAAAoLYJ7j8BU2NHAAAAAKC2Ce4/AVNjQgAAAACgtgnuPwAAAzMAiAAAAANDZWxsQWRkcmVzcwAaAAAAEFJvdwAEAAAAEENvbHVtbgABAAAAAANDb2xvcgBVAAAAEEEA/wAAABBSAPgAAAAQRwD4AAAAEEIA+AAAAAFTY0EAAAAAAAAA8D8BU2NSAAAAAKC2Ce4/AVNjRwAAAACgtgnuPwFTY0IAAAAAoLYJ7j8AAAM0AIgAAAADQ2VsbEFkZHJlc3MAGgAAABBSb3cABQAAABBDb2x1bW4AAQAAAAADQ29sb3IAVQAAABBBAP8AAAAQUgD4AAAAEEcA+AAAABBCAPgAAAABU2NBAAAAAAAAAPA/AVNjUgAAAACgtgnuPwFTY0cAAAAAoLYJ7j8BU2NCAAAAAKC2Ce4/AAADNQCIAAAAA0NlbGxBZGRyZXNzABoAAAAQUm93AAYAAAAQQ29sdW1uAAEAAAAAA0NvbG9yAFUAAAAQQQD/AAAAEFIA+AAAABBHAPgAAAAQQgD4AAAAAVNjQQAAAAAAAADwPwFTY1IAAAAAoLYJ7j8BU2NHAAAAAKC2Ce4/AVNjQgAAAACgtgnuPwAAAzYAiAAAAANDZWxsQWRkcmVzcwAaAAAAEFJvdwAHAAAAEENvbHVtbgABAAAAAANDb2xvcgBVAAAAEEEA/wAAABBSAPgAAAAQRwD4AAAAEEIA+AAAAAFTY0EAAAAAAAAA8D8BU2NSAAAAAKC2Ce4/AVNjRwAAAACgtgnuPwFTY0IAAAAAoLYJ7j8AAAM3AIgAAAADQ2VsbEFkZHJlc3MAGgAAABBSb3cACAAAABBDb2x1bW4AAQAAAAADQ29sb3IAVQAAABBBAP8AAAAQUgD4AAAAEEcA+AAAABBCAPgAAAABU2NBAAAAAAAAAPA/AVNjUgAAAACgtgnuPwFTY0cAAAAAoLYJ7j8BU2NCAAAAAKC2Ce4/AAADOACIAAAAA0NlbGxBZGRyZXNzABoAAAAQUm93AAkAAAAQQ29sdW1uAAEAAAAAA0NvbG9yAFUAAAAQQQD/AAAAEFIA+AAAABBHAPgAAAAQQgD4AAAAAVNjQQAAAAAAAADwPwFTY1IAAAAAoLYJ7j8BU2NHAAAAAKC2Ce4/AVNjQgAAAACgtgnuPwAAAzkAiAAAAANDZWxsQWRkcmVzcwAaAAAAEFJvdwAKAAAAEENvbHVtbgABAAAAAANDb2xvcgBVAAAAEEEA/wAAABBSAPgAAAAQRwD4AAAAEEIA+AAAAAFTY0EAAAAAAAAA8D8BU2NSAAAAAKC2Ce4/AVNjRwAAAACgtgnuPwFTY0IAAAAAoLYJ7j8AAAMxMACIAAAAA0NlbGxBZGRyZXNzABoAAAAQUm93AAsAAAAQQ29sdW1uAAEAAAAAA0NvbG9yAFUAAAAQQQD/AAAAEFIA+AAAABBHAPgAAAAQQgD4AAAAAVNjQQAAAAAAAADwPwFTY1IAAAAAoLYJ7j8BU2NHAAAAAKC2Ce4/AVNjQgAAAACgtgnuPwAAAzExAIgAAAADQ2VsbEFkZHJlc3MAGgAAABBSb3cAAQAAABBDb2x1bW4AAgAAAAADQ29sb3IAVQAAABBBAP8AAAAQUgD4AAAAEEcA+AAAABBCAPgAAAABU2NBAAAAAAAAAPA/AVNjUgAAAACgtgnuPwFTY0cAAAAAoLYJ7j8BU2NCAAAAAKC2Ce4/AAADMTIAiAAAAANDZWxsQWRkcmVzcwAaAAAAEFJvdwACAAAAEENvbHVtbgACAAAAAANDb2xvcgBVAAAAEEEA/wAAABBSAPgAAAAQRwD4AAAAEEIA+AAAAAFTY0EAAAAAAAAA8D8BU2NSAAAAAKC2Ce4/AVNjRwAAAACgtgnuPwFTY0IAAAAAoLYJ7j8AAAMxMwCIAAAAA0NlbGxBZGRyZXNzABoAAAAQUm93AAMAAAAQQ29sdW1uAAIAAAAAA0NvbG9yAFUAAAAQQQD/AAAAEFIA+AAAABBHAPgAAAAQQgD4AAAAAVNjQQAAAAAAAADwPwFTY1IAAAAAoLYJ7j8BU2NHAAAAAKC2Ce4/AVNjQgAAAACgtgnuPwAAAzE0AIgAAAADQ2VsbEFkZHJlc3MAGgAAABBSb3cABAAAABBDb2x1bW4AAgAAAAADQ29sb3IAVQAAABBBAP8AAAAQUgD4AAAAEEcA+AAAABBCAPgAAAABU2NBAAAAAAAAAPA/AVNjUgAAAACgtgnuPwFTY0cAAAAAoLYJ7j8BU2NCAAAAAKC2Ce4/AAADMTUAiAAAAANDZWxsQWRkcmVzcwAaAAAAEFJvdwAFAAAAEENvbHVtbgACAAAAAANDb2xvcgBVAAAAEEEA/wAAABBSAPgAAAAQRwD4AAAAEEIA+AAAAAFTY0EAAAAAAAAA8D8BU2NSAAAAAKC2Ce4/AVNjRwAAAACgtgnuPwFTY0IAAAAAoLYJ7j8AAAMxNgCIAAAAA0NlbGxBZGRyZXNzABoAAAAQUm93AAYAAAAQQ29sdW1uAAIAAAAAA0NvbG9yAFUAAAAQQQD/AAAAEFIA+AAAABBHAPgAAAAQQgD4AAAAAVNjQQAAAAAAAADwPwFTY1IAAAAAoLYJ7j8BU2NHAAAAAKC2Ce4/AVNjQgAAAACgtgnuPwAAAzE3AIgAAAADQ2VsbEFkZHJlc3MAGgAAABBSb3cABwAAABBDb2x1bW4AAgAAAAADQ29sb3IAVQAAABBBAP8AAAAQUgD4AAAAEEcA+AAAABBCAPgAAAABU2NBAAAAAAAAAPA/AVNjUgAAAACgtgnuPwFTY0cAAAAAoLYJ7j8BU2NCAAAAAKC2Ce4/AAADMTgAiAAAAANDZWxsQWRkcmVzcwAaAAAAEFJvdwAIAAAAEENvbHVtbgACAAAAAANDb2xvcgBVAAAAEEEA/wAAABBSAPgAAAAQRwD4AAAAEEIA+AAAAAFTY0EAAAAAAAAA8D8BU2NSAAAAAKC2Ce4/AVNjRwAAAACgtgnuPwFTY0IAAAAAoLYJ7j8AAAMxOQCIAAAAA0NlbGxBZGRyZXNzABoAAAAQUm93AAkAAAAQQ29sdW1uAAIAAAAAA0NvbG9yAFUAAAAQQQD/AAAAEFIA+AAAABBHAPgAAAAQQgD4AAAAAVNjQQAAAAAAAADwPwFTY1IAAAAAoLYJ7j8BU2NHAAAAAKC2Ce4/AVNjQgAAAACgtgnuPwAAAzIwAIgAAAADQ2VsbEFkZHJlc3MAGgAAABBSb3cACgAAABBDb2x1bW4AAgAAAAADQ29sb3IAVQAAABBBAP8AAAAQUgD4AAAAEEcA+AAAABBCAPgAAAABU2NBAAAAAAAAAPA/AVNjUgAAAACgtgnuPwFTY0cAAAAAoLYJ7j8BU2NCAAAAAKC2Ce4/AAADMjEAiAAAAANDZWxsQWRkcmVzcwAaAAAAEFJvdwALAAAAEENvbHVtbgACAAAAAANDb2xvcgBVAAAAEEEA/wAAABBSAPgAAAAQRwD4AAAAEEIA+AAAAAFTY0EAAAAAAAAA8D8BU2NSAAAAAKC2Ce4/AVNjRwAAAACgtgnuPwFTY0IAAAAAoLYJ7j8AAAMyMgCIAAAAA0NlbGxBZGRyZXNzABoAAAAQUm93AAEAAAAQQ29sdW1uAAMAAAAAA0NvbG9yAFUAAAAQQQD/AAAAEFIA+AAAABBHAPgAAAAQQgD4AAAAAVNjQQAAAAAAAADwPwFTY1IAAAAAoLYJ7j8BU2NHAAAAAKC2Ce4/AVNjQgAAAACgtgnuPwAAAzIzAIgAAAADQ2VsbEFkZHJlc3MAGgAAABBSb3cAAgAAABBDb2x1bW4AAwAAAAADQ29sb3IAVQAAABBBAP8AAAAQUgD4AAAAEEcA+AAAABBCAPgAAAABU2NBAAAAAAAAAPA/AVNjUgAAAACgtgnuPwFTY0cAAAAAoLYJ7j8BU2NCAAAAAKC2Ce4/AAADMjQAiAAAAANDZWxsQWRkcmVzcwAaAAAAEFJvdwADAAAAEENvbHVtbgADAAAAAANDb2xvcgBVAAAAEEEA/wAAABBSAPgAAAAQRwD4AAAAEEIA+AAAAAFTY0EAAAAAAAAA8D8BU2NSAAAAAKC2Ce4/AVNjRwAAAACgtgnuPwFTY0IAAAAAoLYJ7j8AAAMyNQCIAAAAA0NlbGxBZGRyZXNzABoAAAAQUm93AAQAAAAQQ29sdW1uAAMAAAAAA0NvbG9yAFUAAAAQQQD/AAAAEFIA+AAAABBHAPgAAAAQQgD4AAAAAVNjQQAAAAAAAADwPwFTY1IAAAAAoLYJ7j8BU2NHAAAAAKC2Ce4/AVNjQgAAAACgtgnuPwAAAzI2AIgAAAADQ2VsbEFkZHJlc3MAGgAAABBSb3cABQAAABBDb2x1bW4AAwAAAAADQ29sb3IAVQAAABBBAP8AAAAQUgD4AAAAEEcA+AAAABBCAPgAAAABU2NBAAAAAAAAAPA/AVNjUgAAAACgtgnuPwFTY0cAAAAAoLYJ7j8BU2NCAAAAAKC2Ce4/AAADMjcAiAAAAANDZWxsQWRkcmVzcwAaAAAAEFJvdwAGAAAAEENvbHVtbgADAAAAAANDb2xvcgBVAAAAEEEA/wAAABBSAPgAAAAQRwD4AAAAEEIA+AAAAAFTY0EAAAAAAAAA8D8BU2NSAAAAAKC2Ce4/AVNjRwAAAACgtgnuPwFTY0IAAAAAoLYJ7j8AAAMyOACIAAAAA0NlbGxBZGRyZXNzABoAAAAQUm93AAcAAAAQQ29sdW1uAAMAAABhAQAABWABAABcAQAA5w8AAAAAAAAAAAAAAANDb2xvcgBVAAAAEEEA/wAAABBSAPgAAAAQRwD4AAAAEEIA+AAAAAFTY0EAAAAAAAAA8D8BU2NSAAAAAKC2Ce4/AVNjRwAAAACgtgnuPwFTY0IAAAAAoLYJ7j8AAAMyOQCIAAAAA0NlbGxBZGRyZXNzABoAAAAQUm93AAgAAAAQQ29sdW1uAAMAAAAAA0NvbG9yAFUAAAAQQQD/AAAAEFIA+AAAABBHAPgAAAAQQgD4AAAAAVNjQQAAAAAAAADwPwFTY1IAAAAAoLYJ7j8BU2NHAAAAAKC2Ce4/AVNjQgAAAACgtgnuPwAAAzMwAIgAAAADQ2VsbEFkZHJlc3MAGgAAABBSb3cACQAAABBDb2x1bW4AAwAAAAADQ29sb3IAVQAAABBBAP8AAAAQUgD4AAAAEEcA+AAAABBCAPgAAAABU2NBAAAAAAAAAPA/AVNjUgAAAACgtgnuPwFTY0cAAAAAoLYJ7j8BU2NCAAAAAKC2Ce4/AAADMzEAiAAAAANDZWxsQWRkcmVzcwAaAAAAEFJvdwAKAAAAEENvbHVtbgADAAAAAANDb2xvcgBVAAAAEEEA/wAAABBSAPgAAAAQRwD4AAAAEEIA+AAAAAFTY0EAAAAAAAAA8D8BU2NSAAAAAKC2Ce4/AVNjRwAAAACgtgnuPwFTY0IAAAAAoLYJ7j8AAAMzMgCIAAAAA0NlbGxBZGRyZXNzABoAAAAQUm93AAsAAAAQQ29sdW1uAAMAAAAAA0NvbG9yAFUAAAAQQQD/AAAAEFIA+AAAABBHAPgAAAAQQgD4AAAAAVNjQQAAAAAAAADwPwFTY1IAAAAAoLYJ7j8BU2NHAAAAAKC2Ce4/AVNjQgAAAACgtgnuPwAAAzMzAIgAAAADQ2VsbEFkZHJlc3MAGgAAABBSb3cAAQAAABBDb2x1bW4ABAAAAAADQ29sb3IAVQAAABBBAP8AAAAQUgD4AAAAEEcA+AAAABBCAPgAAAABU2NBAAAAAAAAAPA/AVNjUgAAAACgtgnuPwFTY0cAAAAAoLYJ7j8BU2NCAAAAAKC2Ce4/AAADMzQAiAAAAANDZWxsQWRkcmVzcwAaAAAAEFJvdwACAAAAEENvbHVtbgAEAAAAAANDb2xvcgBVAAAAEEEA/wAAABBSAPgAAAAQRwD4AAAAEEIA+AAAAAFTY0EAAAAAAAAA8D8BU2NSAAAAAKC2Ce4/AVNjRwAAAACgtgnuPwFTY0IAAAAAoLYJ7j8AAAMzNQCIAAAAA0NlbGxBZGRyZXNzABoAAAAQUm93AAMAAAAQQ29sdW1uAAQAAAAAA0NvbG9yAFUAAAAQQQD/AAAAEFIA+AAAABBHAPgAAAAQQgD4AAAAAVNjQQAAAAAAAADwPwFTY1IAAAAAoLYJ7j8BU2NHAAAAAKC2Ce4/AVNjQgAAAACgtgnuPwAAAzM2AIgAAAADQ2VsbEFkZHJlc3MAGgAAABBSb3cABAAAABBDb2x1bW4ABAAAAAADQ29sb3IAVQAAABBBAP8AAAAQUgD4AAAAEEcA+AAAABBCAPgAAAABU2NBAAAAAAAAAPA/AVNjUgAAAACgtgnuPwFTY0cAAAAAoLYJ7j8BU2NCAAAAAKC2Ce4/AAADMzcAiAAAAANDZWxsQWRkcmVzcwAaAAAAEFJvdwAFAAAAEENvbHVtbgAEAAAAAANDb2xvcgBVAAAAEEEA/wAAABBSAPgAAAAQRwD4AAAAEEIA+AAAAAFTY0EAAAAAAAAA8D8BU2NSAAAAAKC2Ce4/AVNjRwAAAACgtgnuPwFTY0IAAAAAoLYJ7j8AAAMzOACIAAAAA0NlbGxBZGRyZXNzABoAAAAQUm93AAYAAAAQQ29sdW1uAAQAAAAAA0NvbG9yAFUAAAAQQQD/AAAAEFIA+AAAABBHAPgAAAAQQgD4AAAAAVNjQQAAAAAAAADwPwFTY1IAAAAAoLYJ7j8BU2NHAAAAAKC2Ce4/AVNjQgAAAACgtgnuPwAAAzM5AIgAAAADQ2VsbEFkZHJlc3MAGgAAABBSb3cABwAAABBDb2x1bW4ABAAAAAADQ29sb3IAVQAAABBBAP8AAAAQUgD4AAAAEEcA+AAAABBCAPgAAAABU2NBAAAAAAAAAPA/AVNjUgAAAACgtgnuPwFTY0cAAAAAoLYJ7j8BU2NCAAAAAKC2Ce4/AAADNDAAiAAAAANDZWxsQWRkcmVzcwAaAAAAEFJvdwAIAAAAEENvbHVtbgAEAAAAAANDb2xvcgBVAAAAEEEA/wAAABBSAPgAAAAQRwD4AAAAEEIA+AAAAAFTY0EAAAAAAAAA8D8BU2NSAAAAAKC2Ce4/AVNjRwAAAACgtgnuPwFTY0IAAAAAoLYJ7j8AAAM0MQCIAAAAA0NlbGxBZGRyZXNzABoAAAAQUm93AAkAAAAQQ29sdW1uAAQAAAAAA0NvbG9yAFUAAAAQQQD/AAAAEFIA+AAAABBHAPgAAAAQQgD4AAAAAVNjQQAAAAAAAADwPwFTY1IAAAAAoLYJ7j8BU2NHAAAAAKC2Ce4/AVNjQgAAAACgtgnuPwAAAzQyAIgAAAADQ2VsbEFkZHJlc3MAGgAAABBSb3cACgAAABBDb2x1bW4ABAAAAAADQ29sb3IAVQAAABBBAP8AAAAQUgD4AAAAEEcA+AAAABBCAPgAAAABU2NBAAAAAAAAAPA/AVNjUgAAAACgtgnuPwFTY0cAAAAAoLYJ7j8BU2NCAAAAAKC2Ce4/AAADNDMAiAAAAANDZWxsQWRkcmVzcwAaAAAAEFJvdwALAAAAEENvbHVtbgAEAAAAAANDb2xvcgBVAAAAEEEA/wAAABBSAPgAAAAQRwD4AAAAEEIA+AAAAAFTY0EAAAAAAAAA8D8BU2NSAAAAAKC2Ce4/AVNjRwAAAACgtgnuPwFTY0IAAAAAoLYJ7j8AAAM0NACIAAAAA0NlbGxBZGRyZXNzABoAAAAQUm93AAEAAAAQQ29sdW1uAAUAAAAAA0NvbG9yAFUAAAAQQQD/AAAAEFIA+AAAABBHAPgAAAAQQgD4AAAAAVNjQQAAAAAAAADwPwFTY1IAAAAAoLYJ7j8BU2NHAAAAAKC2Ce4/AVNjQgAAAACgtgnuPwAAAzQ1AIgAAAADQ2VsbEFkZHJlc3MAGgAAABBSb3cAAgAAABBDb2x1bW4ABQAAAAADQ29sb3IAVQAAABBBAP8AAAAQUgD4AAAAEEcA+AAAABBCAPgAAAABU2NBAAAAAAAAAPA/AVNjUgAAAACgtgnuPwFTY0cAAAAAoLYJ7j8BU2NCAAAAAKC2Ce4/AAADNDYAiAAAAANDZWxsQWRkcmVzcwAaAAAAEFJvdwADAAAAEENvbHVtbgAFAAAAAANDb2xvcgBVAAAAEEEA/wAAABBSAPgAAAAQRwD4AAAAEEIA+AAAAAFTY0EAAAAAAAAA8D8BU2NSAAAAAKC2Ce4/AVNjRwAAAACgtgnuPwFTY0IAAAAAoLYJ7j8AAAM0NwCIAAAAA0NlbGxBZGRyZXNzABoAAAAQUm93AAQAAAAQQ29sdW1uAAUAAAAAA0NvbG9yAFUAAAAQQQD/AAAAEFIA+AAAABBHAPgAAAAQQgD4AAAAAVNjQQAAAAAAAADwPwFTY1IAAAAAoLYJ7j8BU2NHAAAAAKC2Ce4/AVNjQgAAAACgtgnuPwAAAzQ4AIgAAAADQ2VsbEFkZHJlc3MAGgAAABBSb3cABQAAABBDb2x1bW4ABQAAAAADQ29sb3IAVQAAABBBAP8AAAAQUgD4AAAAEEcA+AAAABBCAPgAAAABU2NBAAAAAAAAAPA/AVNjUgAAAACgtgnuPwFTY0cAAAAAoLYJ7j8BU2NCAAAAAKC2Ce4/AAADNDkAiAAAAANDZWxsQWRkcmVzcwAaAAAAEFJvdwAGAAAAEENvbHVtbgAFAAAAAANDb2xvcgBVAAAAEEEA/wAAABBSAPgAAAAQRwD4AAAAEEIA+AAAAAFTY0EAAAAAAAAA8D8BU2NSAAAAAKC2Ce4/AVNjRwAAAACgtgnuPwFTY0IAAAAAoLYJ7j8AAAM1MACIAAAAA0NlbGxBZGRyZXNzABoAAAAQUm93AAcAAAAQQ29sdW1uAAUAAAAAA0NvbG9yAFUAAAAQQQD/AAAAEFIA+AAAABBHAPgAAAAQQgD4AAAAAVNjQQAAAAAAAADwPwFTY1IAAAAAoLYJ7j8BU2NHAAAAAKC2Ce4/AVNjQgAAAACgtgnuPwAAAzUxAIgAAAADQ2VsbEFkZHJlc3MAGgAAABBSb3cACAAAABBDb2x1bW4ABQAAAAADQ29sb3IAVQAAABBBAP8AAAAQUgD4AAAAEEcA+AAAABBCAPgAAAABU2NBAAAAAAAAAPA/AVNjUgAAAACgtgnuPwFTY0cAAAAAoLYJ7j8BU2NCAAAAAKC2Ce4/AAADNTIAiAAAAANDZWxsQWRkcmVzcwAaAAAAEFJvdwAJAAAAEENvbHVtbgAFAAAAAANDb2xvcgBVAAAAEEEA/wAAABBSAPgAAAAQRwD4AAAAEEIA+AAAAAFTY0EAAAAAAAAA8D8BU2NSAAAAAKC2Ce4/AVNjRwAAAACgtgnuPwFTY0IAAAAAoLYJ7j8AAAM1MwCIAAAAA0NlbGxBZGRyZXNzABoAAAAQUm93AAoAAAAQQ29sdW1uAAUAAAAAA0NvbG9yAFUAAAAQQQD/AAAAEFIA+AAAABBHAPgAAAAQQgD4AAAAAVNjQQAAAAAAAADwPwFTY1IAAAAAoLYJ7j8BU2NHAAAAAKC2Ce4/AVNjQgAAAACgtgnuPwAAAzU0AIgAAAADQ2VsbEFkZHJlc3MAGgAAABBSb3cACwAAABBDb2x1bW4ABQAAAAADQ29sb3IAVQAAABBBAP8AAAAQUgD4AAAAEEcA+AAAABBCAPgAAAABU2NBAAAAAAAAAPA/AVNjUgAAAACgtgnuPwFTY0cAAAAAoLYJ7j8BU2NCAAAAAKC2Ce4/AAADNTUAiAAAAANDZWxsQWRkcmVzcwAaAAAAEFJvdwAAAAAAEENvbHVtbgAAAAAAAANDb2xvcgBVAAAAEEEA/wAAABBSAKYAAAAQRwCmAAAAEEIApgAAAAFTY0EAAAAAAAAA8D8BU2NSAAAAAGClZ9g/AVNjRwAAAABgpWfYPwFTY0IAAAAAYKVn2D8AAAM1NgCIAAAAA0NlbGxBZGRyZXNzABoAAAAQUm93AAAAAAAQQ29sdW1uAAEAAAAAA0NvbG9yAFUAAAAQQQD/AAAAEFIApgAAABBHAKYAAAAQQgCmAAAAAVNjQQAAAAAAAADwPwFTY1IAAAAAYKVn2D8BU2NHAAAAAGClZ9g/AVNjQgAAAABgpWfYPwAAAzU3AIgAAAADQ2VsbEFkZHJlc3MAGgAAABBSb3cAAAAAABBDb2x1bW4AAgAAAAADQ29sb3IAVQAA"/>
  <p:tag name="EMPOWERCHARTSPROPERTIES_SLOT" val="B"/>
  <p:tag name="EMPOWERCHARTSPROPERTIES_LASTWRITEDATE" val="638845474972867830"/>
  <p:tag name="EMPOWERCHARTSPROPERTIES_B_LENGTH" val="1449984"/>
</p:tagLst>
</file>

<file path=ppt/tags/tag79.xml><?xml version="1.0" encoding="utf-8"?>
<p:tagLst xmlns:a="http://schemas.openxmlformats.org/drawingml/2006/main" xmlns:r="http://schemas.openxmlformats.org/officeDocument/2006/relationships" xmlns:p="http://schemas.openxmlformats.org/presentationml/2006/main">
  <p:tag name="MIO_SHAPETYPES_TEXTELEMENT" val="MIO_FOOTNOTE"/>
  <p:tag name="MIO_GUID" val="a157cc83-2741-44ad-8ec9-61ce4e2c7685"/>
  <p:tag name="MIO_EK" val="652"/>
  <p:tag name="MIO_EKGUID" val="8b0b4110-6ccd-4223-a904-7c58940fb73f"/>
  <p:tag name="MIO_UPDATE" val="True"/>
  <p:tag name="MIO_VERSION" val="08.02.2021 13:37:34"/>
  <p:tag name="MIO_DBID" val="F71ED0A2-672B-4E8B-BF42-C978919BF8E2"/>
  <p:tag name="MIO_LASTDOWNLOADED" val="12.04.2023 15:50:42.919"/>
  <p:tag name="MIO_OBJECTNAME" val="Fußnote_Quelle"/>
  <p:tag name="MIO_LASTEDITORNAME" val="Daniela Heis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qgsAAAAAAAAAAAAAIAD///////////////8AAAD///////////////8DAAAAAgD///////8DAAAAAgD///////8DAAAAAwD///////8DAAAAAwD///////8DAAAAAwD///////////////////////////////////////////////////////////////////////////////////////////////////////////////////////////////////////////////////////////////////////////////////////////////////////////////////////////////////////////////////////////////////////////////////////////////////////////////////////////////////////////////////////////////////////////////////////////////////////////////////////////////////////////////8BACAA////////////////AAAO////////AwAAAAQA////////////////////////////////////////////////////////////////////////////////////////////////////////////////////////////////////////////////////////////////////////////////////////////////////////////////////////////////////////////////////////////////////////////////////////////////////////////////////////////////////////////////////////////////////////////////////////////////////////////////////////////////////////////////////////////////////////////////////////////////////////////////////////AgACAP///////wUAAAACABAAC+X5cDzlN+dGifBKK2NzzVEEAAAAAAADAAAAAAADAAAAAwADAAAAAAADAAAAAwADAAUA////////BQAAAAMAEAAL9bqDdH7cwkWJ/MjiAoGK/QQAAAABAAMAAAACAAMAAAAEAAMAAAACAAMAAAAEAAMAAAAAAAMAAAAEAAMAAAAAAAMAAAAEAAMAAAAAAAMAAAAEAAQABQD///////8FAAAABAAQAAvz0bLjPC7SQ6TR6VaHjwRQBAAAAAIAAwAAAAMAAwAAAAEAAwAAAAMA////////AwAAAAM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5flwPOU350aJ8EorY3PNUQREYXRhAAUAAAAAAk5hbWUADQAAAExpbmtEYXRhTGlzdAAQVmVyc2lvbgABAAAACUxhc3RXcml0ZQBxwKE1lwEAAAABAP////9hAGEAAAAFX2lkABAAAAAE9bqDdH7cwkWJ/MjiAoGK/QREYXRhAAUAAAAAAk5hbWUADQAAAExpbmtEYXRhTGlzdAAQVmVyc2lvbgAAAAAACUxhc3RXcml0ZQBxwKE1lwEAAAACAP////9wAHAAAAAFX2lkABAAAAAE89Gy4zwu0kOk0elWh48EUANEYXRhABYAAAACUGVyc29uYWxJZAABAAAAAAACTmFtZQALAAAAUGVyc29uYWxJZAAQVmVyc2lvbgAAAAAACUxhc3RXcml0ZQCRwKE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UAAAADAP///////////////////////////////////////////////////////////////////////////////////////////////////////////////////////////////////////////////////////////////////////////////////////////////////////////////////////////////////////////////////////////////////////////////////////////////////////////////////////////////////////////////////////////////////////////////////////////////////////////////////////////////////////////////wEAIAH///////////////8AAA7///////8FAAAABAD///////////////////////////////////////////////////////////////////////////////////////////////////////////////////////////////////////////////////////////////////////////////////////////////////////////////////////////////////////////////////////////////////////////////////////////////////////////////////////////////////////////////////////////////////////////////////////////////////////////////////////////////////////////////////////////////////////////////////////////////////////////////////////8CAAIBAwAAAAIA////////DgAGTGlua0RhdGFMaXN0XzEEAAAAAAAFAAAAAwAFAAAABAAFAAAAAwD///////8DAAUBAwAAAAMA////////DgAGTGlua0RhdGFMaXN0XzAEAAAAAQAFAAAAAAAFAAAAAg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82825309097"/>
  <p:tag name="EMPOWERCHARTSPROPERTIES_B_LENGTH" val="24576"/>
  <p:tag name="DOWN_MIGRATION_INITIAL_LAYOUT_REQUIRED" val="9.2.99"/>
  <p:tag name="RUNTIME_ID" val="aa757304-a160-40cd-98d7-51f217a5e0fd"/>
</p:tagLst>
</file>

<file path=ppt/tags/tag81.xml><?xml version="1.0" encoding="utf-8"?>
<p:tagLst xmlns:a="http://schemas.openxmlformats.org/drawingml/2006/main" xmlns:r="http://schemas.openxmlformats.org/officeDocument/2006/relationships" xmlns:p="http://schemas.openxmlformats.org/presentationml/2006/main">
  <p:tag name="MIO_SELECTION_PROXY" val="00000000-0000-0000-0000-000000000000"/>
  <p:tag name="MIO_SKIP_CDCHECK" val="true"/>
  <p:tag name="EMPOWER_OVERLAY_IGNORE" val="Yes please."/>
</p:tagLst>
</file>

<file path=ppt/tags/tag82.xml><?xml version="1.0" encoding="utf-8"?>
<p:tagLst xmlns:a="http://schemas.openxmlformats.org/drawingml/2006/main" xmlns:r="http://schemas.openxmlformats.org/officeDocument/2006/relationships" xmlns:p="http://schemas.openxmlformats.org/presentationml/2006/main">
  <p:tag name="MIO_SELECTION_PROXY" val="00000000-0000-0000-0000-000000000000"/>
  <p:tag name="MIO_SKIP_CDCHECK" val="true"/>
  <p:tag name="EMPOWER_OVERLAY_IGNORE" val="Yes pleas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EMPOWER_OVERLAY_IGNORE" val="Yes please."/>
  <p:tag name="MIO_SELECTION_PROXY" val="0000027b-0007-0000-517e-96ff00000000"/>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 name="EMPOWER_OVERLAY_IGNORE" val="Yes please."/>
  <p:tag name="MIO_SELECTION_PROXY" val="0000027b-0006-0000-517e-96ff00000000"/>
</p:tagLst>
</file>

<file path=ppt/tags/tag85.xml><?xml version="1.0" encoding="utf-8"?>
<p:tagLst xmlns:a="http://schemas.openxmlformats.org/drawingml/2006/main" xmlns:r="http://schemas.openxmlformats.org/officeDocument/2006/relationships" xmlns:p="http://schemas.openxmlformats.org/presentationml/2006/main">
  <p:tag name="UNIQUEID" val="26cbf469-94a8-4754-99ef-9ff7889c9c69"/>
  <p:tag name="COLUMNSUMS - VISIBLE" val="False"/>
  <p:tag name="MIO_CHART_TEMPLATE_TYPE" val="4F085B70-485D-493C-89FA-6AC6D85833AF"/>
  <p:tag name="METADATA - EXCELNUMBERFORMAT" val="General"/>
  <p:tag name="DATALABELS - VALUE" val="True"/>
  <p:tag name="DATALABELS - BACKGROUND" val="True"/>
  <p:tag name="MIO_SKIP_CDCHECK" val="true"/>
  <p:tag name="NA_EXTENSION_LIST_ADDED" val="yes."/>
  <p:tag name="EMPOWER DO NOT TRANSLATE" val="true"/>
  <p:tag name="METADATA - EXACTFONTSIZE" val="10"/>
  <p:tag name="DOWN_MIGRATION_INITIAL_LAYOUT_REQUIRED" val="9.2.99"/>
  <p:tag name="LAST_TOUCHED_CHARTS_VERSION" val="9.5"/>
  <p:tag name="RUNTIME_ID" val="2f23354d-a5ea-4375-9b93-357b8b57214a"/>
  <p:tag name=" - MIN_VERSION_NEEDED" val="8.10.200.0"/>
  <p:tag name="EMPOWERCHARTSPROPERTIES_B_0" val="AAAAAAH//////////wEAAAAAAAAAAAAAACoqIFRoaXMgaXMgYSBMaXRlREIgZmlsZSAqKgc0AWIAAABm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OAAAAAAAAAAZAAAACQAAAF9pZD0kLl9pZAEDAAAAAAADAAAAAQBSAAAACwAAAE5hbWU9JC5OYW1lAAQAAAAAAAQAAAABAFMAAAARAAAAVmVyc2lvbj0kLlZlcnNpb24ABQAAAAAABQAAAAEABQAAACMAAABDb21iaUluZGV4PSQuTmFtZSArICdfJyArICQuVmVyc2lvbgFlAAAAAABlAAAAAQBmAAAAAAAAAAD///////8AAAAAAAD/////AAAAAAD///////8AAAAAAAD/////AAAAAAD///////8AAAAAAAD/////AAAAAAD///////8AAAAAAAD/////AAAAAAD///////8AAAAAAAD/////AAAAAAD///////8AAAAAAAD/////AAAAAAD///////8AAAAAAAD/////AAAAAAD///////8AAAAAAAD/////AAAAAAD///////8AAAAAAAD/////AAAAAAD///////8AAAAAAAD/////AAAAAAD///////8AAAAAAAD/////AAAAAAD///////8AAA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QFBAEBAQEBAQEBAQEBAV4AAAAAAAAAAwAAAAP//////////zMACAAAAAAAAAAAAAAAIAD///////////////8AAAD///////////////8DAAAAAgD///////8DAAAAAgD///////8DAAAAAgD///////8DAAAADgD///////8DAAAADgD///////8DAAAADgD///////8DAAAAHAD///////////////////////////////////////////////////////////////////////////////////////////////////////////////////////////////////////////////////////////////////////////////////////////////////////////////////////////////////////////////////////////////////////////////////////////////////////////////////////////////////////////////////////////////////////////////////////////////////////////////8BACAA////////////////AAAO////////UgAAAAYA////////////////////////////////////////////////////////////////////////////////////////////////////////////////////////////////////////////////////////////////////////////////////////////////////////////////////////////////////////////////////////////////////////////////////////////////////////////////////////////////////////////////////////////////////////////////////////////////////////////////////////////////////////////////////////////////////////////////////////////////////////////////////////AgADAP///////2UAAAACABAAC0In0gDP6N9NmzezwaCnRngGAAAAAAADAAAAAAADAAAAAwADAAAAAAADAAAAAwADAAAAAAADAAAABwADAAIA////////ZQAAAAMAEAAL8FrFBz7LeEmTX4ThuCl+FAYAAAABAAMAAAACAAMAAAAEAAMAAAACAAMAAAAEAAQAAgD///////9lAAAABAAQAAuFQl0I9CtJRKuVG165oreTBgAAAAIAAwAAAAMAAwAAAAUAAwAAAAMAAwAAAAYABQABAP///////2UAAAAFABAACxjlAAvMYFlLgW9NsbZ2cxwGAAAAAwADAAAABAADAAAABgAGAAIA////////ZQAAAAYAEAALC+IjC8LqM06rFgz0g2XDigYAAAAEAAMAAAAFAAMAAAAHAAMAAAAEAAMAAAAHAAcAAwD///////9lAAAABwAQAAuqlGIPbPLvQJy6UWC9F33KBgAAAAUAAwAAAAYAAwAAAAgAAwAAAAYAAwAAAAsAAwAAAAIAAwAAAAsACAABAP///////2UAAAAIABAAC6jb1w9pMgVErO7G/ovNDYQGAAAABgADAAAABwADAAAACQAJAAEA////////ZQAAAAkAEAALGnVTEJAFhU+DhUCzoisuNBgAAAAAAAMAAAAIAAMAAAAKAAoAAQD///////9lAAAACgAQAAs1ZIkU5cRlSpTetccOR8NcGAAAAAEAAwAAAAkAAwAAAAsACwADAP///////2UAAAALABAAC58SsxVpbONEqJbdSdaIyxwYAAAAAgADAAAACgADAAAADAADAAAABwADAAAADQADAAAABwADAAAADQAMAAEA////////ZQAAAAwAEAALQvvhIImGeUGSBwwFgRtMhBgAAAADAAMAAAALAAMAAAANAA0AAwD///////9lAAAADQAQAAtQ08EkwLPJRKQw0a27IMYqGQAAAAAAAwAAAAwAAwAAAA4AAwAAAAsAAwAAAA4AAwAAAAsAAwAAAA4ADgAGAP///////2UAAAAOABAAC2nW2yd868hNti1ajCVvGCEaAAAAAAADAAAADQADAAAADwADAAAADQADAAAAEQADAAAADQADAAAAEQADAAAAAAADAAAAHAADAAAAAAADAAAAHAADAAAAAAADAAAAHAAPAAEA////////ZQAAAA8AEAALYawWKMhCREySj1cbnB8vwBkAAAABAAMAAAAOAAMAAAAQABAAAQD///////9lAAAAEAAQAAv5uc8o3+XwRYlizCea2hbUGQAAAAIAAwAAAA8AAwAAABEAEQADAP///////2UAAAARABAAC+sWFyxxkZZKmxQf70p11jgZAAAAAwADAAAAEAADAAAAEgADAAAADgADAAAAEgADAAAADgADAAAAEgASAAMA////////ZQAAABIAEAALMxm3LKRZpUe29HJ9EaUzJRsAAAAAAAMAAAARAAMAAAATAAMAAAARAAMAAAAUAAMAAAARAAMAAAAUABMAAQD///////9lAAAAEwAQAAswORs37cpAR6wBYLtptp9PGwAAAAEAAwAAABIAAwAAABQAFAADAP///////2UAAAAUABAAC2+49kOjIlxLtVojowPsH8obAAAAAgADAAAAEwADAAAAFQADAAAAEgADAAAAFwADAAAAEgADAAAAFwAVAAEA////////ZQAAABUAEAALLcF5SagfNk607hW8I5mbXxsAAAADAAMAAAAUAAMAAAAWABYAAQD///////9lAAAAFgAQAAv+yiFKfroWQbzsefmQmIjbGwAAAAQAAwAAABUAAwAAABcAFwADAP///////2UAAAAXABAAC12XMFxA4iVKq4TS9dDNdykfAAAAAAADAAAAFgADAAAAGAADAAAAFAADAAAAGAADAAAAFAADAAAAGQAYAAIA////////ZQAAABgAEAAL/IBMXJ90qkOjU8u1va+7/h8AAAABAAMAAAAXAAMAAAAZAAMAAAAXAAMAAAAZABkAAwD///////9lAAAAGQAQAAsZJYJc+uKgR5nh/VgmJZL2HwAAAAIAAwAAABgAAwAAABoAAwAAABgAAwAAABoAAwAAABcAAwAAABwAGgACAP///////2UAAAAaABAAC/R9m16xbwVPqAgzpHk9uMofAAAAAwADAAAAGQADAAAAGwADAAAAGQADAAAAHAAbAAEA////////ZQAAABsAEAALTcFPYhorU0O5U0Vx8VPNZiMAAAAAAAMAAAAaAAMAAAAcABwABwD///////9lAAAAHAAQAAsB7ohjkilxRpm5omvb+EbbJAAAAAAAAwAAABsAAwAAAB0AAwAAABoAAwAAAB4AAwAAABkAAwAAAB4AAwAAAA4AAwAAACQAAwAAAA4AAwAAADIAAwAAAA4AAwAAADIAAwAAAAAA////////HQABAP///////2UAAAAdABAACykM8WVH4nBJjPtCb1R2rWYkAAAAAQADAAAAHAADAAAAHgAeAAMA////////ZQAAAB4AEAALflv1ckcQu0S+fxS65/4ofyQAAAACAAMAAAAdAAMAAAAfAAMAAAAcAAMAAAAiAAMAAAAcAAMAAAAjAB8AAQD///////9lAAAAHwAQAAsryG52bnl8Rp/MyeTw207OJQAAAAAAAwAAAB4AAwAAACAAIAABAP///////2UAAAAgABAAC3arNHiRxGhKoWkAjofEDVUlAAAAAQADAAAAHwADAAAAIQAhAAEA////////ZQAAACEAEAALoyDye245jEypvSfQlq1acyUAAAACAAMAAAAgAAMAAAAiACIAAgD///////9lAAAAIgAQAAtY2xp8GBFsSpFfxhD/VEP0JQAAAAMAAwAAACEAAwAAACMAAwAAAB4AAwAAACMAIwADAP///////2UAAAAjABAAC1hii4Umn0FEqmRU+04AZWclAAAABAADAAAAIgADAAAAJAADAAAAIgADAAAAJAADAAAAHgADAAAAJAAkAAQA////////ZQAAACQAEAALqRg4jra+mUGutKI4wqS45SUAAAAFAAMAAAAjAAMAAAAlAAMAAAAjAAMAAAAlAAMAAAAjAAMAAAAlAAMAAAAcAAMAAAAyACUAAwD///////9lAAAAJQAQAAsf9niQt0ZHSZ97BJ3ISHfeJQAAAAYAAwAAACQAAwAAACYAAwAAACQAAwAAACcAAwAAACQAAwAAACcAJgABAP///////2UAAAAmABAACzxRkJMffzxMrQjpEChxAeAlAAAABwADAAAAJQADAAAAJwAnAAMA////////ZQAAACcAEAALS4WRnTQGy0uTl/gv8Xz25yUAAAAIAAMAAAAmAAMAAAAoAAMAAAAlAAMAAAApAAMAAAAlAAMAAAAyACgAAQD///////9lAAAAKAAQAAuk2iGeHB49RYp6pIsTfPlrJQAAAAkAAwAAACcAAwAAACkAKQACAP///////2UAAAApABAAC9zozKFzfE5GvERhAtoAgHwlAAAACgADAAAAKAADAAAAKgADAAAAJwADAAAAMAAqAAEA////////ZQAAACoAEAALAdGSqeEO4UOOmuyeny64MiUAAAALAAMAAAApAAMAAAArACsAAQD///////9lAAAAKwAQAAtHm3OuN8jCRL20NJI11bbNSwAAAAAAAwAAACoAAwAAACwALAABAP///////2UAAAAsABAAC8N2I7V51LFFmW5ZR1eqaDdLAAAAAQADAAAAKwADAAAALQAtAAEA////////ZQAAAC0AEAAL0qiPuHZQK0SiZgYjXQlDUEsAAAACAAMAAAAsAAMAAAAuAC4AAQD///////9lAAAALgAQAAsA87y4vclPSJobZIQ0x6jNSwAAAAMAAwAAAC0AAwAAAC8ALwABAP///////2UAAAAvABAAC95AbsEDFYdKg0OPqj7r4vJLAAAABAADAAAALgADAAAAMAAwAAIA////////ZQAAADAAEAALiOOF0FTeS0+QRsJRvZglu0sAAAAFAAMAAAAvAAMAAAAxAAMAAAApAAMAAAAxADEAAgD///////9mAAAAAAAQAAviqt7SqWWKRrzvQmwOzX4oSwAAAAYAAwAAADAAAwAAADIAAwAAADAAAwAAADIAMgAGAP///////2YAAAABABAAC2zgFdV0EelMkUfNwOdp8wNLAAAABwADAAAAMQBSAAAAAAADAAAAMQBSAAAAAgADAAAAJwD///////8DAAAAJAD///////8DAAAAHAD///////8DAAAAHAD///////8AAAAAAAAAAAQAAAAD//////////80AEMAAAAAAAAAAAAAACAB////////////////AAAA////////////////BAAAABMA////////BAAAAB4A////////BAAAABgA////////BAAAAB8A////////////////////////////////////////////////////////////////////////////////////////////////////////////////////////////////////////////////////////////////////////////////////////////////////////////////////////////////////////////////////////////////////////////////////////////////////////////////////////////////////////////////////////////////////////////////////////////////////////////////////////////////////////////////////////////////AQAgAf///////////////wAADv///////wQAAAASAP///////////////////////////////////////////////////////////////////////////////////////////////////////////////////////////////////////////////////////////////////////////////////////////////////////////////////////////////////////////////////////////////////////////////////////////////////////////////////////////////////////////////////////////////////////////////////////////////////////////////////////////////////////////////////////////////////////////////////////////////////////////////////////wIAAwEFAAAAAgD///////8eAAZQb2ludEFuZFNlcmllc1N0eWxlRGVmaW5pdGlvbnMGAAAAAAAEAAAAJQAEAAAAKAAEAAAAFgAEAAAAMAAEAAAAFgAEAAAAMAADAAEBBQAAAAMA////////DQAGTnVtYmVyRm9ybWF0cwYAAAABAAQAAAAHAAQAAAAmAAQAAgEFAAAABAD///////8aAAZBdXRvbWF0aWNCcmVha1NldHRpbmdzRGF0YQYAAAACAAQAAAAeAAQAAAAYAAQAAAAeAAQAAAAYAAUAAgEFAAAABQD///////8aAAZFeGNlbENvbG9yTW9kZURhdGFQcm9wZXJ0eQYAAAADAAQAAAAKAAQAAAArAAQAAAAdAAQAAAArAAYAAQEFAAAABgD///////8KAAZEYXRhTGFiZWxzBgAAAAQABAAAAB0ABAAAACMABwABAQUAAAAHAP///////wsABk1hcmtlcnNEYXRhBgAAAAUAUwAAAAEABAAAAAMACAABAQUAAAAIAP///////wgABk92ZXJsYXlzBgAAAAYABAAAACYABAAAAA0ACQABAQUAAAAJAP///////xkABlNoYXBlQ29uc3RydWN0ZWRDaGFydERhdGEYAAAAAAAEAAAAMwAEAAAACwAKAAEBBQAAAAoA////////CAAGRGF0YUxpbmsYAAAAAQBTAAAABAAEAAAABQALAAEBBQAAAAsA////////CQAGV2F0ZXJmYWxsGAAAAAIABAAAAAkABAAAABIADAABAQUAAAAMAP///////xMABkdsb2JhbENoYXJ0U2V0dGluZ3MYAAAAAwAEAAAADwAEAAAAGwANAAEBBQAAAA0A////////CAAGT3ZlcmxheXMZAAAAAAAEAAAACAAEAAAAFgAOAAMBBQAAAA4A////////DAAGQ29sb3JJbmRpY2VzGgAAAAAABAAAACQABAAAACkABAAAABAABAAAABwABAAAAB8ABAAAABwADwACAQUAAAAPAP///////xQABkdlbmVyYWxFeGNlbFNldHRpbmdzGQAAAAEABAAAACwABAAAAAwABAAAACsABAAAABsAEAACAQUAAAAQAP///////xwABkNoYXJ0U3R5bGVTdGF0dXNJbmZvcm1hdGlvbnMZAAAAAgAEAAAAHwAEAAAAFwAEAAAAHwAEAAAADgARAAEBBQAAABEA////////DAAGTGlua0RhdGFMaXN0GQAAAAMABAAAACIAUwAAAAEAEgACAQUAAAASAP///////wkABldhdGVyZmFsbBsAAAAAAAQAAAALAAQAAAABAAQAAAAzAP///////xMAAQEFAAAAEwD///////8SAAZBZGRpdGlvbmFsQXhpc0RhdGEbAAAAAQAEAAAAAAAEAAAAHgAUAAEBBQAAABQA////////CgAGTGVnZW5kRGF0YRsAAAACAAQAAAAxAAQAAAAiABUAAgEFAAAAFQD///////8KAAZTZXJpZXNEYXRhGwAAAAMABAAAADAABAAAACEABAAAADAABAAAACEAFgAEAQUAAAAWAP///////wgABk92ZXJsYXlzGwAAAAQABAAAAA0AUwAAAAUAUwAAAAEABAAAAAIABAAAACIABAAAAAIAUwAAAAMABAAAACEAFwABAQUAAAAXAP///////xwABkNoYXJ0U3R5bGVTdGF0dXNJbmZvcm1hdGlvbnMfAAAAAAAEAAAAEAAEAAAAJAAYAAMBBQAAABgA////////CAAGQXhlc0RhdGEfAAAAAQAEAAAABAAEAAAAIAAEAAAABAAEAAAAMgAEAAAAAAAEAAAAMgAZAAEBBQAAABkA////////EAAGR3JpZGxpbmVTZXR0aW5ncx8AAAACAAQAAAAbAFMAAAADABoAAQEFAAAAGgD///////8nAAZQb2ludEFuZFNlcmllc0FkZGl0aW9uU3R5bGVzRGVmaW5pdGlvbnMfAAAAAwAEAAAALQBTAAAAAAAbAAMBBQAAABsA////////EwAGR2xvYmFsQ2hhcnRTZXR0aW5ncyMAAAAAAAQAAAAMAAQAAAAZAAQAAAAPAFMAAAADAAQAAAArAFMAAAADABwAAwEFAAAAHAD///////8OAAZDb21tb25TZXR0aW5ncyQAAAAAAAQAAAApAAQAAAAdAAQAAAAOAAQAAAAdAAQAAAAOAAQAAAAdAB0AAwEFAAAAHQD///////8UAAZEYXRhQ2hhcnRDb0F1dGhvcmluZyQAAAABAAQAAAAcAAQAAAAGAAQAAAAcAAQAAAAFAAQAAAAcAAQAAAArAB4AAgEFAAAAHgD///////8SAAZBZGRpdGlvbmFsQXhpc0RhdGEkAAAAAgAEAAAAEwAEAAAABAAEAAAAAAAEAAAABAAfAAQBBQAAAB8A////////IQAGQ2F0ZWdvcnlMYWJlbFNldHRpbmdzRGF0YVByb3BlcnR5JQAAAAAABAAAAC4ABAAAABAABAAAAC4ABAAAABAABAAAADIABAAAAA4ABAAAAAAAUwAAAAMAIAABAQUAAAAgAP///////wgABkF4ZXNEYXRhJQAAAAEABAAAABgABAAAADIAIQAEAQUAAAAhAP///////wwABlNlcmllc0xhYmVscyUAAAACAAQAAAAVAAQAAAAqAAQAAAAVAAQAAAAqAAQAAAAwAP///////wQAAAAWAP///////yIAAwEFAAAAIgD///////8KAAZMZWdlbmREYXRhJQAAAAMABAAAABQABAAAABEAUwAAAAMAUwAAAAEAUwAAAAMABAAAABYAIwABAQUAAAAjAP///////woABkRhdGFMYWJlbHMlAAAABAAEAAAABgAEAAAAJwAkAAEBBQAAACQA////////EQAGQ29sb3JEYXRhUHJvcGVydHklAAAABQAEAAAAFwAEAAAADgAlAAEBBQAAACUA////////JAAGUG9pbnRBbmRTZXJpZXNNYXJrZXJTdHlsZURlZmluaXRpb25zJQAAAAYAUwAAAAAABAAAAAIAJgABAQUAAAAmAP///////w0ABk51bWJlckZvcm1hdHMlAAAABwAEAAAAAwAEAAAACAAnAAEBBQAAACcA////////CgAGRGF0YUxhYmVscyUAAAAIAAQAAAAjAFMAAAAEACgAAQEFAAAAKAD///////8eAAZQb2ludEFuZFNlcmllc1N0eWxlRGVmaW5pdGlvbnMlAAAACQAEAAAAAgAEAAAAMAApAAEBBQAAACkA////////EgAGQ29sdW1uU3Vtc1NldHRpbmdzJQAAAAoABAAAAA4ABAAAABwAKgACAQUAAAAqAP///////wwABlNlcmllc0xhYmVscyUAAAALAAQAAAAhAAQAAAAzAAQAAAAhAAQAAAAzACsAAwEFAAAAKwD///////8aAAZFeGNlbENvbG9yTW9kZURhdGFQcm9wZXJ0eUsAAAAAAAQAAAAFAAQAAAAsAAQAAAAFAAQAAAAPAAQAAAAdAAQAAAAbACwAAQEFAAAALAD///////8LAAZFeGNlbE1pcnJvcksAAAABAAQAAAArAAQAAAAPAC0AAQEFAAAALQD///////8OAAZQbG90QXJlYUJvcmRlcksAAAACAFMAAAACAAQAAAAaAC4AAgEFAAAALgD///////8YAAZDYXRlZ29yeUF4aXNEYXRhUHJvcGVydHlLAAAAAwAEAAAALwAEAAAAHwAEAAAAMgAEAAAAHwAvAAEBBQAAAC8A////////EwAGQnJlYWtNYW5hZ2VtZW50RGF0YUsAAAAEAAQAAAAyAAQAAAAuADAAAwEFAAAAMAD///////8eAAZQb2ludEFuZFNlcmllc1N0eWxlRGVmaW5pdGlvbnNLAAAABQAEAAAAKAAEAAAAFQAEAAAAAgAEAAAAFQAEAAAAAgAEAAAAIQAxAAEBBQAAADEA////////CwAGTGVhZGVyTGluZXNLAAAABgBTAAAAAwAEAAAAFAAyAAMBBQAAADIA////////HgAGQXp1cmVJbmZvcm1hdGlvblByb3RlY3Rpb25EYXRhSwAAAAcABAAAACAABAAAAC8ABAAAABgABAAAAC4ABAAAABgABAAAAB8AMwACAQUAAAAzAP///////wwABlNlcmllc0xhYmVsc0sAAAAIAAQAAAAqAAQAAAAJAAQAAAAqAAQAAAASAAAAAAAAAAAAAAAAAAAAAAAAAAAAAAAAAAAAAAAAAAAAAAAAAAAAAAAAAAAAAAAAAAAAAAAAAAAAAAAAAAAAAAAAAAAFAAAAAwAAAAD/////OgBNAQAAAAAAAAAAAAAgAv///////////////wAAAP///////////////wUAAAACAP///////wUAAAACAP///////wUAAAAEAP///////wUAAAAEAP///////wUAAAAEAP///////////////////////////////////////////////////////////////////////////////////////////////////////////////////////////////////////////////////////////////////////////////////////////////////////////////////////////////////////////////////////////////////////////////////////////////////////////////////////////////////////////////////////////////////////////////////////////////////////////////////////////////////////////////wEAIAL///////////////8AAA7///////8FAAAAIwD///////////////////////////////////////////////////////////////////////////////////////////////////////////////////////////////////////////////////////////////////////////////////////////////////////////////////////////////////////////////////////////////////////////////////////////////////////////////////////////////////////////////////////////////////////////////////////////////////////////////////////////////////////////////////////////////////////////////////////////////////////////////////////8CAAICZQAAAAIABAAAAAIABAACAAAAAAYAAAAAAAUAAAAAAAUAAAAEAAUAAAAAAAUAAAAEAAMAAgJlAAAAAwAEAAAAAwAEAAICAAAABgAAAAEABQAAADAABQAAAA4ABQAAACYABQAAACsABAAFAmUAAAAEAAQAAAAEAAQAAgAAAAAGAAAAAgAFAAAAAgAFAAAACQAFAAAAAgAFAAAACQAFAAAAAAAFAAAACQAFAAAAAAAFAAAACwAFAAAAAAAFAAAACwAFAAECZQAAAAUABAAAAAUABAACAQAAAAYAAAADAAUAAAA3AAUAAAAHAAYAAgJlAAAABgAEAAAABgAEAAIIAAAABgAAAAQABQAAACcABQAAADkABQAAAAgABQAAADkABwABAmUAAAAHAAQAAAAHAAQAAgEAAAAGAAAABQAFAAAABQAFAAAACgAIAAICZQAAAAgABAAAAAgABAACBwAAAAYAAAAGAAUAAAA4AAUAAAAnAAUAAAAhAAUAAAAGAAkAAwJlAAAACQAEAAAACQAEAAIAAAAAGAAAAAAABQAAAAQABQAAAAsABQAAAAQABQAAAAsABQAAAAQABQAAAAsACgABAmUAAAAKAAQAAAAKAAQAAgEAAAAYAAAAAQAFAAAABwAFAAAAEAALAAUCZQAAAAsABAAAAAsABAACAAAAABgAAAACAAUAAAAJAAUAAAAPAAUAAAAJAAUAAAAVAAUAAAAJAAUAAAAkAAUAAAAEAAUAAAAvAAUAAAAEAAUAAAAyAAwAAgJlAAAADAAEAAAADAAEAAIFAAAAGAAAAAMABQAAACoABQAAAA0ABQAAABsABQAAAA0ADQACAmUAAAANAAQAAAANAAQAAgUAAAAZAAAAAAAFAAAADAAFAAAAIAAFAAAADAAFAAAAIQAOAAECZQAAAA4ABAAAAA4ABAACAgAAABoAAAAAAAUAAAADAAUAAAAiAA8AAQJlAAAADwAEAAAADwAEAAIAAAAAGQAAAAEABQAAAAsABQAAABUAEAADAmUAAAAQAAQAAAAQAAQAAgEAAAAZAAAAAgAFAAAACgAFAAAAEQAFAAAANwAFAAAAEQAFAAAANwAFAAAAEwARAAICZQAAABEABAAAABEABAACAQAAABkAAAADAAUAAAAQAAUAAAASAAUAAAAQAAUAAAATABIAAQJlAAAAEgAEAAAAEgAEAAIBAAAAGwAAAAAABQAAABEABQAAABMAEwADAmUAAAATAAQAAAATAAQAAgEAAAAbAAAAAQAFAAAAEgAFAAAAFAAFAAAAEQAFAAAAFAAFAAAAEAAFAAAAFAAUAAMCZQAAABQABAAAABQABAACAQAAABsAAAACAAUAAAATAAUAAAAZAAUAAAATAAUAAAAZAAUAAAATAAUAAAAbABUAAgJlAAAAFQAEAAAAFQAEAAIAAAAAGwAAAAMABQAAAA8ABQAAABcABQAAAAsABQAAAB0AFgABAmUAAAAWAAQAAAAWAAQAAgYAAAAbAAAABAAFAAAAIQAFAAAAOAAXAAECZQAAABcABAAAABcABAACAAAAAB8AAAAAAAUAAAAVAAUAAAAcABgAAgJlAAAAGAAEAAAAGAAEAAIEAAAAHwAAAAEABQAAADMABQAAABsABQAAADMABQAAABsAGQACAmUAAAAZAAQAAAAZAAQAAgEAAAAfAAAAAgAFAAAAFAAFAAAAGgAFAAAAFAAFAAAAJgAaAAECZQAAABoABAAAABoABAACAQAAAB8AAAADAAUAAAAZAAUAAAAmABsABAJlAAAAGwAEAAAAGwAEAAIEAAAAIwAAAAAABQAAABgABQAAACoABQAAABgABQAAAAwABQAAABQABQAAACEABQAAADIA////////HAABAmUAAAAcAAQAAAAcAAQAAgAAAAAkAAAAAAAFAAAAFwAFAAAAHQAdAAICZQAAAB0ABAAAAB0ABAACAAAAACQAAAABAAUAAAAcAAUAAAAeAAUAAAAVAAUAAAAkAB4AAQJlAAAAHgAEAAAAHgAEAAIAAAAAJAAAAAIABQAAAB0ABQAAAB8AHwABAmUAAAAfAAQAAAAfAAQAAgAAAAAlAAAAAAAFAAAAHgAFAAAAJAAgAAECZQAAACAABAAAACAABAACBQAAACUAAAABAAUAAAANAAUAAAAhACEAAwJlAAAAIQAEAAAAIQAEAAIFAAAAJQAAAAIABQAAACAABQAAABYABQAAAA0ABQAAAAgABQAAABsA////////IgABAmUAAAAiAAQAAAAiAAQAAgIAAAAlAAAAAwAFAAAADgAFAAAAKAAjAAECZQAAACMABAAAACMABAACCQAAACUAAAAEAAUAAAA5AAUAAAABACQAAwJlAAAAJAAEAAAAJAAEAAIAAAAAJQAAAAUABQAAAB8ABQAAACUABQAAAB0ABQAAACUABQAAAAsABQAAAC8AJQACAmUAAAAlAAQAAAAlAAQAAgAAAAAlAAAABgAFAAAAJAAFAAAAKQAFAAAAJAAFAAAAKQAmAAICZQAAACYABAAAACYABAACAQAAACUAAAAHAAUAAAAaAAUAAAAsAAUAAAAZAAUAAAADACcAAQJlAAAAJwAEAAAAJwAEAAIHAAAAJQAAAAgABQAAAAgABQAAAAYAKAABAmUAAAAoAAQAAAAoAAQAAgIAAAAlAAAACQAFAAAAIgAFAAAAKwApAAICZQAAACkABAAAACkABAACAAAAACUAAAAKAAUAAAAlAAUAAAAtAAUAAAAlAAUAAAAvACoAAQJlAAAAKgAEAAAAKgAEAAIEAAAAJQAAAAsABQAAABsABQAAAAwAKwACAmUAAAArAAQAAAArAAQAAgIAAABLAAAAAAAFAAAAKAAFAAAAMwAFAAAAAwAFAAAAMwAsAAECZQAAACwABAAAACwABAACAQAAAEsAAAABAAUAAAAmAAUAAAAuAC0AAQJlAAAALQAEAAAALQAEAAIAAAAASwAAAAIABQAAACkABQAAAC8ALgABAmUAAAAuAAQAAAAuAAQAAgEAAABLAAAAAwAFAAAALAAFAAAAMAAvAAQCZQAAAC8ABAAAAC8ABAACAAAAAEsAAAAEAAUAAAAtAAUAAAAxAAUAAAApAAUAAAAxAAUAAAAkAAUAAAAxAAUAAAALAAUAAAAyADAAAQJlAAAAMAAEAAAAMAAEAAIBAAAASwAAAAUABQAAAC4ABQAAAAMAMQADAmYAAAAAAAQAAAAxAAQAAgAAAABLAAAABgAFAAAALwAFAAAAMgAFAAAALwAFAAAAMgAFAAAALwAFAAAAMgAyAAUCZgAAAAEABAAAADIABAACAAAAAEsAAAAHAAUAAAAxAAUAAAA0AAUAAAAxAAUAAAA1AAUAAAAxAAUAAAA3AAUAAAAvAAUAAAAbAAUAAAALAP///////zMAAgJmAAAAAgAEAAAAMwAEAAIDAAAASwAAAAgABQAAACsABQAAABgABQAAACsABQAAABgANAABAmYAAAADAFMAAAAAAAQAAgAAAABLAAAACQAFAAAAMgAFAAAANQA1AAICZgAAAAQAUwAAAAEABAACAAAAAFQAAAAAAAUAAAA0AAUAAAA2AAUAAAAyAAUAAAA3ADYAAQJmAAAABQBTAAAAAgAEAAIAAAAAVAAAAAEABQAAADUABQAAADcANwADAmYAAAAGAFMAAAADAAQAAgAAAABUAAAAAgAFAAAANgAFAAAABQAFAAAANQAFAAAAEAAFAAAAMgAFAAAAEAA4AAECZgAAAAcAUwAAAAQABAACBgAAAFQAAAADAAUAAAAWAAUAAAAIADkAAgJmAAAACABTAAAABQAEAAIIAAAAZAAAAAAABQAAAAYABQAAACMABQAAAAY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AAAAT//////////wcAlQIAAAAAAAAAAAAA/////1ICUgIAAAVfaWQAEAAAAARCJ9IAz+jfTZs3s8Ggp0Z4A0RhdGEA5AEAAARQb2ludENvbG9yc1N0eWxlAAUAAAAAA1Nlcmllc0NvbG9yc1N0eWxlALUBAAADMQDVAAAAEFNlcmllc0luZGV4AAEAAAADUHJpbWFyeUNvbG9yU3R5bGUArAAAAAJDb2xvclByb3BlcnR5VGFyZ2V0AAgAAABQcmltYXJ5AANDb2xvck9yVGhlbWVDb2xvcgBzAAAAEFRoZW1lQ29sb3IABwAAAAFUaW50QW5kU2hhZGUAAAAAAAAAAAAQVGludEluZGV4AP////8QU2NoZW1lQ29sb3IAAAAAAANDb2xvcgAhAAAAEEEA/wAAABBSAPsAAAAQRwC6AAAAEEIAuQAAAAAAAAADMgDVAAAAEFNlcmllc0luZGV4AAIAAAADUHJpbWFyeUNvbG9yU3R5bGUArAAAAAJDb2xvclByb3BlcnR5VGFyZ2V0AAgAAABQcmltYXJ5AANDb2xvck9yVGhlbWVDb2xvcgBzAAAAEFRoZW1lQ29sb3IABQAAAAFUaW50QW5kU2hhZGUAAAAAAAAAAAAQVGludEluZGV4AP////8QU2NoZW1lQ29sb3IAAAAAAANDb2xvcgAhAAAAEEEA/wAAABBSAMcAAAAQRwAqAAAAEEIANAAAAAAAAAAAAAJOYW1lAB8AAABQb2ludEFuZFNlcmllc1N0eWxlRGVmaW5pdGlvbnMAEFZlcnNpb24AAAAAAAlMYXN0V3JpdGUA2iBsNZcBAAAAAQD/////kQKRAgAABV9pZAAQAAAABPBaxQc+y3hJk1+E4bgpfhQDRGF0YQA0AgAAA051bWJlckZvcm1hdFZhbHVlU3RyaW5ncwAVAgAAAk51bWJlckZvcm1hdElkUHJpbWFyeUNhdGVnb3J5ACUAAAAwMDAwMDAwMC0wMDAwLTAwMDAtMDAwMC0wMDAwMDAwMDAwMDAAAkFyaXRobWV0aWNPcGVyYXRpb25JZFByaW1hcnlDYXRlZ29yeQAlAAAAOWU4MWU0NDEtNTc1MC00YmZjLWJlNmEtMTFlMjQxODc3MjFmAAJQZXJjZW50Rm9ybWF0SWRQcmltYXJ5Q2F0ZWdvcnkAAwAAADAlAAJOdW1iZXJGb3JtYXRJZFByaW1hcnkAJQAAADAwMDAwMDAwLTAwMDAtMDAwMC0wMDAwLTAwMDAwMDAwMDAwMAACQXJpdGhtZXRpY09wZXJhdGlvbklkUHJpbWFyeQAlAAAAOWU4MWU0NDEtNTc1MC00YmZjLWJlNmEtMTFlMjQxODc3MjFmAAJQZXJjZW50Rm9ybWF0SWRQcmltYXJ5AAMAAAAwJQACTnVtYmVyRm9ybWF0SWRTZWNvbmRhcnkAJQAAADAwMDAwMDAwLTAwMDAtMDAwMC0wMDAwLTAwMDAwMDAwMDAwMAACQXJpdGhtZXRpY09wZXJhdGlvbklkU2Vjb25kYXJ5ACUAAAA5ZTgxZTQ0MS01NzUwLTRiZmMtYmU2YS0xMWUyNDE4NzcyMWYAAlBlcmNlbnRGb3JtYXRJZFNlY29uZGFyeQADAAAAMCUAAAACTmFtZQAOAAAATnVtYmVyRm9ybWF0cwAQVmVyc2lvbgACAAAACUxhc3RXcml0ZQBa1Ww1lwEAAAACAP////+ZAJkAAAAFX2lkABAAAAAEhUJdCPQrSUSrlRteuaK3kwNEYXRhAC8AAAAISXNBY3RpdmUAAARVbmJyZWFrYWJsZVNlcmllc0luZGljZXMABQAAAAAAAk5hbWUAGwAAAEF1dG9tYXRpY0JyZWFrU2V0dGluZ3NEYXRhABBWZXJzaW9uAAAAAAAJTGFzdFdyaXRlAF3b2dJwAQAAAAMA/////0EHQQcAAAVfaWQAEAAAAAQY5QALzGBZS4FvTbG2dnMcA0RhdGEA1wYAAAhFeGNlbENvbG9yTW9kZUFjdGl2ZQAACENvbG9yQ2FjaGVSZXBhaXJlZEZvckxpbmtlZENoYXJ0cwAABENvbG9yQ2FjaGUAiwYAAAMwAIgAAAADQ2VsbEFkZHJlc3MAGgAAABBSb3cAAAAAABBDb2x1bW4AAAAAAAADQ29sb3IAVQAAABBBAP8AAAAQUgCmAAAAEEcApgAAABBCAKYAAAABU2NBAAAAAAAAAPA/AVNjUgAAAABgpWfYPwFTY0cAAAAAYKVn2D8BU2NCAAAAAGClZ9g/AAADMQCIAAAAA0NlbGxBZGRyZXNzABoAAAAQUm93AAAAAAAQQ29sdW1uAAEAAAAAA0NvbG9yAFUAAAAQQQD/AAAAEFIApgAAABBHAKYAAAAQQgCmAAAAAVNjQQAAAAAAAADwPwFTY1IAAAAAYKVn2D8BU2NHAAAAAGClZ9g/AVNjQgAAAABgpWfYPwAAAzIAiAAAAANDZWxsQWRkcmVzcwAaAAAAEFJvdwAAAAAAEENvbHVtbgACAAAAAANDb2xvcgBVAAAAEEEA/wAAABBSAKYAAAAQRwCmAAAAEEIApgAAAAFTY0EAAAAAAAAA8D8BU2NSAAAAAGClZ9g/AVNjRwAAAABgpWfYPwFTY0IAAAAAYKVn2D8AAAMzAIgAAAADQ2VsbEFkZHJlc3MAGgAAABBSb3cAAAAAABBDb2x1bW4AAwAAAAADQ29sb3IAVQAAABBBAP8AAAAQUgCmAAAAEEcApgAAABBCAKYAAAABU2NBAAAAAAAAAPA/AVNjUgAAAABgpWfYPwFTY0cAAAAAYKVn2D8BU2NCAAAAAGClZ9g/AAADNACIAAAAA0NlbGxBZGRyZXNzABoAAAAQUm93AAEAAAAQQ29sdW1uAAAAAAAAA0NvbG9yAFUAAAAQQQD/AAAAEFIA3QAAABBHAN0AAAAQQgDdAAAAAVNjQQAAAAAAAADwPwFTY1IAAAAAgEQj5z8BU2NHAAAAAIBEI+c/AVNjQgAAAACARCPnPwAAAzUAiAAAAANDZWxsQWRkcmVzcwAaAAAAEFJvdwABAAAAEENvbHVtbgABAAAAAANDb2xvcgBVAAAAEEEAAAAAABBSAP8AAAAQRwD/AAAAEEIA/wAAAAFTY0EAAAAAAAAAAAABU2NSAAAAAAAAAPA/AVNjRwAAAAAAAADwPwFTY0IAAAAAAAAA8D8AAAM2AIgAAAADQ2VsbEFkZHJlc3MAGgAAABBSb3cAAQAAABBDb2x1bW4AAgAAAAADQ29sb3IAVQAAABBBAAAAAAAQUgD/AAAAEEcA/wAAABBCAP8AAAABU2NBAAAAAAAAAAAAAVNjUgAAAAAAAADwPwFTY0cAAAAAAAAA8D8BU2NCAAAAAAAAAPA/AAADNwCIAAAAA0NlbGxBZGRyZXNzABoAAAAQUm93AAEAAAAQQ29sdW1uAAMAAAAAA0NvbG9yAFUAAAAQQQAAAAAAEFIA/wAAABBHAP8AAAAQQgD/AAAAAVNjQQAAAAAAAAAAAAFTY1IAAAAAAAAA8D8BU2NHAAAAAAAAAPA/AVNjQgAAAAAAAADwPwAAAzgAiAAAAANDZWxsQWRkcmVzcwAaAAAAEFJvdwACAAAAEENvbHVtbgAAAAAAAANDb2xvcgBVAAAAEEEA/wAAABBSAN0AAAAQRwDdAAAAEEIA3QAAAAFTY0EAAAAAAAAA8D8BU2NSAAAAAIBEI+c/AVNjRwAAAACARCPnPwFTY0IAAAAAgEQj5z8AAAM5AIgAAAADQ2VsbEFkZHJlc3MAGgAAABBSb3cAAgAAABBDb2x1bW4AAQAAAAADQ29sb3IAVQAAABBBAAAAAAAQUgD/AAAAEEcA/wAAABBCAP8AAAABU2NBAAAAAAAAAAAAAVNjUgAAAAAAAADwPwFTY0cAAAAAAAAA8D8BU2NCAAAAAAAAAPA/AAADMTAAiAAAAANDZWxsQWRkcmVzcwAaAAAAEFJvdwACAAAAEENvbHVtbgACAAAAAANDb2xvcgBVAAAAEEEAAAAAABBSAP8AAAAQRwD/AAAAEEIA/wAAAAFTY0EAAAAAAAAAAAABU2NSAAAAAAAAAPA/AVNjRwAAAAAAAADwPwFTY0IAAAAAAAAA8D8AAAMxMQCIAAAAA0NlbGxBZGRyZXNzABoAAAAQUm93AAIAAAAQQ29sdW1uAAMAAAAAA0NvbG9yAFUAAAAQQQAAAAAAEFIA/wAAABBHAP8AAAAQQgD/AAAAAVNjQQAAAAAAAAAAAAFTY1IAAAAAAAAA8D8BU2NHAAAAAAAAAPA/AVNjQgAAAAAAAADwPwAAAAACTmFtZQAbAAAARXhjZWxDb2xvck1vZGVEYXRhUHJvcGVydHkAEFZlcnNpb24AAQAAAAlMYXN0V3JpdGUA33JsNZcBAAAABAAHAAAAAAAFABYAAAAAAAYA/////10AXQAAAAVfaWQAEAAAAASo29cPaTIFRKzuxv6LzQ2EBERhdGEABQAAAAACTmFtZQAJAAAAT3ZlcmxheXMAEFZlcnNpb24ABwAAAAlMYXN0V3JpdGUAaBxs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F/////wgAAADnDwAAAAAAAAAAAAAcigAABV9pZAAQAAAABAviIwvC6jNOqxYM9INlw4oDRGF0YQDCiQAAA0RhdGFMYWJlbHNQZXJBeGlzAIuJAAADUHJpbWFyeQBMhwAABERhdGFMYWJlbHMAK4UAAAMwAC4WAAAQUG9pbnRJbmRleAABAAAAAkFsaWdubWVudAAHAAAAQ2VudGVyABBTZXJpZXNJbmRleAABAAAACFJlcXVpcmVGb250Q29sb3JNaWdyYXRpb24AAAhNYW51YWxEYXRhTGFiZWxCYWNrZ3JvdW5kVmlzaWJsZQAACEhhc1dpc2hDb2xvcgAAA1RleHRCb3gAvAYAAAVNYW5hZ2VkSWQAEAAAAAT1CbusM3cjR4h1mWdf5dUtCEhhc0NoYW5nZXMAAAhVc2VOYW1lSW5zdGVhZE9mVGFnQXNJZAABCFNoYXBlUHJldmlvdXNseUNyZWF0ZWQAAQNGaWxsQ29sb3IAVQAAABBBAP8AAAAQUgD7AAAAEEcAugAAABBCALkAAAABU2NBAAAAAAAAAPA/AVNjUgAAAADAtd7uPwFTY0cAAAAA4OJs3z8BU2NCAAAAAGCyDN8/ABBGaWxsVGhlbWVDb2xvcgAH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AAAADEwJQACVGV4dEhvcml6b250YWxBbGlnbm1lbnQAEAAAAG1zb0FuY2hvckNlbnRlcg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QAAAAxMCUAAUhlaWdodAAAAACgIp4qQAFXaWR0aAAAAABA1PE2QAFUb3AAAAAAQCEOaEABTGVmdAAAAAAg2cQ5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HxW4wPzvIJOqajJ5yyr/ks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RcpKpOfpj+S4BpRbph//J4CEhhc0NoYW5nZXMAAQhVc2VOYW1lSW5zdGVhZE9mVGFnQXNJZAABCFNoYXBlUHJldmlvdXNseUNyZWF0ZWQAAANGaWxsQ29sb3IAVQAAABBBAAAAAAAQUgAAAAAAEEcAAAAAABBCAAAAAAABU2NBAAAAAAAAAPC/AVNjUgAAAAAAAADwvwFTY0cAAAAIAAAABQcAAAAJAAAA5w8AAAAAAAAA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KDhnkJAAVkAAAAAO4DGaEAACEhhc0xlYWRlckxpbmUAAAhJc0NlbnRlckF1dG9tYXRpY0FkanVzdGVkAAAISXNVc2VyUG9zaXRpb24AAAhBZGRQcmVmaXhTcGFjZQAACEFkZFBvc3RmaXhTcGFjZQAAAlNlcGFyYXRvcgACAAAACgACVGV4dAAEAAAAMTAlAAhSZXF1aXJlUmVsYXRpdmVQb3NpdGlvblVwZ3JhZGUAAAhJc0dlb21ldHJ5T3V0T2ZCb3VuZHMAAAhJc0xlYWRlckxpbmVJbkF1dG9Nb2RlAAEIRGVsZXRlZAAAAAMxAC4WAAAQUG9pbnRJbmRleAACAAAAAkFsaWdubWVudAAHAAAAQ2VudGVyABBTZXJpZXNJbmRleAABAAAACFJlcXVpcmVGb250Q29sb3JNaWdyYXRpb24AAAhNYW51YWxEYXRhTGFiZWxCYWNrZ3JvdW5kVmlzaWJsZQAACEhhc1dpc2hDb2xvcgAAA1RleHRCb3gAvAYAAAVNYW5hZ2VkSWQAEAAAAASvh9K1M3nNSalCW06P+pskCEhhc0NoYW5nZXMAAAhVc2VOYW1lSW5zdGVhZE9mVGFnQXNJZAABCFNoYXBlUHJldmlvdXNseUNyZWF0ZWQAAQNGaWxsQ29sb3IAVQAAABBBAP8AAAAQUgD7AAAAEEcAugAAABBCALkAAAABU2NBAAAAAAAAAPA/AVNjUgAAAADAtd7uPwFTY0cAAAAA4OJs3z8BU2NCAAAAAGCyDN8/ABBGaWxsVGhlbWVDb2xvcgAH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AAAADc0JQACVGV4dEhvcml6b250YWxBbGlnbm1lbnQAEAAAAG1zb0FuY2hvckNlbnRlcg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QAAAA3NCUAAUhlaWdodAAAAACgIp4qQAFXaWR0aAAAAABA1PE2QAFUb3AAAAAAAJ3fWkABTGVmdAAAAABgAtph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PkPkNY+/FJNmN6T/mvAF3A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CQAAAAUIAAAACgAAAOcPAAAA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AAAAAAAVkAAAAAAAAAAAAAA0VuZAAbAAAAAVgAAAAAAAAAAAABWQAAAAAAAAAAAAACU3RhcnRBcnJvd0hlYWQAEQAAAG1zb0Fycm93aGVhZE5vbmUAAkVuZEFycm93SGVhZAARAAAAbXNvQXJyb3doZWFkTm9uZQAFTWFuYWdlZElkABAAAAAEO8FO5tcEA0i8FvED9i45r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KQfSWNAAVkAAAAA9lpQXEAACEhhc0xlYWRlckxpbmUAAAhJc0NlbnRlckF1dG9tYXRpY0FkanVzdGVkAAAISXNVc2VyUG9zaXRpb24AAAhBZGRQcmVmaXhTcGFjZQAACEFkZFBvc3RmaXhTcGFjZQAAAlNlcGFyYXRvcgACAAAACgACVGV4dAAEAAAANzQlAAhSZXF1aXJlUmVsYXRpdmVQb3NpdGlvblVwZ3JhZGUAAAhJc0dlb21ldHJ5T3V0T2ZCb3VuZHMAAAhJc0xlYWRlckxpbmVJbkF1dG9Nb2RlAAEIRGVsZXRlZAAAAAMyAC4WAAAQUG9pbnRJbmRleAADAAAAAkFsaWdubWVudAAHAAAAQ2VudGVyABBTZXJpZXNJbmRleAABAAAACFJlcXVpcmVGb250Q29sb3JNaWdyYXRpb24AAAhNYW51YWxEYXRhTGFiZWxCYWNrZ3JvdW5kVmlzaWJsZQAACEhhc1dpc2hDb2xvcgAAA1RleHRCb3gAvAYAAAVNYW5hZ2VkSWQAEAAAAASAdbPdFCuFSoB+o5XW5YSMCEhhc0NoYW5nZXMAAAhVc2VOYW1lSW5zdGVhZE9mVGFnQXNJZAABCFNoYXBlUHJldmlvdXNseUNyZWF0ZWQAAQNGaWxsQ29sb3IAVQAAABBBAP8AAAAQUgD7AAAAEEcAugAAABBCALkAAAABU2NBAAAAAAAAAPA/AVNjUgAAAADAtd7uPwFTY0cAAAAA4OJs3z8BU2NCAAAAAGCyDN8/ABBGaWxsVGhlbWVDb2xvcgAH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AAAADE2JQACVGV4dEhvcml6b250YWxBbGlnbm1lbnQAEAAAAG1zb0FuY2hvckNlbnRlcgACUGFyYWdyYXBoQWxpZ25tZW50AA8AAABtc29BbGlnbkNlbnRlcgACVGV4dFZlcnRpY2FsQWxpZ25tZW50ABAAAABtc29BbmNob3JNaWRkbAoAAAAFCQAAAAsAAADnDwAAAAAAAAAAAAB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EAAAAMTYlAAFIZWlnaHQAAAAAoCKeKkABV2lkdGgAAAAAQNTxNkABVG9wAAAAAKBJD2dAAUxlZnQAAAAA4LQ9c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TBGeJrEeGVR7GaV6u0WMuI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AAAAAAAVkAAAAAAAAAAAAAA0VuZAAbAAAAAVgAAAAAAAAAAAABWQAAAAAAAAAAAAACU3RhcnRBcnJvd0hlYWQAEQAAAG1zb0Fycm93aGVhZE5vbmUAAkVuZEFycm93SGVhZAARAAAAbXNvQXJyb3doZWFkTm9uZQAFTWFuYWdlZElkABAAAAAEbp6iXWtIZUuRrzt4MBH9Kg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LAAAABQoAAAAMAAAA5w8AAAAAAAAA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CCQ/VwQAFZAAAAAJuox2dAAAhIYXNMZWFkZXJMaW5lAAAISXNDZW50ZXJBdXRvbWF0aWNBZGp1c3RlZAAACElzVXNlclBvc2l0aW9uAAAIQWRkUHJlZml4U3BhY2UAAAhBZGRQb3N0Zml4U3BhY2UAAAJTZXBhcmF0b3IAAgAAAAoAAlRleHQABAAAADE2JQAIUmVxdWlyZVJlbGF0aXZlUG9zaXRpb25VcGdyYWRlAAAISXNHZW9tZXRyeU91dE9mQm91bmRzAAAISXNMZWFkZXJMaW5lSW5BdXRvTW9kZQABCERlbGV0ZWQAAAADMwAuFgAAEFBvaW50SW5kZXgAAQAAAAJBbGlnbm1lbnQABwAAAENlbnRlcgAQU2VyaWVzSW5kZXgAAgAAAAhSZXF1aXJlRm9udENvbG9yTWlncmF0aW9uAAAITWFudWFsRGF0YUxhYmVsQmFja2dyb3VuZFZpc2libGUAAAhIYXNXaXNoQ29sb3IAAANUZXh0Qm94ALwGAAAFTWFuYWdlZElkABAAAAAE4DzDnkQNGUe35XW5lQhAng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QAAAAyNCUAAlRleHRIb3Jpem9udGFsQWxpZ25tZW50ABAAAABtc29BbmNob3JDZW50ZXI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EAAAAMjQlAAFIZWlnaHQAAAAAoCKeKkABV2lkdGgAAAAAQNTxNkABVG9wAAAAACB/u2VAAUxlZnQAAAAAgCQVU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SLrcHpf5tHR5kgyVjNrMrt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DAAAAAULAAAADQAAAOcPAAAAAAAAAAA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N6+CTZlT39Np6LJ6tu9c/4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AIX/NTQAFZAAAAABvec2ZAAAhIYXNMZWFkZXJMaW5lAAAISXNDZW50ZXJBdXRvbWF0aWNBZGp1c3RlZAAACElzVXNlclBvc2l0aW9uAAAIQWRkUHJlZml4U3BhY2UAAAhBZGRQb3N0Zml4U3BhY2UAAAJTZXBhcmF0b3IAAgAAAAoAAlRleHQABAAAADI0JQAIUmVxdWlyZVJlbGF0aXZlUG9zaXRpb25VcGdyYWRlAAAISXNHZW9tZXRyeU91dE9mQm91bmRzAAAISXNMZWFkZXJMaW5lSW5BdXRvTW9kZQABCERlbGV0ZWQAAAADNAAuFgAAEFBvaW50SW5kZXgAAgAAAAJBbGlnbm1lbnQABwAAAENlbnRlcgAQU2VyaWVzSW5kZXgAAgAAAAhSZXF1aXJlRm9udENvbG9yTWlncmF0aW9uAAAITWFudWFsRGF0YUxhYmVsQmFja2dyb3VuZFZpc2libGUAAAhIYXNXaXNoQ29sb3IAAANUZXh0Qm94ALwGAAAFTWFuYWdlZElkABAAAAAEogSs8OEE8EeGAfntbEbpqg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QAAAA1MCUAAlRleHRIb3Jpem9udGFsQWxpZ25tZW50ABAAAABtc29BbmNob3JDZW50ZXI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EAAAANTAlAAFIZWlnaHQAAAAAoCKeKkABV2lkdGgAAAAAQNTxNkABVG9wAAAAAIAta2FAAUxlZnQAAAAAgPkrZ0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w0AAAAFDAAAAA4AAADnDwAAAAAAAAAAAAB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AAAAAAAAVkAAAAAAAAAAAAAA0VuZAAbAAAAAVgAAAAAAAAAAAABWQAAAAAAAAAAAAACU3RhcnRBcnJvd0hlYWQAEQAAAG1zb0Fycm93aGVhZE5vbmUAAkVuZEFycm93SGVhZAARAAAAbXNvQXJyb3doZWFkTm9uZQAFTWFuYWdlZElkABAAAAAEjOWgQiMKYEimzwyRTRHei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Lm5D3vJBmZJv8EFX5/W9yU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DEFptoQAFZAAAAAHuMI2JAAAhIYXNMZWFkZXJMaW5lAAAISXNDZW50ZXJBdXRvbWF0aWNBZGp1c3RlZAAACElzVXNlclBvc2l0aW9uAAAIQWRkUHJlZml4U3BhY2UAAAhBZGRQb3N0Zml4U3BhY2UAAAJTZXBhcmF0b3IAAgAAAAoAAlRleHQABAAAADUwJQAIUmVxdWlyZVJlbGF0aXZlUG9zaXRpb25VcGdyYWRlAAAISXNHZW9tZXRyeU91dE9mQm91bmRzAAAISXNMZWFkZXJMaW5lSW5BdXRvTW9kZQABCERlbGV0ZWQAAAAOAAAABQ0AAAAPAAAA5w8AAAAAAAAAAAAAAzUALhYAABBQb2ludEluZGV4AAMAAAACQWxpZ25tZW50AAcAAABDZW50ZXIAEFNlcmllc0luZGV4AAIAAAAIUmVxdWlyZUZvbnRDb2xvck1pZ3JhdGlvbgAACE1hbnVhbERhdGFMYWJlbEJhY2tncm91bmRWaXNpYmxlAAAISGFzV2lzaENvbG9yAAADVGV4dEJveAC8BgAABU1hbmFnZWRJZAAQAAAABIIAjAQrMMxLrz8bc3xSQc0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EAAAAMjY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AAAADI2JQABSGVpZ2h0AAAAAKAinipAAVdpZHRoAAAAAEDU8TZAAVRvcAAAAACgjGZlQAFMZWZ0AAAAAGCw5nJ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AAAAAAAAVkAAAAAAAAAAAAAA0VuZAAbAAAAAVgAAAAAAAAAAAABWQAAAAAAAAAAAAACU3RhcnRBcnJvd0hlYWQAEQAAAG1zb0Fycm93aGVhZE5vbmUAAkVuZEFycm93SGVhZAARAAAAbXNvQXJyb3doZWFkTm9uZQAFTWFuYWdlZElkABAAAAAEzWTdeEnmNUybvm6vbyRBQ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OmehAcrFflMkor1HVRi19k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DwAAAAUOAAAA/////+QKAwUAAAAAAAAAA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Aj+ec0ABWQAAAACb6x5mQAAISGFzTGVhZGVyTGluZQAACElzQ2VudGVyQXV0b21hdGljQWRqdXN0ZWQAAAhJc1VzZXJQb3NpdGlvbgAACEFkZFByZWZpeFNwYWNlAAAIQWRkUG9zdGZpeFNwYWNlAAACU2VwYXJhdG9yAAIAAAAKAAJUZXh0AAQAAAAyNiUACFJlcXVpcmVSZWxhdGl2ZVBvc2l0aW9uVXBncmFkZQAACElzR2VvbWV0cnlPdXRPZkJvdW5kcwAACElzTGVhZGVyTGluZUluQXV0b01vZGUAAQhEZWxldGVk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MYWJlbHNWaXNpYmxlAAEIQXV0b21hdGljTGFiZWxCYWNrZ3JvdW5kc0VuYWJsZWQAAAADU2Vjb25kYXJ5ACYCAAAERGF0YUxhYmVscwAF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MYWJlbHNWaXNpYmxlAAEIQXV0b21hdGljTGFiZWxCYWNrZ3JvdW5kc0VuYWJsZWQAAAAACERpc2FibGVBdXRvbWF0aWNEZWFjdGl2YXRpb24AAAACTmFtZQALAAAARGF0YUxhYmVscwAQVmVyc2lvbgAIAAAACUxhc3RXcml0ZQBTBa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AAAAAEQAAAFE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AAAAABIAAAAQ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gAAAAATAAAAEQ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MAAAAAFAAAABI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UAAAAABUAAAAT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QAAAABFAAAAFA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YAAAAF/////xcAAADnDwAAAAAAAAAAAADHFAAABV9pZAAQAAAABKqUYg9s8u9AnLpRYL0XfcoDRGF0YQBsFAAAA1Nlcmllc1N0eWxlcwDLAgAAAzEAYAEAAAJTdHlsZQASAAAAeGxNYXJrZXJTdHlsZU5vbmUAEFNpemUACAAAAANDb2xvcgBVAAAAEEEA/wAAABBSABIAAAAQRwA/AAAAEEIAbgAAAAFTY0EAAAAAAAAA8D8BU2NSAAAAAECpxng/AVNjRwAAAACgI3OpPwFTY0IAAAAAAGb1wz8AAVRpbnQAAAAAAAAAAAADVGhlbWVDb2xvclBvc2l0aW9uALYAAAACX3R5cGUAUQAAAGVtcG93ZXIuQ2hhcnRzLkNvbW1vbi5Db2xvclRyYW5zbGF0aW9uLlRoZW1lQ29sb3JQb3NpdGlvbiwgZW1wb3dlci5DaGFydHMuQ29tbW9uABBUaGVtZUNvbG9yU2NoZW1lSW5kZXgABQAAAAJJbmRleAAHAAAATm9UaW50AAhJc0RlZmF1bHRDb2xvcgAAEERlZmF1bHRDb2xvckluZGV4AP////8AAAMyAGABAAACU3R5bGUAEgAAAHhsTWFya2VyU3R5bGVOb25lABBTaXplAAgAAAADQ29sb3IAVQAAABBBAP8AAAAQUgCFAAAAEEcAmwAAABBCALMAAAABU2NBAAAAAAAAAPA/AVNjUgAAAADgwAXOPwFTY0cAAAAAAFH61D8BU2NCAAAAAKCs2dw/AAFUaW50AAAAAAAAAAAAA1RoZW1lQ29sb3JQb3NpdGlvbgC2AAAAAl90eXBlAFEAAABlbXBvd2VyLkNoYXJ0cy5Db21tb24uQ29sb3JUcmFuc2xhdGlvbi5UaGVtZUNvbG9yUG9zaXRpb24sIGVtcG93ZXIuQ2hhcnRzLkNvbW1vbgAQVGhlbWVDb2xvclNjaGVtZUluZGV4AAYAAAACSW5kZXgABwAAAE5vVGludAAISXNEZWZhdWx0Q29sb3IAABBEZWZhdWx0Q29sb3JJbmRleAD/////AAAABFBvaW50U3R5bGVzAEkRAAADMAC3AQAAA1BvaW50QWRkcmVzcwAzAAAAEFNlcmllc0luZGV4AAEAAAAQUG9pbnRJbmRleAABAAAACElzUG9pbnRTdW0AAAADTWFya2VyU3R5bGVEYXRhAGABAAACU3R5bGUAEgAAAHhsTWFya2VyU3R5bGVOb25lABBTaXplAAgAAAADQ29sb3IAVQAAABBBAP8AAAAQUgASAAAAEEcAPwAAABBCAG4AAAABU2NBAAAAAAAAAPA/AVNjUgAAAABAqcZ4PwFTY0cAAAAAoCNzqT8BU2NCAAAAAABm9cM/AAFUaW50AAAAAAAAAAAAA1RoZW1lQ29sb3JQb3NpdGlvbgC2AAAAAl90eXBlAFEAAABlbXBvd2VyLkNoYXJ0cy5Db21tb24uQ29sb3JUcmFuc2xhdGlvbi5UaGVtZUNvbG9yUG9zaXRpb24sIGVtcG93ZXIuQ2hhcnRzLkNvbW1vbgAQVGhlbWVDb2xvclNjaGVtZUluZGV4AAUAAAACSW5kZXgABwAAAE5vVGludAAISXNEZWZhdWx0Q29sb3IAABBEZWZhdWx0Q29sb3JJbmRleAD/////AAAAAzEAtwEAAANQb2ludEFkZHJlc3MAMwAAABBTZXJpZXNJbmRleAABAAAAEFBvaW50SW5kZXgAAgAAAAhJc1BvaW50U3VtAAAAA01hcmtlclN0eWxlRGF0YQBgAQAAAlN0eWxlABIAAAB4bE1hcmtlclN0eWxlTm9uZQAQU2l6ZQAIAAAAA0NvbG9yAFUAAAAQQQD/AAAAEFIAEgAAABBHAD8AAAAQQgBuAAAAAVNjQQAAAAAAAADwPwFTY1IAAAAAQKnGeD8BU2NHAAAAAKAjc6k/AVNjQgAAAAAAZvXDPwABVGludAAAAAAAAAAAAANUaGVtZUNvbG9yUG9zaXRpb24AtgAAAAJfdHlwZQBRAAAAZW1wb3dlci5DaGFydHMuQ29tbW9uLkNvbG9yVHJhbnNsYXRpb24uVGhlbWVDb2xvclBvc2l0aW9uLCBlbXBvd2VyLkNoYXJ0cy5Db21tb24AEFRoZW1lQ29sb3JTY2hlbWVJbmRleAAFAAAAAkluZGV4AAcAAABOb1RpbnQACElzRGVmYXVsdENvbG9yAAAQRGVmYXVsdENvbG9ySW5kZXgA/////wAAAAMyALcBAAADUG9pbnRBZGRyZXNzADMAAAAQU2VyaWVzSW5kZXgAAQAAABBQb2ludEluZGV4AAMAAAAISXNQb2ludFN1bQAAAANNYXJrZXJTdHlsZURhdGEAYAEAAAJTdHlsZQASAAAAeGxNYXJrZXJTdHlsZU5vbmUAEFNpemUACAAAAANDb2xvcgBVAAAAEEEA/wAAABBSABIAAAAQRwA/AAAAEEIAbgAAAAFTY0EAAAAAAAAA8D8BU2NSAAAAAECpxng/AVNjRwAAAACgI3OpPwFTY0IAAAAAAGb1wz8AAVRpbnQAAAAAAAAAAAADVGhlbWVDb2xvclBvc2l0aW9uALYAAAACX3R5cGUAUQAAAGVtcG93ZXIuQ2hhcnRzLkNvbW1vbi5Db2xvclRyYW5zbGF0aW9uLlRoZW1lQ29sb3JQb3NpdGlvbiwgZW1wb3dlci5DaGFydHMuQ29tbW9uABBUaGVtZUNvbG9yU2NoZW1lSW5kZXgABQAAAAJJbmRleAAHAAAATm9UaW50AAhJc0RlZmF1bHRDb2xvcgAAEERlZmF1bHRDb2xvckluZGV4AP////8AAAADMwC3AQAAA1BvaW50QWRkcmVzcwAzAAAAEFNlcmllc0luZGV4AAEAAAAQUG9pbnRJbmRleAAEAAAACElzUG9pbnRTdW0AAAADTWFya2VyU3R5bGVEYXRhAGABAAACU3R5bGUAEgAAAHhsTWFya2VyU3R5bGVOb25lABBTaXplAAgAAAADQ29sb3IAVQAAABBBAP8AAAAQUgASAAAAEEcAPwAAABBCAG4AAAABU2NBAAAAAAAAAPA/AVNjUgAAAABAqcZ4PwFTY0cAAAAAoCNzqT8BU2NCAAAAAABm9cM/AAFUaW50AAAAAAAAAAAAA1RoZW1lQ29sb3JQb3NpdGlvbgC2AAAAAl90eXBlAFEAAABlbXBvd2VyLkNoYXJ0cy5Db21tb24uQ29sb3JUcmFuc2xhdGlvbi5UaGVtZUNvbG9yUG9zaXRpb24sIGVtcG93ZXIuQ2hhcnRzLkNvbW1vbgAQVGhlbWVDb2xvclNjaGVtZUluZGV4AAUAAAACSW5kZXgABwAAAE5vVGludAAISXNEZWZhdWx0Q29sb3IAABBEZWZhdWx0Q29sb3JJbmRleAD/////AAAAAzQAtwEAAANQb2ludEFkZHJlc3MAMwAAABBTZXJpZXNJbmRleAABAAAAEFBvaW50SW5kZXgABQAAAAhJc1BvaW50U3VtAAAAA01hcmtlclN0eWxlRGF0YQBgAQAAAlN0eWxlABIAAAB4bE1hcmtlclN0eWxlTm9uZQAQU2l6ZQAIAAAAA0NvbG9yAFUAAAAQQQD/AAAAEFIAEgAAABBHAD8AAAAQQgBuAAAAAVNjQQAAAAAAAADwPwFTY1IAAAAAQKnGeD8BU2NHAAAAAKAjc6k/AVNjQgAAAAAAZvXDPwABVGludAAAAAAAAAAAAANUaGVtZUNvbG9yUG9zaXRpb24AtgAAAAJfdHlwZQBRAAAAZW1wb3dlci5DaGFydHMuQ29tbW9uLkNvbG9yVHJhbnNsYXRpb24uVGhlbWVDb2xvclBvc2l0aW9uLCBlbXBvd2VyLkNoYXJ0cy5Db21tb24AEFRoZW1lQ29sb3JTY2hlbWVJbmRleAAFAAAAAkluZGV4AAcAAABOb1RpbnQACElzRGVmYXVsdENvbG9yAAAQRGVmYXVsdENvbG9ySW5kZXgA/////wAAAAM1ALcBAAADUG9pbnRBZGRyZXNzADMAAAAQU2VyaWVzSW5kZXgAAgAAABBQb2ludEluZGV4AAEAAAAISXNQb2ludFN1bQAAAANNYXJrZXJTdHlsZURhdGEAYAEAAAJTdHlsZQASAAAAeGxNYXJrZXJTdHlsZU5vbmUAEFNpemUACAAAAANDb2xvcgBVAAAAEEEA/wAAABBSAIUAAAAQRwCbAAAAEEIAswAAAAFTY0EAAAAAAAAA8D8BU2NSAAAAAODABc4/AVNjRwAAAAAAUfrUPwFTY0IAAAAAoKzZ3D8AAVRpbnQAAAAAAAAAAAADVGhlbWVDb2xvclBvc2l0aW9uALYAAAACX3R5cGUAUQAAAGVtcG93ZXIuQ2hhcnRzLkNvbW1vbi5Db2xvclRyYW5zbGF0aW9uLlRoZW1lQ29sb3JQb3NpdGlvbiwgZW1wb3dlci5DaGFydHMuQ29tbW9uABBUaGVtZUNvbG9yU2NoZW1lSW5kZXgABgAAAAJJbmRleAAHAAAATm9UaW50AAhJc0RlZmF1bHRDb2xvcgAAEERlZmF1bHRDb2xvckluZGV4AP////8AAAADNgC3AQAAA1BvaW50QWRkcmVzcwAzAAAAEFNlcmllc0luZGV4AAIAAAAQUG9pbnRJbmRleAACAAAACElzUG9pbnRTdW0AAAADTWFya2VyU3R5bGVEYXRhAGABAAACU3R5bGUAEgAAAHhsTWFya2VyU3R5bGVOb25lABBTaXplAAgAAAADQ29sb3IAVQAAABBBAP8AAAAQUgCFAAAAEEcAmwAAABBCALMAAAABU2NBAAAAAAAAAPA/AVNjUgAAAADgwAXOPwFTY0cAAAAAAFH61D8BU2NCAAAAAKCs2dw/AAFUaW50AAAAAAAAAAAAA1RoZW1lQ29sb3JQb3NpdGlvbgC2AAAAAl90eXBlAFEAAABlbXBvd2VyLkNoYXJ0cy5Db21tb24uQ29sb3JUcmFuc2xhdGlvbi5UaGVtZUNvbG9yUG9zaXRpb24sIGVtcG93ZXIuQ2hhcnRzLkNvbW1vbgAQVGhlbWVDb2xvclNjaGVtZUluZGV4AAYAAAACSW5kZXgABwAAAE5vVGludAAISXNEZWZhdWx0Q29sb3IAABBEZWZhdWx0Q29sb3JJbmRleAD/////AAAAAzcAtwEAAANQb2ludEFkZHJlc3MAMwAAABBTZXJpZXNJbmRleAACAAAAEFBvaW50SW5kZXgAAwAAAAhJc1BvaW50U3VtAAAAA01hcmtlclN0eWxlRGF0YQBgAQAAAlN0eWxlABIAAAB4bE1hcmtlclN0eWxlTm9uZQAQU2l6ZQAIAAAAA0NvbG9yAFUAAAAQQQD/AAAAEFIAhQAAABBHAJsAAAAQQgCzAAAAAVNjQQAAAAAAAADwPwFTY1IAAAAXAAAABRYAAAD/////4AQHCwAAAAAAAAAAAODABc4/AVNjRwAAAAAAUfrUPwFTY0IAAAAAoKzZ3D8AAVRpbnQAAAAAAAAAAAADVGhlbWVDb2xvclBvc2l0aW9uALYAAAACX3R5cGUAUQAAAGVtcG93ZXIuQ2hhcnRzLkNvbW1vbi5Db2xvclRyYW5zbGF0aW9uLlRoZW1lQ29sb3JQb3NpdGlvbiwgZW1wb3dlci5DaGFydHMuQ29tbW9uABBUaGVtZUNvbG9yU2NoZW1lSW5kZXgABgAAAAJJbmRleAAHAAAATm9UaW50AAhJc0RlZmF1bHRDb2xvcgAAEERlZmF1bHRDb2xvckluZGV4AP////8AAAADOAC3AQAAA1BvaW50QWRkcmVzcwAzAAAAEFNlcmllc0luZGV4AAIAAAAQUG9pbnRJbmRleAAEAAAACElzUG9pbnRTdW0AAAADTWFya2VyU3R5bGVEYXRhAGABAAACU3R5bGUAEgAAAHhsTWFya2VyU3R5bGVOb25lABBTaXplAAgAAAADQ29sb3IAVQAAABBBAP8AAAAQUgCFAAAAEEcAmwAAABBCALMAAAABU2NBAAAAAAAAAPA/AVNjUgAAAADgwAXOPwFTY0cAAAAAAFH61D8BU2NCAAAAAKCs2dw/AAFUaW50AAAAAAAAAAAAA1RoZW1lQ29sb3JQb3NpdGlvbgC2AAAAAl90eXBlAFEAAABlbXBvd2VyLkNoYXJ0cy5Db21tb24uQ29sb3JUcmFuc2xhdGlvbi5UaGVtZUNvbG9yUG9zaXRpb24sIGVtcG93ZXIuQ2hhcnRzLkNvbW1vbgAQVGhlbWVDb2xvclNjaGVtZUluZGV4AAYAAAACSW5kZXgABwAAAE5vVGludAAISXNEZWZhdWx0Q29sb3IAABBEZWZhdWx0Q29sb3JJbmRleAD/////AAAAAzkAtwEAAANQb2ludEFkZHJlc3MAMwAAABBTZXJpZXNJbmRleAACAAAAEFBvaW50SW5kZXgABQAAAAhJc1BvaW50U3VtAAAAA01hcmtlclN0eWxlRGF0YQBgAQAAAlN0eWxlABIAAAB4bE1hcmtlclN0eWxlTm9uZQAQU2l6ZQAIAAAAA0NvbG9yAFUAAAAQQQD/AAAAEFIAhQAAABBHAJsAAAAQQgCzAAAAAVNjQQAAAAAAAADwPwFTY1IAAAAA4MAFzj8BU2NHAAAAAABR+tQ/AVNjQgAAAACgrNncPwABVGludAAAAAAAAAAAAANUaGVtZUNvbG9yUG9zaXRpb24AtgAAAAJfdHlwZQBRAAAAZW1wb3dlci5DaGFydHMuQ29tbW9uLkNvbG9yVHJhbnNsYXRpb24uVGhlbWVDb2xvclBvc2l0aW9uLCBlbXBvd2VyLkNoYXJ0cy5Db21tb24AEFRoZW1lQ29sb3JTY2hlbWVJbmRleAAGAAAAAkluZGV4AAcAAABOb1RpbnQACElzRGVmYXVsdENvbG9yAAAQRGVmYXVsdENvbG9ySW5kZXgA/////wAAAAAIU3VwcHJlc3NNYXJrZXJzAAAIUmVxdWlyZU1hbnVhbFVwZ3JhZGVPbkZpcnN0VGltZVJlYWQAAAACTmFtZQAMAAAATWFya2Vyc0RhdGEAEFZlcnNpb24AAQAAAAlMYXN0V3JpdGUAG4Q/5H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AAAAAT//////////wQA2wQAAAAAAAAAAAAA/////3sAewAAAAVfaWQAEAAAAAQadVMQkAWFT4OFQLOiKy40A0RhdGEAEgAAAARTZXJpZXMABQAAAAAAAk5hbWUAGgAAAFNoYXBlQ29uc3RydWN0ZWRDaGFydERhdGEAEFZlcnNpb24AAAAAAAlMYXN0V3JpdGUAIKVdaIkBAAAAAQD/////UgBSAAAABV9pZAAQAAAABDVkiRTlxGVKlN61xw5Hw1wCTmFtZQAJAAAARGF0YUxpbmsAEFZlcnNpb24AAQAAAAlMYXN0V3JpdGUAnDWTMXkBAAAAAgD/////awBrAAAABV9pZAAQAAAABJ8SsxVpbONEqJbdSdaIyxwDRGF0YQASAAAACElzUmV2ZXJzZWQAAAACTmFtZQAKAAAAV2F0ZXJmYWxsABBWZXJzaW9uAAAAAAAJTGFzdFdyaXRlAFmNMNNiAQAAAAMA/////7QJtAkAAAVfaWQAEAAAAARC++EgiYZ5QZIHDAWBG0yEA0RhdGEAUQkAAAhBdXRvbWF0aWNMYXlvdXRBY3RpdmUAAQRBZGRpdGlvbmFsQ2hhcnRNYXJnaW5EYXRhcwAFAAAAAAJEYXRhUmVmZXJlbmNlRGlyZWN0aW9uAA0AAABTZXJpZXNCeVJvd3MAAlNlcmllc09yZGVyAAoAAABBc0luRXhjZWwAAlBvaW50T3JkZXIACgAAAEFzSW5FeGNlbAACUHJpbWFyeUF4aXNDcm9zc1R5cGUAGQAAAENyb3NzZXNCZXR3ZWVuQ2F0ZWdvcmllcwACU2Vjb25kYXJ5QXhpc0Nyb3NzVHlwZQAIAAAASW52YWxpZAAISXNDaGFydFRpdGxlVmlzaWJsZQAAA0NoYXJ0VGl0bGVEYXRhAM0GAAAIV2FudFRvQmVWaXNpYmxlAAADVGV4dEJveERhdGEAVwYAAAVNYW5hZ2VkSWQAEAAAAATWeg00YssESJgVhR8pw8SxCEhhc0NoYW5nZXMAAA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D/AAAAEFIAAAAAABBHAAAAAAAQQgAAAAAAAVNjQQAAAAAAAADwPwFTY1IAAAAAAAAAAAABU2NHAAAAAAAAAAAAAVNjQgAAAAAAAAAAAAAQRm9udFRoZW1lQ29sb3IAAAAAAAFGb250VGludEFuZFNoYWRlAAAAAAAAAAAAEEZvbnRTY2hlbWVDb2xvcgACAAAACEZvbnRJdGFsaWMAAAFGb250U2l6ZQAAAAAAAAAAAAhGb250U3RyaWtldGhyb3VnaAAACEZvbnRTdWJzY3JpcHQAAAhGb250U3VwZXJzY3JpcHQAAAhGb250VW5kZXJsaW5lAAAACFNpemVUb1RleHRXaWR0aAABCFNpemVUb1RleHRIZWlnaHQAAQ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9mZnNldEZyb21Ib21lAEIAAAABWAAAAAAAAAAAAAFZAAAAAAAAAAAAAUxlbmd0aAAAAAAAAAAAAAFMZW5ndGhTcXVhcmVkAAAAAAAAAAAAAAABUGxvdFRvQ2hhcnRBcmVhUmF0aW8AAAAAAAAAAAACUmVuZGVyTW9kZQALAAAASHlicmlkVGV4dAADQ3VzdG9taXppbmdEZXNjcmlwdGlvbkRhdGEAkQAAAAJOYW1lABcAAABEZWZhdWx0RmxleEN1c3RvbWl6aW5nABBWZXJzaW9uAAEAAAAQTWlub3JWZXJzaW9uAAAAAAACQ3VzdG9taXppbmdUeXBlAAgAAABEZWZhdWx0AAJNaW9DZElkAAEAAAAAAkZsZXhDdXN0b21pemluZ1R5cGUACAAAAERlZmF1bHQAAAFMYXN0U2VlbldpZHRoAAAAAIAb8nVAAUxhc3RTZWVuSGVpZ2h0AAAAAADZA3BACE1pZ3JhdGlvblRvUGVyZm9ybWFuY2VNb2RlRG9uZQABBUxhc3RTZWVuU2xpZGVDb2xvclRoZW1lTWQ1SGFzaAAQAAAAAMJkCTUk6e3PfTR944bn0R4AAk5hbWUAFAAAAEdsb2JhbENoYXJ0U2V0dGluZ3MAEFZlcnNpb24ABQAAAAlMYXN0V3JpdGUAUwWu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kAAAAEAAAAABsAAAAEAMMNAAAAAAAAAAAAAP////9dAF0AAAAFX2lkABAAAAAEUNPBJMCzyUSkMNGtuyDGKgREYXRhAAUAAAAAAk5hbWUACQAAAE92ZXJsYXlzABBWZXJzaW9uAAUAAAAJTGFzdFdyaXRlAEocbDWXAQAAAAEA/////3kAeQAAAAVfaWQAEAAAAARhrBYoyEJETJKPVxucHy/AA0RhdGEAFQAAAAhTaGFwZXNSZW1vdmVkAAAAAk5hbWUAFQAAAEdlbmVyYWxFeGNlbFNldHRpbmdzABBWZXJzaW9uAAAAAAAJTGFzdFdyaXRlAIxMj6h8AQAAAAIA/////80AzQAAAAVfaWQAEAAAAAT5uc8o3+XwRYlizCea2hbUA0RhdGEAYQAAAAhIYXNTdHlsZVJlcG9zaXRvcnlCZWVuTWlncmF0ZWQAAQhIYXNCb3JkZXJTdHlsZUJlZW5NaWdyYXRlZAABCEhhc0NoYXJ0QmVlbkxheW91dGVkRm9yRmxleAABAAJOYW1lAB0AAABDaGFydFN0eWxlU3RhdHVzSW5mb3JtYXRpb25zABBWZXJzaW9uAAEAAAAJTGFzdFdyaXRlAHT0XWiJAQAAAAMA/////2EAYQAAAAVfaWQAEAAAAATrFhcscZGWSpsUH+9KddY4BERhdGEABQAAAAACTmFtZQANAAAATGlua0RhdGFMaXN0ABBWZXJzaW9uAAEAAAAJTGFzdFdyaXRlACWlXWiJ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P//////////AQCsAwAAAAAAAAAAAAD/////MwwzDAAABV9pZAAQAAAABGnW2yd868hNti1ajCVvGCEDRGF0YQDXCwAABFBvaW50Q29sb3JJbmRpY2VzALUJAAADMAD1AAAAEFNlcmllc0luZGV4AAIAAAAQUG9pbnRJbmRleAABAAAAA0NvbG9yAFUAAAAQQQD/AAAAEFIAhQAAABBHAJsAAAAQQgCzAAAAAVNjQQAAAAAAAADwPwFTY1IAAAAAIMEFzj8BU2NHAAAAACBR+tQ/AVNjQgAAAADArNncPwADQ29sb3JJbmRleEluQ3VzdG9taXppbmcAWgAAABBUaGVtZUNvbG9yU2NoZW1lSW5kZXgABgAAAAJJbmRleAAHAAAATm9UaW50AAhJc0RlZmF1bHRDb2xvcgAAEERlZmF1bHRDb2xvckluZGV4AP////8AAAMxAPUAAAAQU2VyaWVzSW5kZXgAAgAAABBQb2ludEluZGV4AAIAAAADQ29sb3IAVQAAABBBAP8AAAAQUgCFAAAAEEcAmwAAABBCALMAAAABU2NBAAAAAAAAAPA/AVNjUgAAAAAgwQXOPwFTY0cAAAAAIFH61D8BU2NCAAAAAMCs2dw/AANDb2xvckluZGV4SW5DdXN0b21pemluZwBaAAAAEFRoZW1lQ29sb3JTY2hlbWVJbmRleAAGAAAAAkluZGV4AAcAAABOb1RpbnQACElzRGVmYXVsdENvbG9yAAAQRGVmYXVsdENvbG9ySW5kZXgA/////wAAAzIA9QAAABBTZXJpZXNJbmRleAACAAAAEFBvaW50SW5kZXgAAwAAAANDb2xvcgBVAAAAEEEA/wAAABBSAIUAAAAQRwCbAAAAEEIAswAAAAFTY0EAAAAAAAAA8D8BU2NSAAAAACDBBc4/AVNjRwAAAAAgUfrUPwFTY0IAAAAAwKzZ3D8AA0NvbG9ySW5kZXhJbkN1c3RvbWl6aW5nAFoAAAAQVGhlbWVDb2xvclNjaGVtZUluZGV4AAYAAAACSW5kZXgABwAAAE5vVGludAAISXNEZWZhdWx0Q29sb3IAABBEZWZhdWx0Q29sb3JJbmRleAD/////AAADMwD1AAAAEFNlcmllc0luZGV4AAIAAAAQUG9pbnRJbmRleAAEAAAAA0NvbG9yAFUAAAAQQQD/AAAAEFIAhQAAABBHAJsAAAAQQgCzAAAAAVNjQQAAAAAAAADwPwFTY1IAAAAAIMEFzj8BU2NHAAAAACBR+tQ/AVNjQgAAAADArNncPwADQ29sb3JJbmRleEluQ3VzdG9taXppbmcAWgAAABBUaGVtZUNvbG9yU2NoZW1lSW5kZXgABgAAAAJJbmRleAAHAAAATm9UaW50AAhJc0RlZmF1bHRDb2xvcgAAEERlZmF1bHRDb2xvckluZGV4AP////8AAAM0APUAAAAQU2VyaWVzSW5kZXgAAgAAABBQb2ludEluZGV4AAUAAAADQ29sb3IAVQAAABBBAP8AAAAQUgCFAAAAEEcAmwAAABBCALMAAAABU2NBAAAAAAAAAPA/AVNjUgAAAAAgwQXOPwFTY0cAAAAAIFH61D8BU2NCAAAAAMCs2dw/AANDb2xvckluZGV4SW5DdXN0b21pemluZwBaAAAAEFRoZW1lQ29sb3JTY2hlbWVJbmRleAAGAAAAAkluZGV4AAcAAABOb1RpbnQACElzRGVmYXVsdENvbG9yAAAQRGVmYXVsdENvbG9ySW5kZXgA/////wAAAzUA9QAAABBTZXJpZXNJbmRleAABAAAAEFBvaW50SW5kZXgAAQAAAANDb2xvcgBVAAAAEEEA/wAAABBSABIAAAAQRwA/AAAAEEIAbgAAAAFTY0EAAAAAAAAA8D8BU2NSAAAAAGCpxng/AVNjRwAAAACgI3OpPwFTY0IAAAAAAGb1wz8AA0NvbG9ySW5kZXhJbkN1c3RvbWl6aW5nAFoAAAAQVGhlbWVDb2xvclNjaGVtZUluZGV4AAUAAAACSW5kZXgABwAAAE5vVGludAAISXNEZWZhdWx0Q29sb3IAABBEZWZhdWx0Q29sb3JJbmRleAD/////AAADNgD1AAAAEFNlcmllc0luZGV4AAEAAAAQUG9pbnRJbmRleAACAAAAA0NvbG9yAFUAAAAQQQD/AAAAEFIAEgAAABBHAD8AAAAQQgBuAAAAAVNjQQAAAAAAAADwPwFTY1IAAAAAYKnGeD8BU2NHAAAAAKAjc6k/AVNjQgAAAAAAZvXDPwADQ29sb3JJbmRleEluQ3VzdG9taXppbmcAWgAAABBUaGVtZUNvbG9yU2NoZW1lSW5kZXgABQAAAAJJbmRleAAHAAAATm9UaW50AAhJc0RlZmF1bHRDb2xvcgAAEERlZmF1bHRDb2xvckluZGV4AP////8AAAM3APUAAAAQU2VyaWVzSW5kZXgAAQAAABBQb2ludEluZGV4AAMAAAADQ29sb3IAVQAAABBBAP8AAAAQUgASAAAAEEcAPwAAABBCAG4AAAABU2NBAAAAAAAAAPA/AVNjUgAAAABgqcZ4PwFTY0cAAAAAoCNzqT8BU2NCAAAAAABm9cM/AANDb2xvckluZGV4SW5DdXN0b21pemluZwBaAAAAEFRoZW1lQ29sb3JTY2hlbWVJbmRleAAFAAAAAkluZGV4AAcAAABOb1RpbnQACElzRGVmYXVsdENvbG9yAAAQRGVmYXVsdENvbG9ySW5kZXgA/////wAAAzgA9QAAABBTZXJpZXNJbmRleAABAAAAEFBvaW50SW5kZXgABAAAAANDb2xvcgBVAAAAEEEA/wAAABBSABIAAAAQRwA/AAAAEEIAbgAAAAFTY0EAAAAAAAAA8D8BU2NSAAAAAGCpxng/AVNjRwAAAACgI3OpPwFTY0IAAAAAAGb1wz8AA0NvbG9ySW5kZXhJbkN1c3RvbWl6aW5nAFoAAAAQVGhlbWVDb2xvclNjaGVtZUluZGV4AAUAAAACSW5kZXgABwAAAE5vVGludAAISXNEZWZhdWx0Q29sb3IAABBEZWZhdWx0Q29sb3JJbmRleAD/////AAADOQD1AAAAEFNlcmllc0luZGV4AAEAAAAQUG9pbnRJbmRleAAFAAAAA0NvbG9yAFUAAAAQQQD/AAAAEFIAEgAAABBHAD8AAAAQQgBuAAAAAVNjQQAAAAAAAADwPwFTY1IAAAAAYKnGeD8BU2NHAAAAAKAjc6k/AVNjQgAAAAAAZvXDPwADQ29sb3JJbmRleEluQ3VzdG9taXppbmcAWgAAABBUaGVtZUNvbG9yU2NoZW1lSW5kZXgABQAAAAJJbmRleAAHAAAATm9UaW50AAhJc0RlZmF1bHRDb2xvcgAAEERlZmF1bHRDb2xvckluZGV4AP////8AAAAEU2VyaWVzQ29sb3JJbmRpY2VzANUBAAADMADlAAAAEFNlcmllc0luZGV4AAIAAAADQ29sb3IAVQAAABBBAP8AAAAQUgCFAAAAEEcAmwAAABBCALMAAAABU2NBAAAAAAAAAPA/AVNjUgAAAAAgwQXOPwFTY0cAAAAAIFH61D8BU2NCAAAAAMCs2dw/AANDb2xvckluZGV4SW5DdXN0b21pemluZwBaAAAAEFRoZW1lQ29sb3JTY2hlbWVJbmRleAAGAAAAAkluZGV4AAcAAABOb1RpbnQACElzRGVmYXVsdENvbG9yAAAQRGVmYXVsdENvbG9ySW5kZXgA/////wAAAzEA5QAAABBTZXJpZXNJbmRleAABAAAAA0NvbG9yAFUAAAAQQQD/AAAAEFIAEgAAABBHAD8AAAAQQgBuAAAAAVNjQQAAAAAAAADwPwFTY1IAAAAAYKnGeD8BU2NHAAAAAKAjc6k/AVNjQgAAAAAAZvXDPwADQ29sb3JJbmRleEluQ3VzdG9taXppbmcAWgAAABBUaGVtZUNvbG9yU2NoZW1lSW5kZXgABQAAAAJJbmRleAAHAAAATm9UaW50AAhJc0RlZmF1bHRDb2xvcgAAEERlZmF1bHRDb2xvckluZGV4AP////8AAAAETmVnYXRpdmVTZXJpZXNDb2xvckluZGljZXMABQAAAAAAAk5hbWUADQAAAENvbG9ySW5kaWNlcwAQVmVyc2lvbgACAAAACUxhc3RXcml0ZQBbCmDse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wAAAAQZAAAAVAAAAAUAUAoAAAAAAAAAAAAA/////5EAkQAAAAVfaWQAEAAAAAQzGbcspFmlR7b0cn0RpTMlA0RhdGEAOAAAAARPblRvcFNlcmllc0luZGl6ZXMABQAAAAAESGlkZGVuU2VyaWVzSW5kaXplcwAFAAAAAAACTmFtZQAKAAAAV2F0ZXJmYWxsABBWZXJzaW9uAAEAAAAJTGFzdFdyaXRlAPNaT16NAQAAAAEA/////4ADgAMAAAVfaWQAEAAAAAQwORs37cpAR6wBYLtptp9PA0RhdGEAHgMAAANCb3VuZHM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hJc1Zpc2libGUAAAhJc1JldmVyc2VkAAAIU2hvd0dyaWRMaW5lcwAAAU1ham9yVW5pdAAAAAAAAAAAAAFNYXhpbXVtU2NhbGUAAAAAAAAAAAABTWluaW11bVNjYWxlAAAAAAAAAAAACFVzZUF1dG9tYXRpY01ham9yVW5pdAABCFVzZUF1dG9tYXRpY01pbmltdW1TY2FsZQABCFVzZUF1dG9tYXRpY01heGltdW1TY2FsZQABA0FkZGl0aW9uYWxBeGlzVGlja0xhYmVsc0RhdGEAtwAAAARJdGVtRGF0YQAFAAAAAANGb250Q29sb3IAVQAAABBBAAAAAAAQUgAAAAAAEEcAAAAAABBCAAAAAAABU2NBAAAAAAAAAAAAAVNjUgAAAAAAAAAAAAFTY0cAAAAAAAAAAAABU2NCAAAAAAAAAAAAABBGb250U2NoZW1lQ29sb3IAAAAAABBGb250VGhlbWVDb2xvcgAAAAAAAUZvbnRUaW50QW5kU2hhZGUAAAAAAAAAAAAABEdyaWRMaW5lSXRlbURhdGEABQAAAAAAAk5hbWUAEwAAAEFkZGl0aW9uYWxBeGlzRGF0YQAQVmVyc2lvbgABAAAACUxhc3RXcml0ZQB1rl1oiQEAAAACABwAAAAAAAMA/////wEBAQEAAAVfaWQAEAAAAAQtwXlJqB82TrTuFbwjmZtfBERhdGEApwAAAAMwAE4AAAAQU2VyaWVzSW5kZXgAAQAAAARYVmFsdWVzAC8AAAACMAADAAAASmEAAjEABQAAAE5laW4AAjIADQAAAEtlaW5lIEFuZ2FiZQAAAAMxAE4AAAAQU2VyaWVzSW5kZXgAAgAAAARYVmFsdWVzAC8AAAACMAADAAAASmEAAjEABQAAAE5laW4AAjIADQAAAEtlaW5lIEFuZ2FiZQAAAAACTmFtZQALAAAAU2VyaWVzRGF0YQAQVmVyc2lvbgAAAAAACUxhc3RXcml0ZQCAHmw1lwEAAAAEAP////9dAF0AAAAFX2lkABAAAAAE/sohSn66FkG87Hn5kJiI2wREYXRhAAUAAAAAAk5hbWUACQAAAE92ZXJsYXlzABBWZXJzaW9uAAYAAAAJTGFzdFdyaXRlAGgcb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AAAAF/////x0AAADnDwAAAAAAAAAAAAD+KQAABV9pZAAQAAAABG+49kOjIlxLtVojowPsH8oDRGF0YQCkKQAABEl0ZW1EYXRhAOMoAAADMABwFAAAEEluZGV4AAEAAAAISXNEZWxldGVkAAADVGV4dFNoYXBlRGF0YQDQBgAABU1hbmFnZWRJZAAQAAAABO94NnF9n+lLidhzIS0bOP4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RAAAARXJ3YXJ0dW5nZW4gMjAyMwACVGV4dEhvcml6b250YWxBbGlnbm1lbnQADgAAAG1zb0FuY2hvck5vbmUAAlBhcmFncmFwaEFsaWdubWVudAAPAAAAbXNvQWxpZ25DZW50ZXIAAlRleHRWZXJ0aWNhbEFsaWdubWVudAANAAAAbXNvQW5jaG9yVG9wAANGb250U3R5bGUAQA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GAAAAQXJpYWwAAUZvbnRTaXplAAAAAAAAACRACEZvbnRTdHJpa2V0aHJvdWdoAAAIRm9udFN1YnNjcmlwdAAACEZvbnRTdXBlcnNjcmlwdAAACEZvbnRVbmRlcmxpbmUAAAAIU2l6ZVRvVGV4dFdpZHRoAAEIU2l6ZVRvVGV4dEhlaWdodAABA1RleHRNYXJnaW4APwAAAAFMZWZ0AAAAAAAAAAAAAVRvcAAAAAAAAAAAAAFSaWdodAAAAAAAAAAAAAFCb3R0b20AAAAAAAAAAAAAAkRpc3BsYXlUZXh0ABEAAABFcndhcnR1bmdlbiAyMDIzAAFIZWlnaHQAAAAAoJlZKEABV2lkdGgAAAAAYKBzVEABVG9wAAAAAGAYQm5AAUxlZnQAAAAA4LTlW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1hcmtlclNoYXBlRGF0YQB0BgAAAkF1dG9TaGFwZVR5cGUACgAAAFJlY3RhbmdsZQAFTWFuYWdlZElkABAAAAAE/clXg1UzgEW9OAsgVvezGAhIYXNDaGFuZ2VzAAAIVXNlTmFtZUluc3RlYWRPZlRhZ0FzSWQAAQhTaGFwZVByZXZpb3VzbHlDcmVhdGVkAAADRmlsbENvbG9yAFUAAAAQQQD/AAAAEFIA+wAAABBHALoAAAAQQgC5AAAAAVNjQQAAAAAAAADwPwFTY1IAAAAAwLXe7j8BU2NHAAAAAODibN8/AVNjQgAAAABgsgzfPwAQRmlsbFRoZW1lQ29sb3IABwAAAAFGaWxsVGludEFuZFNoYWRlAAAAAAAAAAAAEEZpbGxTY2hlbWVDb2xvcgAAAAAAA1BhdHRlcm5Db2xvcgBVAAAAEEEA/wAAABBSABIAAAAQRwA/AAAAEEIAbgAAAAFTY0EAAAAAAAAA8D8BU2NSAAAAAECpxng/AVNjRwAAAACgI3OpPwFTY0IAAAAAAGb1wz8AEFBhdHRlcm5UaGVtZUNvbG9yAAU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GDfCxdAAVdpZHRoAAAAAGDfCxdAAVRvcAAAAACgtahuQAFMZWZ0AAAAAOD2tFZACEZsaXBIb3Jpem9udGFsbHkAAAhGbGlwSG9yaXpvbnRhbGx5QXBwbGllZAAACEZsaXBWZXJ0aWNhbGx5AAAIRmxpcFZlcnRpY2FsbHlBcHBsaWVkAAABUm90YXRpb24AAAAAAAAAAAABWk9yZGVyAAAAAAAAACR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aW5lU2hhcGVEYXRhAOEGAAADU3RhcnQAGwAAAAFYAAAAAAAAAAAAAVkAAAAAAAAAAAAAA0VuZAAbAAAAAVgAAAAAAAAAAAABWQAAAAAAAAAAAAACU3RhcnRBcnJvd0hlYWQAEQAAAG1zb0Fycm93aGVhZE5vbmUAAkVuZEFycm93SGVhZAARAAAAbXNvQXJyb3doZWFkTm9uZQAFTWFuYWdlZElkABAAAAAE5QBcBWdtzEyCln1ZKmjpww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dAAAABRwAAAAeAAAA5w8AAAAAAAAAAAA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zEAaBQAABBJbmRleAACAAAACElzRGVsZXRlZAAAA1RleHRTaGFwZURhdGEAyAYAAAVNYW5hZ2VkSWQAEAAAAAQglHtt3ljwR5Bx5Gj3Rpm+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DQAAAEFuZ2FiZW4gMjAyNQACVGV4dEhvcml6b250YWxBbGlnbm1lbnQADgAAAG1zb0FuY2hvck5vbmUAAlBhcmFncmFwaEFsaWdubWVudAAPAAAAbXNvQWxpZ25DZW50ZXIAAlRleHRWZXJ0aWNhbEFsaWdubWVudAANAAAAbXNvQW5jaG9yVG9wAANGb250U3R5bGUAQA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GAAAAQXJpYWwAAUZvbnRTaXplAAAAAAAAACRACEZvbnRTdHJpa2V0aHJvdWdoAAAIRm9udFN1YnNjcmlwdAAACEZvbnRTdXBlcnNjcmlwdAAACEZvbnRVbmRlcmxpbmUAAAAIU2l6ZVRvVGV4dFdpZHRoAAEIU2l6ZVRvVGV4dEhlaWdodAABA1RleHRNYXJnaW4APwAAAAFMZWZ0AAAAAAAAAAAAAVRvcAAAAAAAAAAAAAFSaWdodAAAAAAAAAAAAAFCb3R0b20AAAAAAAAAAAAAAkRpc3BsYXlUZXh0AA0AAABBbmdhYmVuIDIwMjUAAUhlaWdodAAAAACgmVkoQAFXaWR0aAAAAAAAY0lQQAFUb3AAAAAAYBhCbkABTGVmdAAAAACgCWVo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WFya2VyU2hhcGVEYXRhAHQGAAACQXV0b1NoYXBlVHlwZQAKAAAAUmVjdGFuZ2xlAAVNYW5hZ2VkSWQAEAAAAATDWMy32zFPS7UArY/IAjqkCEhhc0NoYW5nZXMAAAhVc2VOYW1lSW5zdGVhZE9mVGFnQXNJZAABCFNoYXBlUHJldmlvdXNseUNyZWF0ZWQAAANGaWxsQ29sb3IAVQAAABBBAP8AAAAQUgDHAAAAEEcAKgAAABBCADQAAAABU2NBAAAAAAAAAPA/AVNjUgAAAACgp0biPwFTY0cAAAAAQIS1lz8BU2NCAAAAAMD8lKE/ABBGaWxsVGhlbWVDb2xvcgAFAAAAAUZpbGxUaW50QW5kU2hhZGUAAAAAAAAAAAAQRmlsbFNjaGVtZUNvbG9yAAAAAAADUGF0dGVybkNvbG9yAFUAAAAQQQD/AAAAEFIAhQAAABBHAJsAAAAQQgCzAAAAAVNjQQAAAAAAAADwPwFTY1IAAAAA4MAFzj8BU2NHAAAAAABR+tQ/AVNjQgAAAACgrNncPwAQUGF0dGVyblRoZW1lQ29sb3IABg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YN8LF0ABV2lkdGgAHgAAAAUdAAAA/////zAKtwUAAAAAAAAAAAAAAGDfCxdAAVRvcAAAAACgtahuQAFMZWZ0AAAAAKCqTGdACEZsaXBIb3Jpem9udGFsbHkAAAhGbGlwSG9yaXpvbnRhbGx5QXBwbGllZAAACEZsaXBWZXJ0aWNhbGx5AAAIRmxpcFZlcnRpY2FsbHlBcHBsaWVkAAABUm90YXRpb24AAAAAAAAAAAABWk9yZGVyAAAAAAAAACR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aW5lU2hhcGVEYXRhAOEGAAADU3RhcnQAGwAAAAFYAAAAAAAAAAAAAVkAAAAAAAAAAAAAA0VuZAAbAAAAAVgAAAAAAAAAAAABWQAAAAAAAAAAAAACU3RhcnRBcnJvd0hlYWQAEQAAAG1zb0Fycm93aGVhZE5vbmUAAkVuZEFycm93SGVhZAARAAAAbXNvQXJyb3doZWFkTm9uZQAFTWFuYWdlZElkABAAAAAEBydWidYC0EijxvMGr8j51g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kFsaWdubWVudAAHAAAAQm90dG9tAAhJc1VzZXJQb3NpdGlvbgAAA0N1c3RvbUNlbnRlclBvc2l0aW9uABsAAAABWAAAAAAAAAAAAAFZAAAAAAAAAAAAAAJJdGVtT3JkZXIACgAAAEFzY2VuZGluZwAQUm93Q291bnQAAQAAABBDb2x1bW5Db3VudAAAAAAAAkl0ZW1GbG93RGlyZWN0aW9uAAsAAABIb3Jpem9udGFsAAACTmFtZQALAAAATGVnZW5kRGF0YQAQVmVyc2lvbgABAAAACUxhc3RXcml0ZQAQBa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8AAAAE//////////8EAMUEAAAAAAAAAAAAAP/////NAM0AAAAFX2lkABAAAAAEXZcwXEDiJUqrhNL10M13KQNEYXRhAGEAAAAISGFzU3R5bGVSZXBvc2l0b3J5QmVlbk1pZ3JhdGVkAAEISGFzQm9yZGVyU3R5bGVCZWVuTWlncmF0ZWQAAQhIYXNDaGFydEJlZW5MYXlvdXRlZEZvckZsZXgAAQACTmFtZQAdAAAAQ2hhcnRTdHlsZVN0YXR1c0luZm9ybWF0aW9ucwAQVmVyc2lvbgAAAAAACUxhc3RXcml0ZQBr9F1oiQEAAAABACAAAAAAAAIA/////xAFEAUAAAVfaWQAEAAAAAQZJYJc+uKgR5nh/VgmJZL2A0RhdGEAsAQAAANHcmlkTGluZVN0eWxlc0RhdGEAlwQAAANQcmltYXJ5VmFsdWVBeGlzR3JpZExpbmVTdHlsZQAdAgAAA01ham9yVW5pdExpbmVTdHlsZQD4AAAAA0NvbG9yAFUAAAAQQQD/AAAAEFIAiQAAABBHAIkAAAAQQgCJAAAAAVNjQQAAAAAAAADwPwFTY1IAAAAAAJgC0D8BU2NHAAAAAACYAtA/AVNjQgAAAAAAmALQPwACU2NoZW1lQ29sb3JJbmRleAARAAAAcHBOb3RTY2hlbWVDb2xvcgAQVGhlbWVDb2xvckluZGV4AAAAAAABVGludEFuZFNoYWRlAAAAAAAAANA/AUxpbmVXZWlnaHQAAAAAAAAA4D8CRGFzaFN0eWxlAAoAAABMaW5lU29saWQACFZpc2libGUAAQhJc0F1dG9tYXRpYwABAANNaW5vclVuaXRMaW5lU3R5bGUA+AAAAANDb2xvcgBVAAAAEEEA/wAAABBSALwAAAAQRwC8AAAAEEIAvAAAAAFTY0EAAAAAAAAA8D8BU2NSAAAAAGClF+A/AVNjRwAAAABgpRfgPwFTY0IAAAAAYKUX4D8AAlNjaGVtZUNvbG9ySW5kZXgAEQAAAHBwTm90U2NoZW1lQ29sb3IAEFRoZW1lQ29sb3JJbmRleAAAAAAAAVRpbnRBbmRTaGFkZQAAAAAAAADgPwFMaW5lV2VpZ2h0AAAAAAAAAOA/AkRhc2hTdHlsZQAKAAAATGluZVNvbGlkAAhWaXNpYmxlAAAISXNBdXRvbWF0aWMAAAAAA1ByaW1hcnlDYXRlZ29yeUF4aXNHcmlkTGluZVN0eWxlAB0CAAADTWFqb3JVbml0TGluZVN0eWxlAPgAAAADQ29sb3IAVQAAABBBAP8AAAAQUgCJAAAAEEcAiQAAABBCAIkAAAABU2NBAAAAAAAAAPA/AVNjUgAAAAAAmALQPwFTY0cAAAAAAJgC0D8BU2NCAAAAAACYAtA/AAJTY2hlbWVDb2xvckluZGV4ABEAAABwcE5vdFNjaGVtZUNvbG9yABBUaGVtZUNvbG9ySW5kZXgAAAAAAAFUaW50QW5kU2hhZGUAAAAAAAAA0D8BTGluZVdlaWdodAAAAAAAAADgPwJEYXNoU3R5bGUACgAAAExpbmVTb2xpZAAIVmlzaWJsZQABCElzQXV0b21hdGljAAAAA01pbm9yVW5pdExpbmVTdHlsZQD4AAAAA0NvbG9yAFUAAAAQQQD/AAAAEFIAvAAAABBHALwAAAAQQgC8AAAAAVNjQQAAAAAAAADwPwFTY1IAAAAAYKUX4D8BU2NHAAAAAGClF+A/AVNjQgAAAABgpRfgPwACU2NoZW1lQ29sb3JJbmRleAARAAAAcHBOb3RTY2hlbWVDb2xvcgAQVGhlbWVDb2xvckluZGV4AAAAAAABVGludEFuZFNoYWRlAAAAAAAAAOA/AUxpbmVXZWlnaHQAAAAAAAAA4D8CRGFzaFN0eWxlAAoAAABMaW5lU29saWQACFZpc2libGUAAAhJc0F1dG9tYXRpYwAAAAAIU2hvd0dyaWRsaW5lc0RlZmF1bHQAAQAAAk5hbWUAEQAAAEdyaWRsaW5lU2V0dGluZ3MAEFZlcnNpb24AAQAAAAlMYXN0V3JpdGUAWIBZXo0BAAAAAwD/////JQUlBQAABV9pZAAQAAAABPR9m16xbwVPqAgzpHk9uMoDRGF0YQCuBAAABFBvaW50QWRkaXRpb25hbFN0eWxlcwDPAgAAAzAAdAAAAANQb2ludEFkZHJlc3MAMwAAABBTZXJpZXNJbmRleAABAAAAEFBvaW50SW5kZXgAAQAAAAhJc1BvaW50U3VtAAAAA0FkZGl0aW9uYWxTdHlsZXMAHAAAAAJGaWxsUGF0dGVybgAGAAAAVW5zZXQAAAADMQB0AAAAA1BvaW50QWRkcmVzcwAzAAAAEFNlcmllc0luZGV4AAEAAAAQUG9pbnRJbmRleAACAAAACElzUG9pbnRTdW0AAAADQWRkaXRpb25hbFN0eWxlcwAcAAAAAkZpbGxQYXR0ZXJuAAYAAABVbnNldAAAAAMyAHQAAAADUG9pbnRBZGRyZXNzADMAAAAQU2VyaWVzSW5kZXgAAQAAABBQb2ludEluZGV4AAMAAAAISXNQb2ludFN1bQAAAANBZGRpdGlvbmFsU3R5bGVzABwAAAACRmlsbFBhdHRlcm4ABgAAAFVuc2V0AAAAAzMAdAAAAANQb2ludEFkZHJlc3MAMwAAABBTZXJpZXNJbmRleAACAAAAEFBvaW50SW5kZXgAAQAAAAhJc1BvaW50U3VtAAAAA0FkZGl0aW9uYWxTdHlsZXMAHAAAAAJGaWxsUGF0dGVybgAGAAAAVW5zZXQAAAADNAB0AAAAA1BvaW50QWRkcmVzcwAzAAAAEFNlcmllc0luZGV4AAIAAAAQUG9pbnRJbmRleAACAAAACElzUG9pbnRTdW0AAAADQWRkaXRpb25hbFN0eWxlcwAcAAAAAkZpbGxQYXR0ZXJuAAYAAABVbnNldAAAAAM1AHQAAAADUG9pbnRBZGRyZXNzADMAAAAQU2VyaWVzSW5kZXgAAgAAABBQb2ludEluZGV4AAMAAAAISXNQb2ludFN1bQAAAANBZGRpdGlvbmFsU3R5bGVzABwAAAACRmlsbFBhdHRlcm4ABgAAAFVuc2V0AAAAAANTZXJpZXNBZGRpdGlvbmFsU3R5bGVzAKsBAAADMQDQAAAAEFNlcmllc0luZGV4AAEAAAADQWRkaXRpb25hbFN0eWxlcwCoAAAAAkZpbGxQYXR0ZXJuAAgAAABEZWZhdWx0AANGaWxsQ29sb3JPclRoZW1lQ29sb3IAcwAAABBUaGVtZUNvbG9yAAAAAAABVGludEFuZFNoYWRlAAAAAAAAAAAAEFRpbnRJbmRleAD/////EFNjaGVtZUNvbG9yAAAAAAADQ29sb3IAIQAAABBBAP8AAAAQUgAAAAAAEEcAAAAAABBCAAAAAAAAAAAAAzIA0AAAABBTZXJpZXNJbmRleAACAAAAA0FkZGl0aW9uYWxTdHlsZXMAqAAAAAJGaWxsUGF0dGVybgAIAAAARGVmYXVsdAADRmlsbENvbG9yT3JUaGVtZUNvbG9yAHMAAAAQVGhlbWVDb2xvcgAAAAAAAVRpbnRBbmRTaGFkZQAAAAAAAAAAABBUaW50SW5kZXgA/////xBTY2hlbWVDb2xvcgAAAAAAA0NvbG9yACEAAAAQQQD/AAAAEFIAAAAAABBHAAAAAAAQQgAAAAAAAAAAAAAAAk5hbWUAKAAAAFBvaW50QW5kU2VyaWVzQWRkaXRpb25TdHlsZXNEZWZpbml0aW9ucwAQVmVyc2lvbgABAAAACUxhc3RXcml0ZQDDHmw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AAAABf////8hAAAA5w8AAAAAAAAAAAAA4ScAAAVfaWQAEAAAAAT8gExcn3SqQ6NTy7W9r7v+A0RhdGEAiScAAARTYXZlZEF4aXNMYWJlbERhdGEAcCcAAAMwAJwNAAACQXhpc1R5cGUACAAAAHhsVmFsdWUAAkF4aXNHcm91cAAKAAAAeGxQcmltYXJ5AAhTY2hlbWVDb2xvckFwcGxpZWQAAAhGb250U3R5bGVVbmRlcmxpbmVkAAAIQXBwbHlPdmVyYWxsRm9udHNpemUAAQhJc1Zpc2libGUAAAhYbEF1dG9tYXRpY0NvbG9ySW5kZXhBcHBsaWVkAAAIVXNlRXhjZWxGb3JtYXRzV2hlbkRhdGVBeGlzAAADQXhpc1RpdGxlRGF0YQB5CAAAA1Bvc2l0aW9uADoAAAACQW5jaG9yAAsAAABBeGlzQ2VudGVyAAFSZWxhdGl2ZUFuY2hvck9mZnNldAAAAAAAAAAAAAAIV2FudFRvQmVWaXNpYmxlAAADVGV4dEJveERhdGEAlAYAAAVNYW5hZ2VkSWQAEAAAAAQY2KeGNydnSJdNfPw7UTBj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NAAAAbXNvQWxpZ25MZWZ0AAJUZXh0VmVydGljYWxBbGlnbm1lbnQADQAAAG1zb0FuY2hvclRvcA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AAAAAAAAUJvdHRvbQAAAAAAAAAAAAACRGlzcGxheVRleHQAAQAAAAABSGVpZ2h0AAAAAMCOQANAAVdpZHRoAAAAAKCZmbk/AVRvcAAAAAAAAAAQQAFMZWZ0AAAAAAAAABBACEZsaXBIb3Jpem9udGFsbHkAAAhGbGlwSG9yaXpvbnRhbGx5QXBwbGllZAAACEZsaXBWZXJ0aWNhbGx5AAAIRmxpcFZlcnRpY2FsbHlBcHBsaWVkAAABUm90YXRpb24AAAAAAADgcE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Qb3NzaWJsZUFyZWE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AIVXNlQXV0b21hdGljTWFqb3JVbml0AAEIVXNlQXV0b21hdGljTWluaW11bVNjYWxlAAEIVXNlQXV0b21hdGljTWF4aW11bVNjYWxlAAEDRm9udENvbG9yAFUAAAAQQQD/AAAAEFIAQAAAABBHAEAAAAAQQgBAAAAAAVNjQQAAAAAAAADwPwFTY1IAAAAAwP0/qj8BU2NHAAAAAMD9P6o/AVNjQgAAAADA/T+qPwAQRm9udFNjaGVtZUNvbG9yAAIAAAAQRm9udFRoZW1lQ29sb3IAAAAAAAFGb250VGludEFuZFNoYWRlAAAAAAAAAAAAAkxhYmVsUG9zaXRpb24ABQAAAE5vbmUAA0F4aXNMaW5lU3R5bGUAMwEAAAJfdHlwZQByAAAAbWlvLkNvbW1vbi5Qb3dlclBvaW50Lk1hbmFnZWQuQ29udHJhY3RzLkN1c3RvbWl6aW5nLlN0eWxlcy5BeGlzTGluZVN0eWxlLCBtaW8uQ29tbW9uLlBvd2VyUG9pbnQuTWFuYWdlZC5Db250cmFjdHMAAUxpbmVXZWlnaHQAAAAAAAAA4D8CRGFzaFN0eWxlAAoAAABMaW5lU29saWQACFZpc2libGUAAQNDb2xvcgBzAAAAEFRoZW1lQ29sb3IADQAAAAFUaW50QW5kU2hhZGUAAAAAAAAAAAAQVGludEluZGV4AP////8QU2NoZW1lQ29sb3IAAAAAAANDb2xvcgAhAAAAEEEAAAAAABBSAP8AAAAQRwD/AAAAEEIA/wAAAAAA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DMQAnDAAAAkF4aXNUeXBlAAgAAAB4bFZhbHVlAAJBeGlzR3JvdXAADAAAAHhsU2Vjb25kYXJ5AAhTY2hlbWVDb2xvckFwcGxpZWQAAAhGb250U3R5bGVVbmRlcmxpbmVkAAAIQXBwbHlPdmVyYWxsRm9udHNpemUAAAhJc1Zpc2libGUAAAhYbEF1dG9tYXRpY0NvbG9ySW5kZXhBcHBsaWVkAAAIVXNlRXhjZWxGb3JtYXRzV2hlbkRhdGVBeGlzAAADQXhpc1RpdGxlRGF0YQBHCAAAA1Bvc2l0aW9uADoAAAACQW5jaG9yAAsAAABBeGlzQ2VudGVyAAFSZWxhdGl2ZUFuY2hvck9mZnNldAAAAAAAAAAAAAAIV2FudFRvQmVWaXNpYmxlAAADVGV4dEJveERhdGEAYgYAAAVNYW5hZ2VkSWQAEAAAAAQOkgPpgK/PR7Y+jqGYGPnZCEhhc0NoYW5nZXMAAQhVc2VOYW1lSW5zdGVhZE9mVGFnQXNJZAABCFNoYXBlUHJldmlvdXNseUNyZWF0ZWQAAANGaWxsQ29sb3IAVQAAABBBAAAAAAAQUgAAAAAAEEcAAAAAABBCAAAAAAABU2NBAAAAAAAAAPC/AVNjUgAAAAAAAADwvwFTY0cAAAAAAAAA8L8BU2NCAAAAAAAAAPC/ABBGaWxsVGhlbWVDIQAAAAUgAAAAIgAAAOcPAAAAAAAAAAAAAG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0AAABtc29BbGlnbkxlZnQAAlRleHRWZXJ0aWNhbEFsaWdubWVudAANAAAAbXNvQW5jaG9yVG9wAANGb250U3R5bGUALAEAABBGb250QmFja2dyb3VuZAAAAAAACEZvbnRCb2xkAAADRm9udENvbG9yAFUAAAAQQQD/AAAAEFIAAAAAABBHAAAAAAAQQgAAAAAAAVNjQQAAAAAAAADwPwFTY1IAAAAAAAAAAAABU2NHAAAAAAAAAAAAAVNjQgAAAAAAAAAAAAAQRm9udFRoZW1lQ29sb3IAAAAAAAFGb250VGludEFuZFNoYWRlAAAAAAAAAAAAEEZvbnRTY2hlbWVDb2xvcgACAAAACEZvbnRJdGFsaWMAAAFGb250U2l6ZQAAAAAAAAAoQAhGb250U3RyaWtldGhyb3VnaAAACEZvbnRTdWJzY3JpcHQAAAhGb250U3VwZXJzY3JpcHQAAAhGb250VW5kZXJsaW5lAAAACFNpemVUb1RleHRXaWR0aAABCFNpemVUb1RleHRIZWlnaHQAAQNUZXh0TWFyZ2luAD8AAAABTGVmdAAAAAAAAAAAAAFUb3AAAAAAAAAAAAABUmlnaHQAAAAAAAAAAAABQm90dG9tAAAAAAAAAAAAAAFIZWlnaHQAAAAAAAAAAAABV2lkdGgAAAAAAAAAAAABVG9wAAAAAAAAABBAAUxlZnQAAAAAAAAAEEAIRmxpcEhvcml6b250YWxseQAACEZsaXBIb3Jpem9udGFsbHlBcHBsaWVkAAAIRmxpcFZlcnRpY2FsbHkAAAhGbGlwVmVydGljYWxseUFwcGxpZWQAAAFSb3RhdGlvbgAAAAAAAOBwQ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Bvc3NpYmxlQXJlYQ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AAhVc2VBdXRvbWF0aWNNYWpvclVuaXQAAQhVc2VBdXRvbWF0aWNNaW5pbXVtU2NhbGUAAQhVc2VBdXRvbWF0aWNNYXhpbXVtU2NhbGUAAQNGb250Q29sb3IAVQAAABBBAP8AAAAQUgAAAAAAEEcAAAAAABBCAAAAAAABU2NBAAAAAAAAAPA/AVNjUgAAAAAAAAAAAAFTY0cAAAAAAAAAAAABU2NCAAAAAAAAAAAAABBGb250U2NoZW1lQ29sb3IAAgAAABBGb250VGhlbWVDb2xvcgAAAAAAAUZvbnRUaW50QW5kU2hhZGUAAAAAAAAAAAACTGFiZWxQb3NpdGlvbgACAAAAMAADTnVtYmVyRm9ybWF0AB8AAAAFX2lkABAAAAAEAAAAAAAAAAAAAAAAAAAA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AAzIAnw0AAAJBeGlzVHlwZQALAAAAeGxDYXRlZ29yeQACQXhpc0dyb3VwAAoAAAB4bFByaW1hcnkACFNjaGVtZUNvbG9yQXBwbGllZAABCEZvbnRTdHlsZVVuZGVybGluZWQAAAhBcHBseU92ZXJhbGxGb250c2l6ZQABCElzVmlzaWJsZQABCFhsQXV0b21hdGljQ29sb3JJbmRleEFwcGxpZWQAAAhVc2VFeGNlbEZvcm1hdHNXaGVuRGF0ZUF4aXMAAQNBeGlzVGl0bGVEYXRhAHkIAAADUG9zaXRpb24AOgAAAAJBbmNob3IACwAAAEF4aXNDZW50ZXIAAVJlbGF0aXZlQW5jaG9yT2Zmc2V0AAAAAAAAAAAAAAhXYW50VG9CZVZpc2libGUAAANUZXh0Qm94RGF0YQCUBgAABU1hbmFnZWRJZAAQAAAABOVyqefXn6NBimnMFzkcVoI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0AAABtc29BbGlnbkxlZnQAAlRleHRWZXJ0aWNhbEFsaWdubWVudAANAAAAbXNvQW5jaG9yVG9w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AAAAAAABQm90dG9tAAAAAAAAAAAAAAJEaXNwbGF5VGV4dAABAAAAAAFIZWlnaHQAAAAAwI5AA0ABV2lkdGgAAAAAoJmZuT8BVG9wAAAAAAAAABBAAUxlZnQAAAAAAAAAEEAIRmxpcEhvcml6b250YWxseQAACEZsaXBIb3Jpem9udGFsbHlBcHBsaSIAAAAFIQAAAP////8TCNQHAAAAAAAAAAB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Qb3NzaWJsZUFyZWE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AIVXNlQXV0b21hdGljTWFqb3JVbml0AAEIVXNlQXV0b21hdGljTWluaW11bVNjYWxlAAEIVXNlQXV0b21hdGljTWF4aW11bVNjYWxlAAEDRm9udENvbG9yAFUAAAAQQQD/AAAAEFIAQAAAABBHAEAAAAAQQgBAAAAAAVNjQQAAAAAAAADwPwFTY1IAAAAAwP0/qj8BU2NHAAAAAMD9P6o/AVNjQgAAAADA/T+qPwAQRm9udFNjaGVtZUNvbG9yAAIAAAAQRm9udFRoZW1lQ29sb3IAAAAAAAFGb250VGludEFuZFNoYWRlAAAAAAAAAAAAAkxhYmVsUG9zaXRpb24ABQAAAE5vbmUAA0F4aXNMaW5lU3R5bGUAMwEAAAJfdHlwZQByAAAAbWlvLkNvbW1vbi5Qb3dlclBvaW50Lk1hbmFnZWQuQ29udHJhY3RzLkN1c3RvbWl6aW5nLlN0eWxlcy5BeGlzTGluZVN0eWxlLCBtaW8uQ29tbW9uLlBvd2VyUG9pbnQuTWFuYWdlZC5Db250cmFjdHMAAUxpbmVXZWlnaHQAAAAAAAAA4D8CRGFzaFN0eWxlAAoAAABMaW5lU29saWQACFZpc2libGUAAQNDb2xvcgBzAAAAEFRoZW1lQ29sb3IADQAAAAFUaW50QW5kU2hhZGUAAAAAAAAAAAAQVGludEluZGV4AP////8QU2NoZW1lQ29sb3IAAAAAAANDb2xvcgAhAAAAEEEAAAAAABBSAP8AAAAQRwD/AAAAEEIA/wAAAAAA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AAAJOYW1lAAkAAABBeGVzRGF0YQAQVmVyc2lvbgAEAAAACUxhc3RXcml0ZQD1N2w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AAAABP//////////AQArBgAAAAAAAAAAAAD/////tAm0CQAABV9pZAAQAAAABE3BT2IaK1NDuVNFcfFTzWYDRGF0YQBRCQAACEF1dG9tYXRpY0xheW91dEFjdGl2ZQABBEFkZGl0aW9uYWxDaGFydE1hcmdpbkRhdGFzAAUAAAAAAkRhdGFSZWZlcmVuY2VEaXJlY3Rpb24ADQAAAFNlcmllc0J5Um93cwACU2VyaWVzT3JkZXIACgAAAEFzSW5FeGNlbAACUG9pbnRPcmRlcgAKAAAAQXNJbkV4Y2VsAAJQcmltYXJ5QXhpc0Nyb3NzVHlwZQAZAAAAQ3Jvc3Nlc0JldHdlZW5DYXRlZ29yaWVzAAJTZWNvbmRhcnlBeGlzQ3Jvc3NUeXBlAAgAAABJbnZhbGlkAAhJc0NoYXJ0VGl0bGVWaXNpYmxlAAADQ2hhcnRUaXRsZURhdGEAzQYAAAhXYW50VG9CZVZpc2libGUAAANUZXh0Qm94RGF0YQBXBgAABU1hbmFnZWRJZAAQAAAABNZ6DTRiywRImBWFHynDxLE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UZvbnRTaXplAAAAAAAAAAAACEZvbnRTdHJpa2V0aHJvdWdoAAAIRm9udFN1YnNjcmlwdAAACEZvbnRTdXBlcnNjcmlwdAAACEZvbnRVbmRlcmxpbmUAAAAIU2l6ZVRvVGV4dFdpZHRoAAEIU2l6ZVRvVGV4dEhlaWdodAAB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2Zmc2V0RnJvbUhvbWUAQgAAAAFYAAAAAAAAAAAAAVkAAAAAAAAAAAABTGVuZ3RoAAAAAAAAAAAAAUxlbmd0aFNxdWFyZWQAAAAAAAAAAAAAAAFQbG90VG9DaGFydEFyZWFSYXRpbwAAAAAAAAAAAAJSZW5kZXJNb2RlAAsAAABIeWJyaWRUZXh0AANDdXN0b21pemluZ0Rlc2NyaXB0aW9uRGF0YQCRAAAAAk5hbWUAFwAAAERlZmF1bHRGbGV4Q3VzdG9taXppbmcAEFZlcnNpb24AAQAAABBNaW5vclZlcnNpb24AAAAAAAJDdXN0b21pemluZ1R5cGUACAAAAERlZmF1bHQAAk1pb0NkSWQAAQAAAAACRmxleEN1c3RvbWl6aW5nVHlwZQAIAAAARGVmYXVsdAAAAUxhc3RTZWVuV2lkdGgAAAAAgBvydUABTGFzdFNlZW5IZWlnaHQAAAAAANkDcEAITWlncmF0aW9uVG9QZXJmb3JtYW5jZU1vZGVEb25lAAEFTGFzdFNlZW5TbGlkZUNvbG9yVGhlbWVNZDVIYXNoABAAAAAAwmQJNSTp7c99NH3jhufRHgACTmFtZQAUAAAAR2xvYmFsQ2hhcnRTZXR0aW5ncwAQVmVyc2lvbgAEAAAACUxhc3RXcml0ZQAfBa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AAAAAT//////////wMA1AQAAAAAAAAAAAAA/////3sAewAAAAVfaWQAEAAAAAQB7ohjkilxRpm5omvb+EbbA0RhdGEAHQAAAAhEb05vdFNob3dGdWxsRW1mQWdhaW4AAAACTmFtZQAPAAAAQ29tbW9uU2V0dGluZ3MAEFZlcnNpb24AAAAAAAlMYXN0V3JpdGUALV9PRoABAAAAAQD/////7gbuBgAABV9pZAAQAAAABCkM8WVH4nBJjPtCb1R2rWYDRGF0YQCKBgAAA1dpZ2dsZVNoYXBlRGF0YQB0BgAAAkF1dG9TaGFwZVR5cGUACgAAAFJlY3RhbmdsZQAFTWFuYWdlZElkABAAAAAEqYUxOx6Nn0G2GOy5dd9HsAhIYXNDaGFuZ2VzAAAIVXNlTmFtZUluc3RlYWRPZlRhZ0FzSWQAAQhTaGFwZVByZXZpb3VzbHlDcmVhdGVkAAADRmlsbENvbG9yAFUAAAAQQQAAAAAAEFIA/wAAABBHAP8AAAAQQgD/AAAAAVNjQQAAAAAAAAAAAAFTY1IAAAAAAAAA8D8BU2NHAAAAAAAAAPA/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PA/AVdpZHRoAAAAAAAAAPA/AVRvcAAAAABAu9AlQAFMZWZ0AAAAAEC70CV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TmFtZQAVAAAARGF0YUNoYXJ0Q29BdXRob3JpbmcAEFZlcnNpb24AAAAAAAlMYXN0V3JpdGUA/QOuNZcBAAAAAgD/////kgOSAwAABV9pZAAQAAAABH5b9XJHELtEvn8Uuuf+KH8DRGF0YQAwAwAAA0JvdW5kcw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CElzVmlzaWJsZQAACElzUmV2ZXJzZWQAAAhTaG93R3JpZGxpbmVzAAABTWFudWFsTWFqb3JVbml0AAAAAAAAAAAAAU1hbnVhbE1heGltdW1TY2FsZQAAAAAAAAAAAAFNYW51YWxNaW5pbXVtU2NhbGUAAAAAAAAAAAAIVXNlQXV0b21hdGljTWFqb3JVbml0AAEIVXNlQXV0b21hdGljTWluaW11bVNjYWxlAAEIVXNlQXV0b21hdGljTWF4aW11bVNjYWxlAAEDQWRkaXRpb25hbEF4aXNUaWNrTGFiZWxzRGF0YQC3AAAABEl0ZW1EYXRhAAUAAAAAA0ZvbnRDb2xvcgBVAAAAEEEAAAAAABBSAAAAAAAQRwAAAAAAEEIAAAAAAAFTY0EAAAAAAAAAAAABU2NSAAAAAAAAAAAAAVNjRwAAAAAAAAAAAAFTY0IAAAAAAAAAAAAAEEZvbnRTY2hlbWVDb2xvcgAAAAAAEEZvbnRUaGVtZUNvbG9yAAAAAAABRm9udFRpbnRBbmRTaGFkZQAAAAAAAAAAAAAER3JpZGxpbmVJdGVtRGF0YQAFAAAAAAACTmFtZQATAAAAQWRkaXRpb25hbEF4aXNEYXRhABBWZXJzaW9uAAAAAAAJTGFzdFdyaXRlAFmuXWiJ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UAAAAE//////////8MAPIHAAAAAAAAAAAAAP////+7ALsAAAAFX2lkABAAAAAEK8hudm55fEafzMnk8NtOzgNEYXRhAEoAAAAIU2hvd05hbWUAAAhTaG93VmFsdWUAAAhTaG93UGVyY2VudGFnZQAAEFBlcmNlbnRhZ2VEZWNpbWFsUGxhY2VzAAAAAAAAAk5hbWUAIgAAAENhdGVnb3J5TGFiZWxTZXR0aW5nc0RhdGFQcm9wZXJ0eQAQVmVyc2lvbgAAAAAACUxhc3RXcml0ZQCG78pydAEAAAABACYAAAAAAAIA/////3MAcwAAAAVfaWQAEAAAAASjIPJ7bjmMTKm9J9CWrVpzA0RhdGEAFwAAAARTZXJpZUxhYmVscwAFAAAAAAACTmFtZQANAAAAU2VyaWVzTGFiZWxzABBWZXJzaW9uAAUAAAAJTGFzdFdyaXRlAPFaT16NAQAAAAMAKQAAAAAABAAsAAAAAAAFAP////+BAIEAAAAFX2lkABAAAAAEqRg4jra+mUGutKI4wqS45QNEYXRhACAAAAADU2VyaWVzTmVnYXRpdmVDb2xvcnMABQAAAAAAAk5hbWUAEgAAAENvbG9yRGF0YVByb3BlcnR5ABBWZXJzaW9uAAAAAAAJTGFzdFdyaXRlANf2749vAQAAAAYA/////+AA4AAAAAVfaWQAEAAAAAQf9niQt0ZHSZ97BJ3ISHfeA0RhdGEAbAAAAARQb2ludE1hcmtlclN0eWxlcwAFAAAAAANTZXJpZXNNYXJrZXJTdHlsZXMABQAAAAAIU3VwcHJlc3NNYXJrZXJzAAAITWFya2Vyc1N1cHByZXNzZWRPblByZXZpb3VzTGF5b3V0AAAAAk5hbWUAJQAAAFBvaW50QW5kU2VyaWVzTWFya2VyU3R5bGVEZWZpbml0aW9ucwAQVmVyc2lvbgAAAAAACUxhc3RXcml0ZQAoX09GgAEAAAAHAP////+nAacBAAAFX2lkABAAAAAEPFGQkx9/PEytCOkQKHEB4ANEYXRhAEoBAAADTnVtYmVyRm9ybWF0VmFsdWVTdHJpbmdzACsBAAACTnVtYmVyRm9ybWF0SWRQcmltYXJ5ACUAAAAwMDAwMDAwMC0wMDAwLTAwMDAtMDAwMC0wMDAwMDAwMDAwMDAAAlBlcmNlbnRGb3JtYXRJZFByaW1hcnkADgAAAFskLTQwN10jLCMjMCUAAk51bWJlckZvcm1hdElkU2Vjb25kYXJ5ACUAAAAwMDAwMDAwMC0wMDAwLTAwMDAtMDAwMC0wMDAwMDAwMDAwMDAAAk51bWJlckZvcm1hdElkUHJpbWFyeUNhdGVnb3J5ACUAAAAwMDAwMDAwMC0wMDAwLTAwMDAtMDAwMC0wMDAwMDAwMDAwMDAAAlBlcmNlbnRGb3JtYXRJZFByaW1hcnlDYXRlZ29yeQAOAAAAWyQtNDA3XSMsIyMwJQAAAAJOYW1lAA4AAABOdW1iZXJGb3JtYXRzABBWZXJzaW9uAAEAAAAJTGFzdFdyaXRlADvVbDWXAQAAAAgAPAAAAAAACQD/////UgJSAgAABV9pZAAQAAAABKTaIZ4cHj1FinqkixN8+WsDRGF0YQDkAQAABFBvaW50Q29sb3JzU3R5bGUABQAAAAADU2VyaWVzQ29sb3JzU3R5bGUAtQEAAAMxANUAAAAQU2VyaWVzSW5kZXgAAQAAAANQcmltYXJ5Q29sb3JTdHlsZQCsAAAAAkNvbG9yUHJvcGVydHlUYXJnZXQACAAAAFByaW1hcnkAA0NvbG9yT3JUaGVtZUNvbG9yAHMAAAAQVGhlbWVDb2xvcgAHAAAAAVRpbnRBbmRTaGFkZQAAAAAAAAAAABBUaW50SW5kZXgA/////xBTY2hlbWVDb2xvcgAAAAAAA0NvbG9yACEAAAAQQQD/AAAAEFIA+wAAABBHALoAAAAQQgC5AAAAAAAAAAMyANUAAAAQU2VyaWVzSW5kZXgAAgAAAANQcmltYXJ5Q29sb3JTdHlsZQCsAAAAAkNvbG9yUHJvcGVydHlUYXJnZXQACAAAAFByaW1hcnkAA0NvbG9yT3JUaGVtZUNvbG9yAHMAAAAQVGhlbWVDb2xvcgAFAAAAAVRpbnRBbmRTaGFkZQAAAAAAAAAAABBUaW50SW5kZXgA/////xBTY2hlbWVDb2xvcgAAAAAAA0NvbG9yACEAAAAQQQD/AAAAEFIAxwAAABBHACoAAAAQQgA0AAAAAAAAAAAAAk5hbWUAHwAAAFBvaW50QW5kU2VyaWVzU3R5bGVEZWZpbml0aW9ucwAQVmVyc2lvbgACAAAACUxhc3RXcml0ZQDpIGw1lwEAAAAKAP////+aAJoAAAAFX2lkABAAAAAE3OjMoXN8Tka8RGEC2gCAfANEYXRhADgAAAAIQXJlTmVnYXRpdmVTdW1zQXRPdGhlckVuZAAACEFyZUNvbHVtblN1bXNWaXNpYmxlAAAAAk5hbWUAEwAAAENvbHVtblN1bXNTZXR0aW5ncwAQVmVyc2lvbgAAAAAACUxhc3RXcml0ZQDG+pjYbQEAAAALAP////9zAHMAAAAFX2lkABAAAAAEAdGSqeEO4UOOmuyeny64MgNEYXRhABcAAAAEU2VyaWVMYWJlbHMABQAAAAAAAk5hbWUADQAAAFNlcmllc0xhYmVscwAQVmVyc2lvbgAEAAAACUxhc3RXcml0ZQBLv5nuh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AAAABf////8nAAAA5w8AAAAAAAAAAAAA4ScAAAVfaWQAEAAAAAR2qzR4kcRoSqFpAI6HxA1VA0RhdGEAiScAAARTYXZlZEF4aXNMYWJlbERhdGEAcCcAAAMwAJwNAAACQXhpc1R5cGUACAAAAHhsVmFsdWUAAkF4aXNHcm91cAAKAAAAeGxQcmltYXJ5AAhTY2hlbWVDb2xvckFwcGxpZWQAAAhGb250U3R5bGVVbmRlcmxpbmVkAAAIQXBwbHlPdmVyYWxsRm9udHNpemUAAQhJc1Zpc2libGUAAAhYbEF1dG9tYXRpY0NvbG9ySW5kZXhBcHBsaWVkAAAIVXNlRXhjZWxGb3JtYXRzV2hlbkRhdGVBeGlzAAADQXhpc1RpdGxlRGF0YQB5CAAAA1Bvc2l0aW9uADoAAAACQW5jaG9yAAsAAABBeGlzQ2VudGVyAAFSZWxhdGl2ZUFuY2hvck9mZnNldAAAAAAAAAAAAAAIV2FudFRvQmVWaXNpYmxlAAADVGV4dEJveERhdGEAlAYAAAVNYW5hZ2VkSWQAEAAAAAQY2KeGNydnSJdNfPw7UTBj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NAAAAbXNvQWxpZ25MZWZ0AAJUZXh0VmVydGljYWxBbGlnbm1lbnQADQAAAG1zb0FuY2hvclRvcA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AAAAAAAAUJvdHRvbQAAAAAAAAAAAAACRGlzcGxheVRleHQAAQAAAAABSGVpZ2h0AAAAAMCOQANAAVdpZHRoAAAAAKCZmbk/AVRvcAAAAAAAAAAQQAFMZWZ0AAAAAAAAABBACEZsaXBIb3Jpem9udGFsbHkAAAhGbGlwSG9yaXpvbnRhbGx5QXBwbGllZAAACEZsaXBWZXJ0aWNhbGx5AAAIRmxpcFZlcnRpY2FsbHlBcHBsaWVkAAABUm90YXRpb24AAAAAAADgcE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Qb3NzaWJsZUFyZWE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AIVXNlQXV0b21hdGljTWFqb3JVbml0AAEIVXNlQXV0b21hdGljTWluaW11bVNjYWxlAAEIVXNlQXV0b21hdGljTWF4aW11bVNjYWxlAAEDRm9udENvbG9yAFUAAAAQQQD/AAAAEFIAQAAAABBHAEAAAAAQQgBAAAAAAVNjQQAAAAAAAADwPwFTY1IAAAAAwP0/qj8BU2NHAAAAAMD9P6o/AVNjQgAAAADA/T+qPwAQRm9udFNjaGVtZUNvbG9yAAIAAAAQRm9udFRoZW1lQ29sb3IAAAAAAAFGb250VGludEFuZFNoYWRlAAAAAAAAAAAAAkxhYmVsUG9zaXRpb24ABQAAAE5vbmUAA0F4aXNMaW5lU3R5bGUAMwEAAAJfdHlwZQByAAAAbWlvLkNvbW1vbi5Qb3dlclBvaW50Lk1hbmFnZWQuQ29udHJhY3RzLkN1c3RvbWl6aW5nLlN0eWxlcy5BeGlzTGluZVN0eWxlLCBtaW8uQ29tbW9uLlBvd2VyUG9pbnQuTWFuYWdlZC5Db250cmFjdHMAAUxpbmVXZWlnaHQAAAAAAAAA4D8CRGFzaFN0eWxlAAoAAABMaW5lU29saWQACFZpc2libGUAAQNDb2xvcgBzAAAAEFRoZW1lQ29sb3IADQAAAAFUaW50QW5kU2hhZGUAAAAAAAAAAAAQVGludEluZGV4AP////8QU2NoZW1lQ29sb3IAAAAAAANDb2xvcgAhAAAAEEEAAAAAABBSAP8AAAAQRwD/AAAAEEIA/wAAAAAA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DMQAnDAAAAkF4aXNUeXBlAAgAAAB4bFZhbHVlAAJBeGlzR3JvdXAADAAAAHhsU2Vjb25kYXJ5AAhTY2hlbWVDb2xvckFwcGxpZWQAAAhGb250U3R5bGVVbmRlcmxpbmVkAAAIQXBwbHlPdmVyYWxsRm9udHNpemUAAAhJc1Zpc2libGUAAAhYbEF1dG9tYXRpY0NvbG9ySW5kZXhBcHBsaWVkAAAIVXNlRXhjZWxGb3JtYXRzV2hlbkRhdGVBeGlzAAADQXhpc1RpdGxlRGF0YQBHCAAAA1Bvc2l0aW9uADoAAAACQW5jaG9yAAsAAABBeGlzQ2VudGVyAAFSZWxhdGl2ZUFuY2hvck9mZnNldAAAAAAAAAAAAAAIV2FudFRvQmVWaXNpYmxlAAADVGV4dEJveERhdGEAYgYAAAVNYW5hZ2VkSWQAEAAAAAQOkgPpgK/PR7Y+jqGYGPnZCEhhc0NoYW5nZXMAAQhVc2VOYW1lSW5zdGVhZE9mVGFnQXNJZAABCFNoYXBlUHJldmlvdXNseUNyZWF0ZWQAAANGaWxsQ29sb3IAVQAAABBBAAAAAAAQUgAAAAAAEEcAAAAAABBCAAAAAAABU2NBAAAAAAAAAPC/AVNjUgAAAAAAAADwvwFTY0cAAAAAAAAA8L8BU2NCAAAAAAAAAPC/ABBGaWxsVGhlbWVDJwAAAAUmAAAAKAAAAOcPAAAAAAAAAAAAAG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0AAABtc29BbGlnbkxlZnQAAlRleHRWZXJ0aWNhbEFsaWdubWVudAANAAAAbXNvQW5jaG9yVG9wAANGb250U3R5bGUALAEAABBGb250QmFja2dyb3VuZAAAAAAACEZvbnRCb2xkAAADRm9udENvbG9yAFUAAAAQQQD/AAAAEFIAAAAAABBHAAAAAAAQQgAAAAAAAVNjQQAAAAAAAADwPwFTY1IAAAAAAAAAAAABU2NHAAAAAAAAAAAAAVNjQgAAAAAAAAAAAAAQRm9udFRoZW1lQ29sb3IAAAAAAAFGb250VGludEFuZFNoYWRlAAAAAAAAAAAAEEZvbnRTY2hlbWVDb2xvcgACAAAACEZvbnRJdGFsaWMAAAFGb250U2l6ZQAAAAAAAAAoQAhGb250U3RyaWtldGhyb3VnaAAACEZvbnRTdWJzY3JpcHQAAAhGb250U3VwZXJzY3JpcHQAAAhGb250VW5kZXJsaW5lAAAACFNpemVUb1RleHRXaWR0aAABCFNpemVUb1RleHRIZWlnaHQAAQNUZXh0TWFyZ2luAD8AAAABTGVmdAAAAAAAAAAAAAFUb3AAAAAAAAAAAAABUmlnaHQAAAAAAAAAAAABQm90dG9tAAAAAAAAAAAAAAFIZWlnaHQAAAAAAAAAAAABV2lkdGgAAAAAAAAAAAABVG9wAAAAAAAAABBAAUxlZnQAAAAAAAAAEEAIRmxpcEhvcml6b250YWxseQAACEZsaXBIb3Jpem9udGFsbHlBcHBsaWVkAAAIRmxpcFZlcnRpY2FsbHkAAAhGbGlwVmVydGljYWxseUFwcGxpZWQAAAFSb3RhdGlvbgAAAAAAAOBwQ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Bvc3NpYmxlQXJlYQ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AAhVc2VBdXRvbWF0aWNNYWpvclVuaXQAAQhVc2VBdXRvbWF0aWNNaW5pbXVtU2NhbGUAAQhVc2VBdXRvbWF0aWNNYXhpbXVtU2NhbGUAAQNGb250Q29sb3IAVQAAABBBAP8AAAAQUgAAAAAAEEcAAAAAABBCAAAAAAABU2NBAAAAAAAAAPA/AVNjUgAAAAAAAAAAAAFTY0cAAAAAAAAAAAABU2NCAAAAAAAAAAAAABBGb250U2NoZW1lQ29sb3IAAgAAABBGb250VGhlbWVDb2xvcgAAAAAAAUZvbnRUaW50QW5kU2hhZGUAAAAAAAAAAAACTGFiZWxQb3NpdGlvbgACAAAAMAADTnVtYmVyRm9ybWF0AB8AAAAFX2lkABAAAAAEAAAAAAAAAAAAAAAAAAAA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AAzIAnw0AAAJBeGlzVHlwZQALAAAAeGxDYXRlZ29yeQACQXhpc0dyb3VwAAoAAAB4bFByaW1hcnkACFNjaGVtZUNvbG9yQXBwbGllZAABCEZvbnRTdHlsZVVuZGVybGluZWQAAAhBcHBseU92ZXJhbGxGb250c2l6ZQABCElzVmlzaWJsZQABCFhsQXV0b21hdGljQ29sb3JJbmRleEFwcGxpZWQAAAhVc2VFeGNlbEZvcm1hdHNXaGVuRGF0ZUF4aXMAAQNBeGlzVGl0bGVEYXRhAHkIAAADUG9zaXRpb24AOgAAAAJBbmNob3IACwAAAEF4aXNDZW50ZXIAAVJlbGF0aXZlQW5jaG9yT2Zmc2V0AAAAAAAAAAAAAAhXYW50VG9CZVZpc2libGUAAANUZXh0Qm94RGF0YQCUBgAABU1hbmFnZWRJZAAQAAAABOVyqefXn6NBimnMFzkcVoI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0AAABtc29BbGlnbkxlZnQAAlRleHRWZXJ0aWNhbEFsaWdubWVudAANAAAAbXNvQW5jaG9yVG9w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AAAAAAABQm90dG9tAAAAAAAAAAAAAAJEaXNwbGF5VGV4dAABAAAAAAFIZWlnaHQAAAAAwI5AA0ABV2lkdGgAAAAAoJmZuT8BVG9wAAAAAAAAABBAAUxlZnQAAAAAAAAAEEAIRmxpcEhvcml6b250YWxseQAACEZsaXBIb3Jpem9udGFsbHlBcHBsaSgAAAAFJwAAAP////8TCNQHAAAAAAAAAAB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Qb3NzaWJsZUFyZWE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AIVXNlQXV0b21hdGljTWFqb3JVbml0AAEIVXNlQXV0b21hdGljTWluaW11bVNjYWxlAAEIVXNlQXV0b21hdGljTWF4aW11bVNjYWxlAAEDRm9udENvbG9yAFUAAAAQQQD/AAAAEFIAQAAAABBHAEAAAAAQQgBAAAAAAVNjQQAAAAAAAADwPwFTY1IAAAAAwP0/qj8BU2NHAAAAAMD9P6o/AVNjQgAAAADA/T+qPwAQRm9udFNjaGVtZUNvbG9yAAIAAAAQRm9udFRoZW1lQ29sb3IAAAAAAAFGb250VGludEFuZFNoYWRlAAAAAAAAAAAAAkxhYmVsUG9zaXRpb24ABQAAAE5vbmUAA0F4aXNMaW5lU3R5bGUAMwEAAAJfdHlwZQByAAAAbWlvLkNvbW1vbi5Qb3dlclBvaW50Lk1hbmFnZWQuQ29udHJhY3RzLkN1c3RvbWl6aW5nLlN0eWxlcy5BeGlzTGluZVN0eWxlLCBtaW8uQ29tbW9uLlBvd2VyUG9pbnQuTWFuYWdlZC5Db250cmFjdHMAAUxpbmVXZWlnaHQAAAAAAAAA4D8CRGFzaFN0eWxlAAoAAABMaW5lU29saWQACFZpc2libGUAAQNDb2xvcgBzAAAAEFRoZW1lQ29sb3IADQAAAAFUaW50QW5kU2hhZGUAAAAAAAAAAAAQVGludEluZGV4AP////8QU2NoZW1lQ29sb3IAAAAAAANDb2xvcgAhAAAAEEEAAAAAABBSAP8AAAAQRwD/AAAAEEIA/wAAAAAA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AAAJOYW1lAAkAAABBeGVzRGF0YQAQVmVyc2lvbgAFAAAACUxhc3RXcml0ZQD9N2w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pAAAABf////8qAAAA5w8AAAAAAAAAAAAA/ikAAAVfaWQAEAAAAARY2xp8GBFsSpFfxhD/VEP0A0RhdGEApCkAAARJdGVtRGF0YQDjKAAAAzAAcBQAABBJbmRleAABAAAACElzRGVsZXRlZAAAA1RleHRTaGFwZURhdGEA0AYAAAVNYW5hZ2VkSWQAEAAAAATveDZxfZ/pS4nYcyEtGzj+CEhhc0NoYW5nZXMAAA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EQAAAEVyd2FydHVuZ2VuIDIwMjMAAlRleHRIb3Jpem9udGFsQWxpZ25tZW50AA4AAABtc29BbmNob3JOb25lAAJQYXJhZ3JhcGhBbGlnbm1lbnQADwAAAG1zb0FsaWduQ2VudGVyAAJUZXh0VmVydGljYWxBbGlnbm1lbnQADQAAAG1zb0FuY2hvclRvcAADRm9udFN0eWxlAEA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gAAAEFyaWFsAAFGb250U2l6ZQAAAAAAAAAkQAhGb250U3RyaWtldGhyb3VnaAAACEZvbnRTdWJzY3JpcHQAAAhGb250U3VwZXJzY3JpcHQAAAhGb250VW5kZXJsaW5lAAAACFNpemVUb1RleHRXaWR0aAABCFNpemVUb1RleHRIZWlnaHQAAQNUZXh0TWFyZ2luAD8AAAABTGVmdAAAAAAAAAAAAAFUb3AAAAAAAAAAAAABUmlnaHQAAAAAAAAAAAABQm90dG9tAAAAAAAAAAAAAAJEaXNwbGF5VGV4dAARAAAARXJ3YXJ0dW5nZW4gMjAyMwABSGVpZ2h0AAAAAKCZWShAAVdpZHRoAAAAAGCgc1RAAVRvcAAAAABgGEJuQAFMZWZ0AAAAAOC05Vh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NYXJrZXJTaGFwZURhdGEAdAYAAAJBdXRvU2hhcGVUeXBlAAoAAABSZWN0YW5nbGUABU1hbmFnZWRJZAAQAAAABP3JV4NVM4BFvTgLIFb3sxgISGFzQ2hhbmdlcwAACFVzZU5hbWVJbnN0ZWFkT2ZUYWdBc0lkAAEIU2hhcGVQcmV2aW91c2x5Q3JlYXRlZAAAA0ZpbGxDb2xvcgBVAAAAEEEA/wAAABBSAPsAAAAQRwC6AAAAEEIAuQAAAAFTY0EAAAAAAAAA8D8BU2NSAAAAAMC13u4/AVNjRwAAAADg4mzfPwFTY0IAAAAAYLIM3z8AEEZpbGxUaGVtZUNvbG9yAAcAAAABRmlsbFRpbnRBbmRTaGFkZQAAAAAAAAAAABBGaWxsU2NoZW1lQ29sb3IAAAAAAANQYXR0ZXJuQ29sb3IAVQAAABBBAP8AAAAQUgASAAAAEEcAPwAAABBCAG4AAAABU2NBAAAAAAAAAPA/AVNjUgAAAABAqcZ4PwFTY0cAAAAAoCNzqT8BU2NCAAAAAABm9cM/ABBQYXR0ZXJuVGhlbWVDb2xvcgAF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g3wsXQAFXaWR0aAAAAABg3wsXQAFUb3AAAAAAoLWobkABTGVmdAAAAADg9rRWQAhGbGlwSG9yaXpvbnRhbGx5AAAIRmxpcEhvcml6b250YWxseUFwcGxpZWQAAAhGbGlwVmVydGljYWxseQAACEZsaXBWZXJ0aWNhbGx5QXBwbGllZAAAAVJvdGF0aW9uAAAAAAAAAAAAAVpPcmRlcgAAAAAAAAAkQ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luZVNoYXBlRGF0YQDhBgAAA1N0YXJ0ABsAAAABWAAAAAAAAAAAAAFZAAAAAAAAAAAAAANFbmQAGwAAAAFYAAAAAAAAAAAAAVkAAAAAAAAAAAAAAlN0YXJ0QXJyb3dIZWFkABEAAABtc29BcnJvd2hlYWROb25lAAJFbmRBcnJvd0hlYWQAEQAAAG1zb0Fycm93aGVhZE5vbmUABU1hbmFnZWRJZAAQAAAABOUAXAVnbcxMgpZ9WSpo6cM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KgAAAAUpAAAAKwAAAOcPAAAAAAAAAAAA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MxAGgUAAAQSW5kZXgAAgAAAAhJc0RlbGV0ZWQAAANUZXh0U2hhcGVEYXRhAMgGAAAFTWFuYWdlZElkABAAAAAEIJR7bd5Y8EeQceRo90aZvg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0AAABBbmdhYmVuIDIwMjUAAlRleHRIb3Jpem9udGFsQWxpZ25tZW50AA4AAABtc29BbmNob3JOb25lAAJQYXJhZ3JhcGhBbGlnbm1lbnQADwAAAG1zb0FsaWduQ2VudGVyAAJUZXh0VmVydGljYWxBbGlnbm1lbnQADQAAAG1zb0FuY2hvclRvcAADRm9udFN0eWxlAEA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gAAAEFyaWFsAAFGb250U2l6ZQAAAAAAAAAkQAhGb250U3RyaWtldGhyb3VnaAAACEZvbnRTdWJzY3JpcHQAAAhGb250U3VwZXJzY3JpcHQAAAhGb250VW5kZXJsaW5lAAAACFNpemVUb1RleHRXaWR0aAABCFNpemVUb1RleHRIZWlnaHQAAQNUZXh0TWFyZ2luAD8AAAABTGVmdAAAAAAAAAAAAAFUb3AAAAAAAAAAAAABUmlnaHQAAAAAAAAAAAABQm90dG9tAAAAAAAAAAAAAAJEaXNwbGF5VGV4dAANAAAAQW5nYWJlbiAyMDI1AAFIZWlnaHQAAAAAoJlZKEABV2lkdGgAAAAAAGNJUEABVG9wAAAAAGAYQm5AAUxlZnQAAAAAoAlla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1hcmtlclNoYXBlRGF0YQB0BgAAAkF1dG9TaGFwZVR5cGUACgAAAFJlY3RhbmdsZQAFTWFuYWdlZElkABAAAAAEw1jMt9sxT0u1AK2PyAI6pAhIYXNDaGFuZ2VzAAAIVXNlTmFtZUluc3RlYWRPZlRhZ0FzSWQAAQhTaGFwZVByZXZpb3VzbHlDcmVhdGVkAAADRmlsbENvbG9yAFUAAAAQQQD/AAAAEFIAxwAAABBHACoAAAAQQgA0AAAAAVNjQQAAAAAAAADwPwFTY1IAAAAAoKdG4j8BU2NHAAAAAECEtZc/AVNjQgAAAADA/JShPwAQRmlsbFRoZW1lQ29sb3IABQAAAAFGaWxsVGludEFuZFNoYWRlAAAAAAAAAAAAEEZpbGxTY2hlbWVDb2xvcgAAAAAAA1BhdHRlcm5Db2xvcgBVAAAAEEEA/wAAABBSAIUAAAAQRwCbAAAAEEIAswAAAAFTY0EAAAAAAAAA8D8BU2NSAAAAAODABc4/AVNjRwAAAAAAUfrUPwFTY0IAAAAAoKzZ3D8AEFBhdHRlcm5UaGVtZUNvbG9yAAY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GDfCxdAAVdpZHRoACsAAAAFKgAAAP////8wCrcFAAAAAAAAAAAAAABg3wsXQAFUb3AAAAAAoLWobkABTGVmdAAAAACgqkxnQAhGbGlwSG9yaXpvbnRhbGx5AAAIRmxpcEhvcml6b250YWxseUFwcGxpZWQAAAhGbGlwVmVydGljYWxseQAACEZsaXBWZXJ0aWNhbGx5QXBwbGllZAAAAVJvdGF0aW9uAAAAAAAAAAAAAVpPcmRlcgAAAAAAAAAkQ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luZVNoYXBlRGF0YQDhBgAAA1N0YXJ0ABsAAAABWAAAAAAAAAAAAAFZAAAAAAAAAAAAAANFbmQAGwAAAAFYAAAAAAAAAAAAAVkAAAAAAAAAAAAAAlN0YXJ0QXJyb3dIZWFkABEAAABtc29BcnJvd2hlYWROb25lAAJFbmRBcnJvd0hlYWQAEQAAAG1zb0Fycm93aGVhZE5vbmUABU1hbmFnZWRJZAAQAAAABAcnVonWAtBIo8bzBq/I+dY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JBbGlnbm1lbnQABwAAAEJvdHRvbQAISXNVc2VyUG9zaXRpb24AAANDdXN0b21DZW50ZXJQb3NpdGlvbgAbAAAAAVgAAAAAAAAAAAABWQAAAAAAAAAAAAACSXRlbU9yZGVyAAoAAABBc2NlbmRpbmcAEFJvd0NvdW50AAEAAAAQQ29sdW1uQ291bnQAAAAAAAJJdGVtRmxvd0RpcmVjdGlvbgALAAAASG9yaXpvbnRhbAAAAk5hbWUACwAAAExlZ2VuZERhdGEAEFZlcnNpb24AAgAAAAlMYXN0V3JpdGUAUwWu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sAAAABf////8tAAAA5w8AAAAAAAAAAAAAWJMAAAVfaWQAEAAAAARYYouFJp9BRKpkVPtOAGVnA0RhdGEA/pIAAANEYXRhTGFiZWxzUGVyQXhpcwDHkgAAA1ByaW1hcnkAZZIAAAREYXRhTGFiZWxzACGSAAADMABXGAAAEFBvaW50SW5kZXgAAQAAAAJBbGlnbm1lbnQABwAAAENlbnRlcgAQU2VyaWVzSW5kZXgAAQAAAAhSZXF1aXJlRm9udENvbG9yTWlncmF0aW9uAAAITWFudWFsRGF0YUxhYmVsQmFja2dyb3VuZFZpc2libGUAAAhIYXNXaXNoQ29sb3I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NWYWx1ZUF4aXNOdW1iZXJGb3JtYXQAHwAAAAVfaWQAEAAAAAQAAAAAAAAAAAAAAAAAAAAAAANDYXRlZ29yeUF4aXNOdW1iZXJGb3JtYXQAHwAAAAVfaWQAEAAAAAQAAAAAAAAAAAAAAAAAAAAAAANUZXh0Qm94ALwGAAAFTWFuYWdlZElkABAAAAAE9Qm7rDN3I0eIdZlnX+XVLQhIYXNDaGFuZ2VzAAAIVXNlTmFtZUluc3RlYWRPZlRhZ0FzSWQAAQhTaGFwZVByZXZpb3VzbHlDcmVhdGVkAAEDRmlsbENvbG9yAFUAAAAQQQD/AAAAEFIA+wAAABBHALoAAAAQQgC5AAAAAVNjQQAAAAAAAADwPwFTY1IAAAAAwLXe7j8BU2NHAAAAAODibN8/AVNjQgAAAABgsgzfPwAQRmlsbFRoZW1lQ29sb3IABw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QAAAAxMCUAAlRleHRIb3Jpem9udGFsQWxpZ25tZW50ABAAAABtc29BbmNob3JDZW50ZXI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EAAAAMTAlAAFIZWlnaHQAAAAAoCKeKkABV2lkdGgAAAAAQNTxNkABVG9wAAAAAEAhDmhAAUxlZnQAAAAAINnEO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R8VuMD87yCTqmoyecsq/5L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LQAAAAUsAAAALgAAAOcPAAAAAAAAAAAAAA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Fykqk5+mP5LgGlFumH/8ng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Cg4Z5CQAFZAAAAADuAxmhAAAhIYXNMZWFkZXJMaW5lAAAISXNDZW50ZXJBdXRvbWF0aWNBZGp1c3RlZAAACElzVXNlclBvc2l0aW9uAAACU2VwYXJhdG9yAAIAAAAKAAJUZXh0AAQAAAAxMCUACFJlcXVpcmVSZWxhdGl2ZVBvc2l0aW9uVXBncmFkZQAACElzR2VvbWV0cnlPdXRPZkJvdW5kcwAACElzTGVhZGVyTGluZUluQXV0b01vZGUAAQhEZWxldGVkAAAAAzEAVxgAABBQb2ludEluZGV4AAIAAAACQWxpZ25tZW50AAcAAABDZW50ZXIAEFNlcmllc0luZGV4AAEAAAAIUmVxdWlyZUZvbnRDb2xvck1pZ3JhdGlvbgAACE1hbnVhbERhdGFMYWJlbEJhY2tncm91bmRWaXNpYmxlAAAISGFzV2lzaENvbG9y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DVmFsdWVBeGlzTnVtYmVyRm9ybWF0AB8AAAAFX2lkABAAAAAEAAAAAAAAAAAAAAAAAAAAAAADQ2F0ZWdvcnlBeGlzTnVtYmVyRm9ybWF0AB8AAAAFX2lkABAAAAAEAAAAAAAAAAAAAAAAAAAAAAADVGV4dEJveAC8BgAABU1hbmFnZWRJZAAQAAAABK+H0rUzec1JqUJbTo/6myQISGFzQ2hhbmdlcwAACFVzZU5hbWVJbnN0ZWFkT2ZUYWdBc0lkAAEIU2hhcGVQcmV2aW91c2x5Q3JlYXRlZAABA0ZpbGxDb2xvcgBVAAAAEEEA/wAAABBSAPsAAAAQRwC6AAAAEEIAuQAAAAFTY0EAAAAAAAAA8D8BU2NSAAAAAMC13u4/AVNjRwAAAADg4mzfPwFTY0IAAAAAYLIM3z8AEEZpbGxUaGVtZUNvbG9yAAc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EAAAANzQlAAJUZXh0SG9yaXpvbnRhbEFsaWdubWVudAAQAAAAbXNvQW5jaG9yQ2VudGVy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AAAADc0JQABSC4AAAAFLQAAAC8AAADnDwAAAAAAAAAAAABlaWdodAAAAACgIp4qQAFXaWR0aAAAAABA1PE2QAFUb3AAAAAAAJ3fWkABTGVmdAAAAABgAtph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PkPkNY+/FJNmN6T/mvAF3A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Q7wU7m1wQDSLwW8QP2Ljmt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UvAAAABS4AAAAwAAAA5w8AAAAAAAAAAAAAbGVBZnRlcgAACExpbmVSdWxlQmVmb3JlAAAITGluZVJ1bGVXaXRoaW4AAAFSaWdodEluZGVudAAAAAAAAAAAAAFTcGFjZUFmdGVyAAAAAAAAAAAAAVNwYWNlQmVmb3JlAAAAAAAAAAAAAVNwYWNlV2l0aGluAAAAAAAAAAAAAANDZW50ZXIAGwAAAAFYAAAAAKQfSWNAAVkAAAAA9lpQXEAACEhhc0xlYWRlckxpbmUAAAhJc0NlbnRlckF1dG9tYXRpY0FkanVzdGVkAAAISXNVc2VyUG9zaXRpb24AAAJTZXBhcmF0b3IAAgAAAAoAAlRleHQABAAAADc0JQAIUmVxdWlyZVJlbGF0aXZlUG9zaXRpb25VcGdyYWRlAAAISXNHZW9tZXRyeU91dE9mQm91bmRzAAAISXNMZWFkZXJMaW5lSW5BdXRvTW9kZQABCERlbGV0ZWQAAAADMgBXGAAAEFBvaW50SW5kZXgAAwAAAAJBbGlnbm1lbnQABwAAAENlbnRlcgAQU2VyaWVzSW5kZXgAAQAAAAhSZXF1aXJlRm9udENvbG9yTWlncmF0aW9uAAAITWFudWFsRGF0YUxhYmVsQmFja2dyb3VuZFZpc2libGUAAAhIYXNXaXNoQ29sb3I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NWYWx1ZUF4aXNOdW1iZXJGb3JtYXQAHwAAAAVfaWQAEAAAAAQAAAAAAAAAAAAAAAAAAAAAAANDYXRlZ29yeUF4aXNOdW1iZXJGb3JtYXQAHwAAAAVfaWQAEAAAAAQAAAAAAAAAAAAAAAAAAAAAAANUZXh0Qm94ALwGAAAFTWFuYWdlZElkABAAAAAEgHWz3RQrhUqAfqOV1uWEjAhIYXNDaGFuZ2VzAAAIVXNlTmFtZUluc3RlYWRPZlRhZ0FzSWQAAQhTaGFwZVByZXZpb3VzbHlDcmVhdGVkAAEDRmlsbENvbG9yAFUAAAAQQQD/AAAAEFIA+wAAABBHALoAAAAQQgC5AAAAAVNjQQAAAAAAAADwPwFTY1IAAAAAwLXe7j8BU2NHAAAAAODibN8/AVNjQgAAAABgsgzfPwAQRmlsbFRoZW1lQ29sb3IABw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QAAAAxNiUAAlRleHRIb3Jpem9udGFsQWxpZ25tZW50ABAAAABtc29BbmNob3JDZW50ZXIAAlBhcmFncmFwaEFsaWdubWVudAAPAAAAbXNvQWxpZ25DZW50ZXIAAlRleHRWZXJ0aWNhbEFsaWdubWVudAAQAAAAbXNvQW5jaG9yTWlkZGx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EAAAAMTYlAAFIZWlnaHQAAAAAoCKeKkABV2lkdGgAAAAAQNTxNkABVG9wAAAAAKBJD2dAAUxlZnQAAAAA4LQ9c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TBGeJrEeGVR7GaV6u0WMuI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MAAAAAUvAAAAMQAAAOcPAAAAAAAAAAAAAH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G6eol1rSGVLka87eDAR/So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CCQ/VwQAFZAAAAAJuox2dAAAhIYXNMZWFkZXJMaW5lAAAISXNDZW50ZXJBdXRvbWF0aWNBZGp1c3RlZAAACElzVXNlclBvc2l0aW9uAAACU2VwYXJhdG9yAAIAAAAKAAJUZXh0AAQAAAAxNiUACFJlcXVpcmVSZWxhdGl2ZVBvc2l0aW9uVXBncmFkZQAACElzR2VvbWV0cnlPdXRPZkJvdW5kcwAACElzTGVhZGVyTGluZUluQXV0b01vZGUAAQhEZWxldGVkAAAAAzMAVxgAABBQb2ludEluZGV4AAEAAAACQWxpZ25tZW50AAcAAABDZW50ZXIAEFNlcmllc0luZGV4AAIAAAAIUmVxdWlyZUZvbnRDb2xvck1pZ3JhdGlvbgAACE1hbnVhbERhdGFMYWJlbEJhY2tncm91bmRWaXNpYmxlAAAISGFzV2lzaENvbG9y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DVmFsdWVBeGlzTnVtYmVyRm9ybWF0AB8AAAAFX2lkABAAAAAEAAAAAAAAAAAAAAAAAAAAAAADQ2F0ZWdvcnlBeGlzTnVtYmVyRm9ybWF0AB8AAAAFX2lkABAAAAAEAAAAAAAAAAAAAAAAAAAAAAADVGV4dEJveAC8BgAABU1hbmFnZWRJZAAQAAAABOA8w55EDRlHt+V1uZUIQJ4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EAAAAMjQ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zEAAAAFMAAAADIAAADnDwAAAAAAAAAAAAB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QAAAAyNCUAAUhlaWdodAAAAACgIp4qQAFXaWR0aAAAAABA1PE2QAFUb3AAAAAAIH+7ZUABTGVmdAAAAACAJBVR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Iutwel/m0dHmSDJWM2syu0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Tevgk2ZU9/TaeiyerbvXP+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MyAAAABTEAAAAzAAAA5w8AAAAAAAAAAAAA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Ahf81NAAVkAAAAAG95zZkAACEhhc0xlYWRlckxpbmUAAAhJc0NlbnRlckF1dG9tYXRpY0FkanVzdGVkAAAISXNVc2VyUG9zaXRpb24AAAJTZXBhcmF0b3IAAgAAAAoAAlRleHQABAAAADI0JQAIUmVxdWlyZVJlbGF0aXZlUG9zaXRpb25VcGdyYWRlAAAISXNHZW9tZXRyeU91dE9mQm91bmRzAAAISXNMZWFkZXJMaW5lSW5BdXRvTW9kZQABCERlbGV0ZWQAAAADNABXGAAAEFBvaW50SW5kZXgAAgAAAAJBbGlnbm1lbnQABwAAAENlbnRlcgAQU2VyaWVzSW5kZXgAAgAAAAhSZXF1aXJlRm9udENvbG9yTWlncmF0aW9uAAAITWFudWFsRGF0YUxhYmVsQmFja2dyb3VuZFZpc2libGUAAAhIYXNXaXNoQ29sb3I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NWYWx1ZUF4aXNOdW1iZXJGb3JtYXQAHwAAAAVfaWQAEAAAAAQAAAAAAAAAAAAAAAAAAAAAAANDYXRlZ29yeUF4aXNOdW1iZXJGb3JtYXQAHwAAAAVfaWQAEAAAAAQAAAAAAAAAAAAAAAAAAAAAAANUZXh0Qm94ALwGAAAFTWFuYWdlZElkABAAAAAEogSs8OEE8EeGAfntbEbpqg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QAAAA1MCUAAlRleHRIb3Jpem9udGFsQWxpZ25tZW50ABAAAABtc29BbmNob3JDZW50ZXI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EAAAANTAlAAFIZWlnaHQAAAAAoCKeKkABV2lkdGgAAAAAQNTxNkABVG9wAAAAAIAta2FAAUxlZnQAAAAAgPkrZ0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SM5aBCIwpgSKbPDJFNEd6J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MwAAAAUyAAAANAAAAOcPAAAAAAAAAAAAAG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Lm5D3vJBmZJv8EFX5/W9yU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DEFptoQAFZAAAAAHuMI2JAAAhIYXNMZWFkZXJMaW5lAAAISXNDZW50ZXJBdXRvbWF0aWNBZGp1c3RlZAAACElzVXNlclBvc2l0aW9uAAACU2VwYXJhdG9yAAIAAAAKAAJUZXh0AAQAAAA1MCUACFJlcXVpcmVSZWxhdGl2ZVBvc2l0aW9uVXBncmFkZQAACElzR2VvbWV0cnlPdXRPZkJvdW5kcwAACElzTGVhZGVyTGluZUluQXV0b01vZGUAAQhEZWxldGVkAAAAAzUAVxgAABBQb2ludEluZGV4AAMAAAACQWxpZ25tZW50AAcAAABDZW50ZXIAEFNlcmllc0luZGV4AAIAAAAIUmVxdWlyZUZvbnRDb2xvck1pZ3JhdGlvbgAACE1hbnVhbERhdGFMYWJlbEJhY2tncm91bmRWaXNpYmxlAAAISGFzV2lzaENvbG9y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DVmFsdWVBeGlzTnVtYmVyRm9ybWF0AB8AAAAFX2lkABAAAAAEAAAAAAAAAAAAAAAAAAAAAAADQ2F0ZWdvcnlBeGlzTnVtYmVyRm9ybWF0AB8AAAAFX2lkABAAAAAEAAAAAAAAAAAAAAAAAAAAAAADVGV4dEJveAC8BgAABU1hbmFnZWRJZAAQAAAABIIAjAQrMMxLrz8bc3xSQc0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EAAAAMjYlAAJUZXh0SG9yaXpvbnRhbEFsaWdubWVudAAQAAAAbXNvQW5jaG9yQ2VudGVyAAJQYXJhZ3JhcGhBbGlnbm1lbnQADwAAAG1zb0FsaWduQ2VudGVyADQAAAAFMwAAADUAAADnDwAAAAAAAAAAAA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QAAAAyNiUAAUhlaWdodAAAAACgIp4qQAFXaWR0aAAAAABA1PE2QAFUb3AAAAAAoIxmZUABTGVmdAAAAABgsOZy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M1k3XhJ5jVMm75ur28kQUE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TpnoQHKxX5TJKK9R1UYtfZ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1AAAABTQAAAD/////OQSuCw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AI/nnNAAVkAAAAAm+seZkAACEhhc0xlYWRlckxpbmUAAAhJc0NlbnRlckF1dG9tYXRpY0FkanVzdGVkAAAISXNVc2VyUG9zaXRpb24AAAJTZXBhcmF0b3IAAgAAAAoAAlRleHQABAAAADI2JQAIUmVxdWlyZVJlbGF0aXZlUG9zaXRpb25VcGdyYWRlAAAISXNHZW9tZXRyeU91dE9mQm91bmRzAAAISXNMZWFkZXJMaW5lSW5BdXRvTW9kZQABCERlbGV0ZWQAAAAACExhYmVsc1Zpc2libGUAAQhBdXRvbWF0aWNMYWJlbEJhY2tncm91bmRzRW5hYmxlZAAAAANTZWNvbmRhcnkASQAAAAREYXRhTGFiZWxzAAUAAAAACExhYmVsc1Zpc2libGUAAQhBdXRvbWF0aWNMYWJlbEJhY2tncm91bmRzRW5hYmxlZAAAAAAIRGlzYWJsZUF1dG9tYXRpY0RlYWN0aXZhdGlvbgAAAAJOYW1lAAsAAABEYXRhTGFiZWxzABBWZXJzaW9uAAkAAAAJTGFzdFdyaXRlAFMFrj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gAAAAA3AAAA/////w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cAAAAAOAAAADY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4AAAAADkAAAA3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OQAAAAA6AAAAOA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oAAAAAOwAAADk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7AAAAAFEAAAA6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PAAAAAX/////PQAAAOcPAAAAAAAAAAAAAByKAAAFX2lkABAAAAAES4WRnTQGy0uTl/gv8Xz25wNEYXRhAMKJAAADRGF0YUxhYmVsc1BlckF4aXMAi4kAAANQcmltYXJ5AEyHAAAERGF0YUxhYmVscwArhQAAAzAALhYAABBQb2ludEluZGV4AAEAAAACQWxpZ25tZW50AAcAAABDZW50ZXIAEFNlcmllc0luZGV4AAEAAAAIUmVxdWlyZUZvbnRDb2xvck1pZ3JhdGlvbgAACE1hbnVhbERhdGFMYWJlbEJhY2tncm91bmRWaXNpYmxlAAAISGFzV2lzaENvbG9yAAADVGV4dEJveAC8BgAABU1hbmFnZWRJZAAQAAAABPUJu6wzdyNHiHWZZ1/l1S0ISGFzQ2hhbmdlcwAACFVzZU5hbWVJbnN0ZWFkT2ZUYWdBc0lkAAEIU2hhcGVQcmV2aW91c2x5Q3JlYXRlZAABA0ZpbGxDb2xvcgBVAAAAEEEA/wAAABBSAPsAAAAQRwC6AAAAEEIAuQAAAAFTY0EAAAAAAAAA8D8BU2NSAAAAAMC13u4/AVNjRwAAAADg4mzfPwFTY0IAAAAAYLIM3z8AEEZpbGxUaGVtZUNvbG9yAAc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EAAAAMTAlAAJUZXh0SG9yaXpvbnRhbEFsaWdubWVudAAQAAAAbXNvQW5jaG9yQ2VudGVy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AAAADEwJQABSGVpZ2h0AAAAAKAinipAAVdpZHRoAAAAAEDU8TZAAVRvcAAAAABAIQ5oQAFMZWZ0AAAAACDZxDl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AAAAAAAAVkAAAAAAAAAAAAAA0VuZAAbAAAAAVgAAAAAAAAAAAABWQAAAAAAAAAAAAACU3RhcnRBcnJvd0hlYWQAEQAAAG1zb0Fycm93aGVhZE5vbmUAAkVuZEFycm93SGVhZAARAAAAbXNvQXJyb3doZWFkTm9uZQAFTWFuYWdlZElkABAAAAAEfFbjA/O8gk6pqMnnLKv+Sw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Fykqk5+mP5LgGlFumH/8ngISGFzQ2hhbmdlcwABCFVzZU5hbWVJbnN0ZWFkT2ZUYWdBc0lkAAEIU2hhcGVQcmV2aW91c2x5Q3JlYXRlZAAAA0ZpbGxDb2xvcgBVAAAAEEEAAAAAABBSAAAAAAAQRwAAAAAAEEIAAAAAAAFTY0EAAAAAAAAA8L8BU2NSAAAAAAAAAPC/AVNjRwAAAD0AAAAFPAAAAD4AAADnDwAAAAAAAAA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oOGeQkABWQAAAAA7gMZoQAAISGFzTGVhZGVyTGluZQAACElzQ2VudGVyQXV0b21hdGljQWRqdXN0ZWQAAAhJc1VzZXJQb3NpdGlvbgAACEFkZFByZWZpeFNwYWNlAAAIQWRkUG9zdGZpeFNwYWNlAAACU2VwYXJhdG9yAAIAAAAKAAJUZXh0AAQAAAAxMCUACFJlcXVpcmVSZWxhdGl2ZVBvc2l0aW9uVXBncmFkZQAACElzR2VvbWV0cnlPdXRPZkJvdW5kcwAACElzTGVhZGVyTGluZUluQXV0b01vZGUAAQhEZWxldGVkAAAAAzEALhYAABBQb2ludEluZGV4AAIAAAACQWxpZ25tZW50AAcAAABDZW50ZXIAEFNlcmllc0luZGV4AAEAAAAIUmVxdWlyZUZvbnRDb2xvck1pZ3JhdGlvbgAACE1hbnVhbERhdGFMYWJlbEJhY2tncm91bmRWaXNpYmxlAAAISGFzV2lzaENvbG9yAAADVGV4dEJveAC8BgAABU1hbmFnZWRJZAAQAAAABK+H0rUzec1JqUJbTo/6myQISGFzQ2hhbmdlcwAACFVzZU5hbWVJbnN0ZWFkT2ZUYWdBc0lkAAEIU2hhcGVQcmV2aW91c2x5Q3JlYXRlZAABA0ZpbGxDb2xvcgBVAAAAEEEA/wAAABBSAPsAAAAQRwC6AAAAEEIAuQAAAAFTY0EAAAAAAAAA8D8BU2NSAAAAAMC13u4/AVNjRwAAAADg4mzfPwFTY0IAAAAAYLIM3z8AEEZpbGxUaGVtZUNvbG9yAAc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EAAAANzQlAAJUZXh0SG9yaXpvbnRhbEFsaWdubWVudAAQAAAAbXNvQW5jaG9yQ2VudGVyAAJQYXJhZ3JhcGhBbGlnbm1lbnQADwAAAG1zb0FsaWduQ2VudGVyAAJUZXh0VmVydGljYWxBbGlnbm1lbnQAEAAAAG1zb0FuY2hvck1pZGRsZQADRm9udFN0eWxlAEE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AAAADc0JQABSGVpZ2h0AAAAAKAinipAAVdpZHRoAAAAAEDU8TZAAVRvcAAAAAAAnd9aQAFMZWZ0AAAAAGAC2mF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AAAAAAAAVkAAAAAAAAAAAAAA0VuZAAbAAAAAVgAAAAAAAAAAAABWQAAAAAAAAAAAAACU3RhcnRBcnJvd0hlYWQAEQAAAG1zb0Fycm93aGVhZE5vbmUAAkVuZEFycm93SGVhZAARAAAAbXNvQXJyb3doZWFkTm9uZQAFTWFuYWdlZElkABAAAAAE+Q+Q1j78Uk2Y3pP+a8AXcA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ABT0AAAA/AAAA5w8AAAA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Q7wU7m1wQDSLwW8QP2Ljmt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pB9JY0ABWQAAAAD2WlBcQAAISGFzTGVhZGVyTGluZQAACElzQ2VudGVyQXV0b21hdGljQWRqdXN0ZWQAAAhJc1VzZXJQb3NpdGlvbgAACEFkZFByZWZpeFNwYWNlAAAIQWRkUG9zdGZpeFNwYWNlAAACU2VwYXJhdG9yAAIAAAAKAAJUZXh0AAQAAAA3NCUACFJlcXVpcmVSZWxhdGl2ZVBvc2l0aW9uVXBncmFkZQAACElzR2VvbWV0cnlPdXRPZkJvdW5kcwAACElzTGVhZGVyTGluZUluQXV0b01vZGUAAQhEZWxldGVkAAAAAzIALhYAABBQb2ludEluZGV4AAMAAAACQWxpZ25tZW50AAcAAABDZW50ZXIAEFNlcmllc0luZGV4AAEAAAAIUmVxdWlyZUZvbnRDb2xvck1pZ3JhdGlvbgAACE1hbnVhbERhdGFMYWJlbEJhY2tncm91bmRWaXNpYmxlAAAISGFzV2lzaENvbG9yAAADVGV4dEJveAC8BgAABU1hbmFnZWRJZAAQAAAABIB1s90UK4VKgH6jldblhIwISGFzQ2hhbmdlcwAACFVzZU5hbWVJbnN0ZWFkT2ZUYWdBc0lkAAEIU2hhcGVQcmV2aW91c2x5Q3JlYXRlZAABA0ZpbGxDb2xvcgBVAAAAEEEA/wAAABBSAPsAAAAQRwC6AAAAEEIAuQAAAAFTY0EAAAAAAAAA8D8BU2NSAAAAAMC13u4/AVNjRwAAAADg4mzfPwFTY0IAAAAAYLIM3z8AEEZpbGxUaGVtZUNvbG9yAAc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EAAAAMTYlAAJUZXh0SG9yaXpvbnRhbEFsaWdubWVudAAQAAAAbXNvQW5jaG9yQ2VudGVyAAJQYXJhZ3JhcGhBbGlnbm1lbnQADwAAAG1zb0FsaWduQ2VudGVyAAJUZXh0VmVydGljYWxBbGlnbm1lbnQAEAAAAG1zb0FuY2hvck1pZGRsPwAAAAU+AAAAQAAAAOcPAAAAAAAAAAAAA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QAAAAxNiUAAUhlaWdodAAAAACgIp4qQAFXaWR0aAAAAABA1PE2QAFUb3AAAAAAoEkPZ0ABTGVmdAAAAADgtD1w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MEZ4msR4ZVHsZpXq7RYy4g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RunqJda0hlS5GvO3gwEf0q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EAAAAAFPwAAAEEAAADnDwAAAAAAAAAA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IJD9XBAAVkAAAAAm6jHZ0AACEhhc0xlYWRlckxpbmUAAAhJc0NlbnRlckF1dG9tYXRpY0FkanVzdGVkAAAISXNVc2VyUG9zaXRpb24AAAhBZGRQcmVmaXhTcGFjZQAACEFkZFBvc3RmaXhTcGFjZQAAAlNlcGFyYXRvcgACAAAACgACVGV4dAAEAAAAMTYlAAhSZXF1aXJlUmVsYXRpdmVQb3NpdGlvblVwZ3JhZGUAAAhJc0dlb21ldHJ5T3V0T2ZCb3VuZHMAAAhJc0xlYWRlckxpbmVJbkF1dG9Nb2RlAAEIRGVsZXRlZAAAAAMzAC4WAAAQUG9pbnRJbmRleAABAAAAAkFsaWdubWVudAAHAAAAQ2VudGVyABBTZXJpZXNJbmRleAACAAAACFJlcXVpcmVGb250Q29sb3JNaWdyYXRpb24AAAhNYW51YWxEYXRhTGFiZWxCYWNrZ3JvdW5kVmlzaWJsZQAACEhhc1dpc2hDb2xvcgAAA1RleHRCb3gAvAYAAAVNYW5hZ2VkSWQAEAAAAATgPMOeRA0ZR7fldbmVCECe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AAAADI0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QAAAAyNCUAAUhlaWdodAAAAACgIp4qQAFXaWR0aAAAAABA1PE2QAFUb3AAAAAAIH+7ZUABTGVmdAAAAACAJBVR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Iutwel/m0dHmSDJWM2syu0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BBAAAABUAAAABCAAAA5w8AAAAAAAAAAA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AAAAAAAVkAAAAAAAAAAAAAA0VuZAAbAAAAAVgAAAAAAAAAAAABWQAAAAAAAAAAAAACU3RhcnRBcnJvd0hlYWQAEQAAAG1zb0Fycm93aGVhZE5vbmUAAkVuZEFycm93SGVhZAARAAAAbXNvQXJyb3doZWFkTm9uZQAFTWFuYWdlZElkABAAAAAE3r4JNmVPf02nosnq271z/g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Ahf81NAAVkAAAAAG95zZkAACEhhc0xlYWRlckxpbmUAAAhJc0NlbnRlckF1dG9tYXRpY0FkanVzdGVkAAAISXNVc2VyUG9zaXRpb24AAAhBZGRQcmVmaXhTcGFjZQAACEFkZFBvc3RmaXhTcGFjZQAAAlNlcGFyYXRvcgACAAAACgACVGV4dAAEAAAAMjQlAAhSZXF1aXJlUmVsYXRpdmVQb3NpdGlvblVwZ3JhZGUAAAhJc0dlb21ldHJ5T3V0T2ZCb3VuZHMAAAhJc0xlYWRlckxpbmVJbkF1dG9Nb2RlAAEIRGVsZXRlZAAAAAM0AC4WAAAQUG9pbnRJbmRleAACAAAAAkFsaWdubWVudAAHAAAAQ2VudGVyABBTZXJpZXNJbmRleAACAAAACFJlcXVpcmVGb250Q29sb3JNaWdyYXRpb24AAAhNYW51YWxEYXRhTGFiZWxCYWNrZ3JvdW5kVmlzaWJsZQAACEhhc1dpc2hDb2xvcgAAA1RleHRCb3gAvAYAAAVNYW5hZ2VkSWQAEAAAAASiBKzw4QTwR4YB+e1sRumqCEhhc0NoYW5nZXMAAAhVc2VOYW1lSW5zdGVhZE9mVGFnQXNJZAABCFNoYXBlUHJldmlvdXNseUNyZWF0ZWQAAQNGaWxsQ29sb3IAVQAAABBBAP8AAAAQUgDHAAAAEEcAKgAAABBCADQAAAABU2NBAAAAAAAAAPA/AVNjUgAAAACgp0biPwFTY0cAAAAAQIS1lz8BU2NCAAAAAMD8lKE/ABBGaWxsVGhlbWVDb2xvcgAF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AAAADUw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QAAAA1MCUAAUhlaWdodAAAAACgIp4qQAFXaWR0aAAAAABA1PE2QAFUb3AAAAAAgC1rYUABTGVmdAAAAACA+St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QgAAAAVBAAAAQwAAAOcPAAAAAAAAAAAAAH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SM5aBCIwpgSKbPDJFNEd6J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AAAAAAAVkAAAAAAAAAAAAAA0VuZAAbAAAAAVgAAAAAAAAAAAABWQAAAAAAAAAAAAACU3RhcnRBcnJvd0hlYWQAEQAAAG1zb0Fycm93aGVhZE5vbmUAAkVuZEFycm93SGVhZAARAAAAbXNvQXJyb3doZWFkTm9uZQAFTWFuYWdlZElkABAAAAAEubkPe8kGZkm/wQVfn9b3J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MQWm2hAAVkAAAAAe4wjYkAACEhhc0xlYWRlckxpbmUAAAhJc0NlbnRlckF1dG9tYXRpY0FkanVzdGVkAAAISXNVc2VyUG9zaXRpb24AAAhBZGRQcmVmaXhTcGFjZQAACEFkZFBvc3RmaXhTcGFjZQAAAlNlcGFyYXRvcgACAAAACgACVGV4dAAEAAAANTAlAAhSZXF1aXJlUmVsYXRpdmVQb3NpdGlvblVwZ3JhZGUAAAhJc0dlb21ldHJ5T3V0T2ZCb3VuZHMAAAhJc0xlYWRlckxpbmVJbkF1dG9Nb2RlAAEIRGVsZXRlZAAAAEMAAAAFQgAAAEQAAADnDwAAAAAAAAAAAAADNQAuFgAAEFBvaW50SW5kZXgAAwAAAAJBbGlnbm1lbnQABwAAAENlbnRlcgAQU2VyaWVzSW5kZXgAAgAAAAhSZXF1aXJlRm9udENvbG9yTWlncmF0aW9uAAAITWFudWFsRGF0YUxhYmVsQmFja2dyb3VuZFZpc2libGUAAAhIYXNXaXNoQ29sb3IAAANUZXh0Qm94ALwGAAAFTWFuYWdlZElkABAAAAAEggCMBCswzEuvPxtzfFJBzQ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QAAAAyNiUAAlRleHRIb3Jpem9udGFsQWxpZ25tZW50ABAAAABtc29BbmNob3JDZW50ZXI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EAAAAMjYlAAFIZWlnaHQAAAAAoCKeKkABV2lkdGgAAAAAQNTxNkABVG9wAAAAAKCMZmVAAUxlZnQAAAAAYLDmck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TNZN14SeY1TJu+bq9vJEFB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AAAAAAAVkAAAAAAAAAAAAAA0VuZAAbAAAAAVgAAAAAAAAAAAABWQAAAAAAAAAAAAACU3RhcnRBcnJvd0hlYWQAEQAAAG1zb0Fycm93aGVhZE5vbmUAAkVuZEFycm93SGVhZAARAAAAbXNvQXJyb3doZWFkTm9uZQAFTWFuYWdlZElkABAAAAAE6Z6EBysV+UySivUdVGLX2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EAAAABUMAAAD/////5AoDBQAAAAAAAAAA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ACP55zQAFZAAAAAJvrHmZAAAhIYXNMZWFkZXJMaW5lAAAISXNDZW50ZXJBdXRvbWF0aWNBZGp1c3RlZAAACElzVXNlclBvc2l0aW9uAAAIQWRkUHJlZml4U3BhY2UAAAhBZGRQb3N0Zml4U3BhY2UAAAJTZXBhcmF0b3IAAgAAAAoAAlRleHQABAAAADI2JQAIUmVxdWlyZVJlbGF0aXZlUG9zaXRpb25VcGdyYWRlAAAISXNHZW9tZXRyeU91dE9mQm91bmRzAAAISXNMZWFkZXJMaW5lSW5BdXRvTW9kZQABCERlbGV0ZWQ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xhYmVsc1Zpc2libGUAAQhBdXRvbWF0aWNMYWJlbEJhY2tncm91bmRzRW5hYmxlZAAAAANTZWNvbmRhcnkAJgIAAAREYXRhTGFiZWxzAAU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xhYmVsc1Zpc2libGUAAQhBdXRvbWF0aWNMYWJlbEJhY2tncm91bmRzRW5hYmxlZAAAAAAIRGlzYWJsZUF1dG9tYXRpY0RlYWN0aXZhdGlvbgAAAAJOYW1lAAsAAABEYXRhTGFiZWxzABBWZXJzaW9uAAcAAAAJTGFzdFdyaXRlAFMFrj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QAAAABGAAAAFQ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YAAAAARwAAAEU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HAAAAAEgAAABG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SAAAAABJAAAARw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kAAAAASgAAAEg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KAAAAAF4AAABJ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SwAAAAT//////////woAXgUAAAAAAAAAAAAAYwAAAAAAAQBMAAAAAAACAP////+1ALUAAAAFX2lkABAAAAAE0qiPuHZQK0SiZgYjXQlDUANEYXRhAFcAAAABTGVmdAAAAAAAAAAAAAFUb3AAAAAAAAAAAAABUmlnaHQAAAAAAAAAAAABQm90dG9tAAAAAAAAAAAAAU1hcmdpblRvTGVnZW5kAAAAAAAAAAAAAAJOYW1lAA8AAABQbG90QXJlYUJvcmRlcgAQVmVyc2lvbgAAAAAACUxhc3RXcml0ZQBZYL/3YgEAAAADAE8AAAAAAAQA/////3UAdQAAAAVfaWQAEAAAAATeQG7BAxWHSoNDj6o+6+LyA0RhdGEAEgAAAARCcmVha3MABQAAAAAAAk5hbWUAFAAAAEJyZWFrTWFuYWdlbWVudERhdGEAEFZlcnNpb24AAAAAAAlMYXN0V3JpdGUA+eXDQ2IBAAAABQD/////UgJSAgAABV9pZAAQAAAABIjjhdBU3ktPkEbCUb2YJbsDRGF0YQDkAQAABFBvaW50Q29sb3JzU3R5bGUABQAAAAADU2VyaWVzQ29sb3JzU3R5bGUAtQEAAAMxANUAAAAQU2VyaWVzSW5kZXgAAQAAAANQcmltYXJ5Q29sb3JTdHlsZQCsAAAAAkNvbG9yUHJvcGVydHlUYXJnZXQACAAAAFByaW1hcnkAA0NvbG9yT3JUaGVtZUNvbG9yAHMAAAAQVGhlbWVDb2xvcgAHAAAAAVRpbnRBbmRTaGFkZQAAAAAAAAAAABBUaW50SW5kZXgA/////xBTY2hlbWVDb2xvcgAAAAAAA0NvbG9yACEAAAAQQQD/AAAAEFIA+wAAABBHALoAAAAQQgC5AAAAAAAAAAMyANUAAAAQU2VyaWVzSW5kZXgAAgAAAANQcmltYXJ5Q29sb3JTdHlsZQCsAAAAAkNvbG9yUHJvcGVydHlUYXJnZXQACAAAAFByaW1hcnkAA0NvbG9yT3JUaGVtZUNvbG9yAHMAAAAQVGhlbWVDb2xvcgAFAAAAAVRpbnRBbmRTaGFkZQAAAAAAAAAAABBUaW50SW5kZXgA/////xBTY2hlbWVDb2xvcgAAAAAAA0NvbG9yACEAAAAQQQD/AAAAEFIAxwAAABBHACoAAAAQQgA0AAAAAAAAAAAAAk5hbWUAHwAAAFBvaW50QW5kU2VyaWVzU3R5bGVEZWZpbml0aW9ucwAQVmVyc2lvbgABAAAACUxhc3RXcml0ZQDpIGw1lwEAAAAGAP////+yALIAAAAFX2lkABAAAAAE4qre0qllika870JsDs1+KANEYXRhAFcAAAADU2V0dGluZ3NQZXJBeGlzAEEAAAADUHJpbWFyeQAUAAAACElzSW5BdXRvTW9kZQABAANTZWNvbmRhcnkAFAAAAAhJc0luQXV0b01vZGUAAQAAAAJOYW1lAAwAAABMZWFkZXJMaW5lcwAQVmVyc2lvbgAAAAAACUxhc3RXcml0ZQC79T9pjQEAAAAHAP////9zAHMAAAAFX2lkABAAAAAEbOAV1XQR6UyRR83A52nzAwNEYXRhAAUAAAAAAk5hbWUAHwAAAEF6dXJlSW5mb3JtYXRpb25Qcm90ZWN0aW9uRGF0YQAQVmVyc2lvbgAAAAAACUxhc3RXcml0ZQAsX09GgAEAAAAIAP////9zAHMAAAAFX2lkABAAAAAEDoHv2XPMtEO3Si6jW0CduANEYXRhABcAAAAEU2VyaWVMYWJlbHMABQAAAAAAAk5hbWUADQAAAFNlcmllc0xhYmVscwAQVmVyc2lvbgADAAAACUxhc3RXcml0ZQAvG3PThAEAAAAJAP////8lBSUFAAAFX2lkABAAAAAEBv723Y+mD0O//fin+wdB+ANEYXRhAK4EAAAEUG9pbnRBZGRpdGlvbmFsU3R5bGVzAM8CAAADMAB0AAAAA1BvaW50QWRkcmVzcwAzAAAAEFNlcmllc0luZGV4AAEAAAAQUG9pbnRJbmRleAABAAAACElzUG9pbnRTdW0AAAADQWRkaXRpb25hbFN0eWxlcwAcAAAAAkZpbGxQYXR0ZXJuAAYAAABVbnNldAAAAAMxAHQAAAADUG9pbnRBZGRyZXNzADMAAAAQU2VyaWVzSW5kZXgAAQAAABBQb2ludEluZGV4AAIAAAAISXNQb2ludFN1bQAAAANBZGRpdGlvbmFsU3R5bGVzABwAAAACRmlsbFBhdHRlcm4ABgAAAFVuc2V0AAAAAzIAdAAAAANQb2ludEFkZHJlc3MAMwAAABBTZXJpZXNJbmRleAABAAAAEFBvaW50SW5kZXgAAwAAAAhJc1BvaW50U3VtAAAAA0FkZGl0aW9uYWxTdHlsZXMAHAAAAAJGaWxsUGF0dGVybgAGAAAAVW5zZXQAAAADMwB0AAAAA1BvaW50QWRkcmVzcwAzAAAAEFNlcmllc0luZGV4AAIAAAAQUG9pbnRJbmRleAABAAAACElzUG9pbnRTdW0AAAADQWRkaXRpb25hbFN0eWxlcwAcAAAAAkZpbGxQYXR0ZXJuAAYAAABVbnNldAAAAAM0AHQAAAADUG9pbnRBZGRyZXNzADMAAAAQU2VyaWVzSW5kZXgAAgAAABBQb2ludEluZGV4AAIAAAAISXNQb2ludFN1bQAAAANBZGRpdGlvbmFsU3R5bGVzABwAAAACRmlsbFBhdHRlcm4ABgAAAFVuc2V0AAAAAzUAdAAAAANQb2ludEFkZHJlc3MAMwAAABBTZXJpZXNJbmRleAACAAAAEFBvaW50SW5kZXgAAwAAAAhJc1BvaW50U3VtAAAAA0FkZGl0aW9uYWxTdHlsZXMAHAAAAAJGaWxsUGF0dGVybgAGAAAAVW5zZXQAAAAAA1Nlcmllc0FkZGl0aW9uYWxTdHlsZXMAqwEAAAMxANAAAAAQU2VyaWVzSW5kZXgAAQAAAANBZGRpdGlvbmFsU3R5bGVzAKgAAAACRmlsbFBhdHRlcm4ACAAAAERlZmF1bHQAA0ZpbGxDb2xvck9yVGhlbWVDb2xvcgBzAAAAEFRoZW1lQ29sb3IAAAAAAAFUaW50QW5kU2hhZGUAAAAAAAAAAAAQVGludEluZGV4AP////8QU2NoZW1lQ29sb3IAAAAAAANDb2xvcgAhAAAAEEEA/wAAABBSAAAAAAAQRwAAAAAAEEIAAAAAAAAAAAADMgDQAAAAEFNlcmllc0luZGV4AAIAAAADQWRkaXRpb25hbFN0eWxlcwCoAAAAAkZpbGxQYXR0ZXJuAAgAAABEZWZhdWx0AANGaWxsQ29sb3JPclRoZW1lQ29sb3IAcwAAABBUaGVtZUNvbG9yAAAAAAABVGludEFuZFNoYWRlAAAAAAAAAAAAEFRpbnRJbmRleAD/////EFNjaGVtZUNvbG9yAAAAAAADQ29sb3IAIQAAABBBAP8AAAAQUgAAAAAAEEcAAAAAABBCAAAAAAAAAAAAAAACTmFtZQAoAAAAUG9pbnRBbmRTZXJpZXNBZGRpdGlvblN0eWxlc0RlZmluaXRpb25zABBWZXJzaW9uAAAAAAAJTGFzdFdyaXRlAKweb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wAAAAF/////00AAADnDwAAAAAAAAAAAABwKwAABV9pZAAQAAAABMN2I7V51LFFmW5ZR1eqaDcDRGF0YQAVKwAABURhdGEABSsAAABQSwMEFAAGAAgAAAAhADcxvZF7AQAAhAUAABMACAJbQ29udGVudF9UeXBlc10ueG1s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xUS2/CMAy+T9p/qHKdaGCHaZooHPY4bkiwHxAat41okyg2DP793PDQNAEVgkujJvH3sB0Px+umTlYQ0DibiUHaFwnY3Gljy0x8zz56zyJBUlar2lnIxAZQjEf3d8PZxgMmHG0xExWRf5ES8woahanzYPmkcKFRxL+hlF7lC1WCfOz3n2TuLIGlHrUYYjR8g0Ita0re17y9VTI3ViSv23stVSaU97XJFbFQubL6H0nPFYXJQbt82TB0ij6A0lgBUFOnPhhmDFMgYmMo5FHOADVeRrpzlXJkFIaV8fjA1k8wtCenXe3ivrgcwWhIJirQp2rYu1zX8seFxdy5RXoe5NLUxBSljTJ2r/sMf7yMMi6DGwtp/UXgDh3EPQYyfq+XEGE6CJE2NeCt0x5Bu5grFUBPibu3vLmAv9hdKVdzzoCkdrl12SPoOX5+0pPgPPLUCHB5FfZPtI3ueQaCQAYOj/RYsx8YeeRcXXZoZ5oGfYRbxhk6+gUAAP//AwBQSwMEFAAGAAgAAAAhALVVMCP0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k1PwzAMhu9I/IfI99XdkBBCS3dBSLshVH6ASdwPtY2jJBvdvyccEFQagwNHf71+/Mrb3TyN6sgh9uI0rIsSFDsjtnethpf6cXUHKiZylkZxrOHEEXbV9dX2mUdKeSh2vY8qq7iooUvJ3yNG0/FEsRDPLlcaCROlHIYWPZmBWsZNWd5i+K4B1UJT7a2GsLc3oOqTz5t/15am6Q0/iDlM7NKZFchzYmfZrnzIbCH1+RpVU2g5abBinnI6InlfZGzA80SbvxP9fC1OnMhSIjQS+DLPR8cloPV/WrQ08cudecQ3CcOryPDJgosfqN4BAAD//wMAUEsDBBQABgAIAAAAIQB9OkbfLQQAABsKAAAPAAAAeGwvd29ya2Jvb2sueG1srFZdb6M4FH1faf8Dg/pK+SYBlY5ISLSV2lGVZtqXSJEBU6yCzdqmSXc0/32vIUnTdjTKzmyUmPjr+Nx7z73m4vO2qbVnzAVhNNbtc0vXMM1ZQehjrH9dzo2xrgmJaIFqRnGsv2Chf77884+LDeNPGWNPGgBQEeuVlG1kmiKvcIPEOWsxhZmS8QZJ6PJHU7Qco0JUGMumNh3LCswGEaoPCBE/BYOVJclxyvKuwVQOIBzXSAJ9UZFW7NGa/BS4BvGnrjVy1rQAkZGayJceVNeaPLp6pIyjrAazt7avbTl8A/jZFjTO/iSY+nBUQ3LOBCvlOUCbA+kP9tuWadtvXLD96IPTkDyT42eiYnhgxYNfZBUcsIJXMNv6bTQbpNVrJQLn/SKaf+Dm6JcXJanx/SBdDbXtF9SoSNW6ViMhZwWRuIj1EXTZBr8OgFW8aycdqWHWGQeOq5uXBznfcg3UjweslGCBE55hIkUDJ2C1EoSR1BJziiSeMipBhzu7fldzPfa0YqBwbYH/7gjHkFigL7AVWpRHKBO3SFZax+tYn0arrwLMX+UVJ0ISis4h+zoMGUfpKmnbFEm0umY5qldL3LQrf+Q5vpW7I88aeZlVZi7KglGROeUIQR+tjiSNPubPfxA1ypWnTHDVYM7w/73bwCoe7YV7K7kG/6/SawjeHXqGUIJgil2mX0GsbHdNcx7Z629JmKThLPSNcDxPDW8+To0k9Dxj6qZuMHU8O5mm38EYHkQ5Q52sdipR0LHugSQ+TN2g7X7GtqKOFK80vlm7j6Ge75r93HdlsKqH9wRvxKueVFcTFdvcqbq3hAD2dm0fCC3YJtYNxwktX9deDgOe6m766QdSyCrWw8ACVwxDf2HyWIERvqfGJMoWqvYBdV9lK3cU9Vh/QzkdKM/hY6jmDWXziHNfmoF7/9Ron05XtO0kXAGKfR8EyJ5IHcGvCrsP8n5XgUtCcaEyBzCOejukhrB1XiEuxRpo13jNlSXrjEnJGpWkoNPeSeoYsK0iRYHVnaRf9iQ+naVn7oV5BPyjUzh9VJFbsM1hmxedeafsUzkCNwkkdd019LB9Fp3N3m0/JgG2AvFc1Q149C4KbcsJlW9Yje/IPxh0XcZ6YkdpX2pU2VrgnMGt+wLbQJ9s11V2wza8lddC9k/IdALhtD0rGVmhZ1gz1ze8cegYY891jKmXOjN/NEtnE18JXl3F0f9xIfUFJ9rf8co4FbklR/kTvBkscDlBAjJ0UADwPSY78ccTywWK3tyeG54dWsZkEniGn85df2Sn05k/fyWrvAbeeff6cFqtGZv9boxkB6VSVcm+H6l2vhs9DJbDwEGNRzd0tEiV33e7f7bwDqyv+2vghMXz+xNRp19uljcnrr2eLdcP81MXJzeTNNmtN3/oHbOPnmp7zZn7mF/+CwAA//8DAFBLAwQUAAYACAAAACEAgT6Ul/MAAAC6Ag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FJNS8QwEL0L/ocwd5t2FRHZdC8i7FXrDwjJtCnbJiEzfvTfGyq6XVjWSy8Db4Z5783Hdvc1DuIDE/XBK6iKEgR6E2zvOwVvzfPNAwhi7a0egkcFExLs6uur7QsOmnMTuT6SyCyeFDjm+CglGYejpiJE9LnShjRqzjB1Mmpz0B3KTVney7TkgPqEU+ytgrS3tyCaKWbl/7lD2/YGn4J5H9HzGQlJPA15ANHo1CEr+MFF9gjyvPxmTXnOa8Gj+gzlHKtLHqo1PXyGdCCHyEcffymSc+WimbtV7+F0QvvKKb/b8izL9O9m5MnH1d8AAAD//wMAUEsDBBQABgAIAAAAIQDbVD7orgMAAJQIAAAYAAAAeGwvd29ya3NoZWV0cy9zaGVldDEueG1snFRdj9owEHyv1P9g+Z04AY5CRDhVR0/lpap67fXZOBtiYcep7fChqv+96wTCnagqdBE4Zu2ZnfGumd8ftCI7sE6aKqNJFFMClTC5rDYZ/fH9cTClxHle5VyZCjJ6BEfvF+/fzffGbl0J4AkyVC6jpfd1ypgTJWjuIlNDhSuFsZp7/Gk3zNUWeN6CtGLDOJ4wzWVFO4bU3sJhikIKWBrRaKh8R2JBcY/6XSlrd2bT4hY6ze22qQfC6Bop1lJJf2xJKdEiXW0qY/laoe9DMuaCHCx+hvgdndO08atMWgprnCl8hMys03xtf8ZmjIue6dr/TTTJmFnYyVDAC9XwbZKSu55reCEbvZFs0pOF47JpI/OM/o5PzwDfSRjiy3Be+0MX87ZPvlqCzQhfuMYaPIV2W1V14ylbzHOJHRBcEwtFRj8m6XIU4i3uWcLevZgTz9dPoEB4QA0JJaF918Zsw8YVhuKQsd0QGLnwcgcPoFRGP43xBvxqc+AUE7A+w8v5Odtj2/Coe80dPBj1U+a+xJR4sXIoeKP8JTiLhnd9+JvZfwa5KT1unkTT2auHEtE4b3S/Aw80dGSaH5fgBF4FtBC1/oVRqAVHomW40tjJ/NB5PkkJhvwxdDUWueM9qwz+eiiuttAJHlcHnUVJUHxCY1X/g/5wQuO7R98Mxn+dTvVkNEW5/yYItWjd/gUAAP//AAAA//+UklsOgjBNAAAABUwAAABOAAAA5w8AAAAAAAAAAAAAEEW3QlgA74eaQqI0xm00tRE/AEMr6u6dUkU78AMfpblzZtLTlMhaCEWZYiXpu4fTF27oOvLGWgm7XQL7MeF3qbrm2PUNU2NQwy8C1BRO4nrRCQTPMGF8d35RIbloIQu82C0J16P3enbhwlTIJaRDGRB/KInPP8TBELBORGgT1ZyIbILOiXgifLCcVCNbdTTIvHytlR4Dt/F35gRZGSI1xh42sqs5aqaoOVt2iRddNlvrW2umh9pmKTIzxNcsQmev7DJqpqgZm/m/x/kGAAD//wAAAP//dI87DsIwDIavEvkAlEKhgEgXpg5ISD1BSk0bAXHkuCA4PSkPwYIn/w/Jn9e+I4di9ztWB3JSNhoyUHLzqMHRhtwFOVhykBRrb1rcGm6tC+qEB9EwHuWg2LbdZxfyT3eRZ+N0lmfL18xB1SRC5z9hh6ZBHsIpRA6Sj3hfrVB6r7zxyJW9R7QlKGKLToxEOA2eWNhYiTQrG3/gskkHZDH1CXeGJag99S5ipvDjftuToZ1861FciY+hQ5TiAQAA//8DAFBLAwQUAAYACAAAACEA7w9lFHEEAACkDwAAEwAAAHhsL3RoZW1lL3RoZW1lMS54bWzMV1uPozYUfq/U/2DxzoQ7YTSZFYGgVmpVqbOrPnvAXHYMRNiZS1fz33tsEy4h091Os9ImL2A+H3/n4u/YNx+ea4oeSceqttlo5pWhIdKkbVY1xUb79DHR1xpiHDcZpm1DNtoLYdqH259/usHXvCQ1QTC/Ydd4o5Wc769XK5bCMGZX7Z408C1vuxpzeO2KVdbhJ7Bb05VlGN6qxlWjoQbXYPaPPK9Sgj4Kk9rt0fiOwmvDmRhIaXcnTJPZDInNHkyBYF1xH9EOPWK60Qz501a3Nyt83QMoX+IS+etxPSB7sBb2HMd1vHCwJwGUL3E7f+ftvMGeBOA0BS+WazuOb0VOj52A1OMZ27Ef2+YMP7FvLziHrvjP8BKk7DsLfJJEELUZXoIU3l3g3W2wjef2JUjhvQXeN8LY8Wf2JaikVfOwzKDr2dHR2wGSt/SXs/DAdRLf6o2PKMj+UDliibxt+KyOtqQ58L9Jl5G8airScWTKoqrx57ZLAC1mUcyrBvGXPclxCuV6R4qWoE+/iuXwNcGTT2ooZSdDwGNmsa6aS5sfLcJio5/S63rutNpu0s+8ovSOv1DyG5OuspZWWQKDMiFyxw2bal/CYx/iGa7osJyDupb/VfHyrsR7CJOKZMF60wVD+5bB3pQLS6EgJ7ZlsA/1722mtrFpin2sYsowH8cNdxiH1HCF9vyxfgfzUgEKqSFHAmLufyExWWxOwj5Dwj8OQhb+jYT07CIsgjMs1sL8MVXHLA6hAGpDVmA3ISzU3nWUZiKWYkoykScln8fsiuRcNNNvBZNOK8CAZtFXwJjpQHB90z3hnSq1b8j0jMSk3OYkJmVY4oz01TltMpfMdTCmdEZPhOK4G0Ya/vp75FqIyIk20GaqFLRBTxvNs104M6R4v9FykEl4rPdQO6wpNIRpAYeKlHdqw79HWfYd4zFmpQq4FB2lBnXFSYdoVW804f5QDbSRGiK5mRYIwg9LLgBZ+dHIQdLnSSZ5TlI+TftkRDY/CQCFV1px9quc/n6wmNkeIN13ZfaE7umh+xNDibm+KQKYVYxDq1HRzKpuImRj/Z00pl52zxwYxVqY7kvcd5SpmCu4FNGBjnxTTssuBwGchWD+3jfC+0I02P/ddb/eqoU3E9Ece+ZMVUTXPC+m36/JT1iNTXTGSkm3PGCxUeuCo9ZBoZ7tEl/put/QECbUxsVm1ATjpQwLze5H59QueCCYRMJ7I25Djzgbifd2fph3WrWiQRzPlXIbyAvh9M7W3n8G8Yjh0HygnKmz8jPvMBz61BlcyQZsmWfebw14Qoeu2mhfDDd0IsuNdGPt7nTHdgx97Ya2Hrqube5c04i31is0Fl7WpqsuowmuK/rSX0nl+OJaWldp17I251dpW69aee1cSeLyWmpab19LUQWi88WzksAOtp4e2GGiO/F2rQeRt9VjL/LjJI7cdZC8auhRgp3Qjhxvt9Y9M4p0xzME/XWg+45lhY4frndO+NofY8BzJSZ9LCC8ktftPwAAAP//AwBQSwMEFAAGAAgAAAAhAGpmV8g7BQAAIxcAAA0AAAB4bC9zdHlsZXMueG1s7Fhtb+I4EP5+0v0HK99pXkhSghJWbWmkSqu705aV7qsJDlh17MgxLexp//uOnYSEblko273TSYWKxm9PxuOZ8TMTf9gUDD0SWVHBE8u9cCxEeCYWlC8T6/MsHYwsVCnMF5gJThJrSyrrw+T33+JKbRm5XxGiEEDwKrFWSpVj266yFSlwdSFKwmEkF7LACppyaVelJHhR6UUFsz3HCe0CU27VCOMiOwWkwPJhXQ4yUZRY0TllVG0NloWKbHy35ELiOQNRN66PM7RxQ+mhjYS/qH2RGfnuXQXNpKhEri4A2xZ5TjPyvciRHdk465AA/TwkN7Adb2//G3kmkm9L8kj1Ee7kktGZWOEOK7ImcS64qlAm1lwlVgDoWqfjBy6eeKqHwGSaWZO4+oIeMYMe17IncSaYkEiBLcBRmB6OC1LPuCdLQdDnOz0vxwVl27rf0x3GfpqJBYXT1J22FqQWZxLP9ayTX3YlKWYvvukkULmcJ1aaOuajYbptnIj85qK2gKN9cc7WqtFDBdqljO0O29fnCh2TGNxMEclTaKDmebYt4VQ5RIT6cMy8I7OXEm9dLzh9QSUYXWgpljfGlpqTuAr1V8PMmwHKF2RDFokV+ga9J7C2nFOEO/Cuqfm89l3mlaDPuZALiKyt+2hPqbsmMSO5gh1Iulzp/0qUej9CKYg8k3hB8VJwzLThtyuaB4DNCGP3Ovr+ne9hb3LE10VaqDtQBcRx7TLtI+igeazx6obG76PV2D3YEER+PSza5Dv8Q6tdkK8RyrNQX6jdaoTLkm11mNEBpGnBmq51xeiSF6SeMIlx20QrIekXWKjDkdGxpe84RTPdkcECUkeVTX54fz0Jh79WQm0MZwgIUrUqhNM+WYX/ltJ+8bG+Rmlw8bfOcLLS/lgXcyJTw1569rdnjW+iSuOB4HM9x95z652DIn3zJNa9YWNyAZdx42ZovqZMUf6CUwPqYtMLEw44NHTsbtL63nV0hKO950pJ+tDcwWZwXQ+2Ef8Nr7TXOS1SZKM+CQXMT/NVsPsnicsZdJpGtZKUP8xESuu2ppvAZP/UcVhP0AHPbP9dB+92oN2gbwf/nQ8cYU4tOWn5TkOEOnJiv8R4XnasA2HzTf2qpSw1n4H0EbhKYqkVZHrP8oKar9Xz+lzn3Uf7ceoEfeK1Ek2aBURR08hz1FnnbH2sJu16ngd03LuxxZtUfw+y73YHLQn7kU1ATIe7DOL3wLnwoygKfA8+w+ByFDomj7RblEnc8byfQ+xwzldbk+rWl8wBve3nTwf82vWGaXj7JroMe7r0QJlu6Fz6TjSKfPdMXR5HPE2X55taeqm/R9VzPPgcN7TWk/6HZqtpDpA/pUthJlnscUq0IDleMzXbDSYWKUrxRCTKVliqymqn/EUfhTLrE6t7/qjTVlcnhx1+w06f45QawHCzpojkA2+V0XhNIUn9p66qOM7AcVwXfuAphY/5ace+7r3mlkFBiSukTAXiaSUYMdsAiWs6HGnL6MTan78CPkjkJ/G0m25qKIem51RWCooP6wIKaw2+sbxDCxiu1AzYKbuBHH23xBQr7G4NxJjeuUxiYK8fK6huwX+0lhT0cnt9GU1vU28wcq5HA39IgkEUXE8HgX9zPZ2mkeM5N1971cyfqGWaAixkwa4/rhhUPGVjLY2N3Hd9kHp0jdoEjBeC2H3ZIy90rgIXTnLouAM/xKPBKBwGgzRwvWnoX98GadCTPTizTunYrltXT7XwwVjRgjDKW2NvTbzfm1gzaP5gE3Z7EnZX3Z58AwAA//8DAFBLAwQUAAYACAAAACEAx7950wwBAACkAQAAFAAAAHhsL3NoYXJlZFN0cmluZ3MueG1sXJDRasMwDEXfB/sHo/fVacbKKElKGcvDBmMP2weoqZoaHDmznG7d109JGIUay3DPlcy1i81P582JorjAJSwXGRjiJuwdtyV8ftR3j2AkIe/RB6YSziSwqW5vCpFkdJalhGNK/dpaaY7UoSxCT6zOIcQOk8rYWukj4V6ORKnzNs+yle3QMZgmDJxKWIEZ2H0N9PSvq0JcVUTd73rsrOpfc0KvGZegqgk+RBPbXQl1nU1rxLEOnOa+bXToR3bAzvnzDPMR2OnOKf5aemz0WZpPKJ4IKlPYNLZojQnGStULzvRC3sjxNXtVRmbLLe7o2nuO3xjTwC2xybP8/tqfpybv4eJZ/eXqDwAA//8DAFBLAwQUAAYACAAAACEAQb/4YNkAAADKAQAAIwAAAHhsL3dvcmtzaGVldHMvX3JlbHMvc2hlZXQxLnhtbC5yZWxzrJHBTsMwDEDvSPxD5DtJuwNCaOkuCGlXGB/gpW4b0TpRbBD7e4J2odMkLpws2/Lzk73dfS2z+aQiMbGH1jZgiEPqI48e3g7Pdw9gRJF7nBOThxMJ7Lrbm+0Lzah1SKaYxVQKi4dJNT86J2GiBcWmTFw7QyoLak3L6DKGdxzJbZrm3pXfDOhWTLPvPZR9vwFzOOW6+W92GoYY6CmFj4VYr6xwiseZKhDLSOrB2nNFzqG1VRbcdY/2Pz1yiaxUXkm1HlpWRhc9d5G39hj5R9KtPtB9AwAA//8DAFBLAwQUAAYACAAAACEA+kCEzLcBAADsBAAAJwAAAHhsL3ByaW50ZXJTZXR0aW5ncy9wcmludGVyU2V0dGluZ3MxLmJpbuxTsW7UQBB9zkWIiIKjT4HoT0rIQUh5PtvRReezZfsQ7SY3BOs2u9bajgiInk+I+BF+hhYJJEp6eDZpiBAIKQUFK3l23r43Mx6vJ4fCGWq0MDjFfcSYY4SHeIJH2CHOIXAoaWuiFFPyj+lNodEtb3Nw6wOGm9P32PCwhXd3xrdX8HAXz4g92gFVE4x79c0Y7ypNt2/wuUfnG9fhLP+pTDBbLB/g0vs62MaXz58+/q76sOvlmuA6vsEW/qf6B7/A39z3JcV5XBx1bQzx1nuNA0TY5dSMsY+Q+4iezxmKem+X3DE9n8w+52uEPc7RhKcH1AREe0QB5+4NM85M1TZ+aTBZFgmyMA/mcyxN6aTuvMSVYhrVlNYgTbIim8wKTK3WqhEkUYRYVqUqLipB6krTiAvkuWp1gyN7nMm5uFqCttLyslfzsLBGXK7Of4TzIF+Xla+VWafqVOpelkltddsXXVh3pjRSVTGqfCWYh0URZrhKukgWIUkGpuRfiDTss8OJW4lD5KxpCuurkzV8a9eafPfWncK3vaSDbMi62K4Eh05d1CdKy59/mm1Kno6DTgAAAAVNAAAA/////6ILRQQAAAAAAAAAAPhXd/kdAAD//wMAUEsDBBQABgAIAAAAIQD+qFhz0wEAAHcEAAAUAAAAeGwvdGFibGVzL3RhYmxlMS54bWycVMtO6zAQ3V+Jf7C8b500BV0iUnQpqlQJsaDwAW4yaazrR2S7kArx74yT0ELaRYUXTnLiOWfOzCQ3t42S5BWsE0ZnNB5HlIDOTSH0JqMvz4vRX0qc57rg0mjI6A4cvZ1d/LnxfC2BYLR2Ga28r1PGXF6B4m5satD4pjRWcY+PdsNcbYEXrgLwSrJJFF0xxYWmHUOq8nNIFLf/t/UoN6rmXqyFFH7XclGi8nS50caGrDLaWNLY5Iu8sUfkSuTWOFP6MZIxU5Yih6Mc4ymz8CpCaQ5UyS+5rvZcmJcosNbIadNtuH2P+jXC6zxs0WiBq92+3n1QorlCc898DVLChJJCuFry3eMAtlBm9F+c3qNShVUH+2Te5marfUaxv954Lh1Cq8q8YdMR2p+6b8olJnSJp0Il74zF6B6c0lnX9bmRW6UdyTvKAX4wlxy7i6POXWuxdRZ3/vbuVjWXHrA4w5wSyn7otzpYBGz0OTo4cmENdDB+qDM5pRNm6Tyd5KTO90705YxP6UzP1pme1MH4oZ8o6LC2nX3j+jKu/E7CUpfmMFcSWvBBbCp/jR8+DshCWOe7wHZUAvbAj6AwTt6KGvBvgM0Lp7qgPfotj9knAAAA//8DAFBLAwQUAAYACAAAACEACeCi140BAADs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JJNT9wwEIbvSP0Pkc/N2kmAIms3SKXlBFIlFhVxc+0h6xJ/yB4a8u/rJLthgxA3z8w7j2be8fry1bTZPwhRO7shxYqRDKx0SttmQ+631/kFySIKq0TrLGxID5Fc1l9O1tJz6QL8Cs5DQA0xSyQbufQbskP0nNIod2BEXCWFTcUnF4zAFIaGeiGfRQO0ZOycGkChBAo6AHM/E8keqeSM9C+hHQFKUmjBgMVIi1VB37QIwcQPG8bKkdJo7H3aaT/uMVvJqTirX6OehV3XrbpqHCPNX9CH25u7cdVc28ErCaReK8lRYwv1mr490yu+/PkLEqf0HKSCDCDQhdpoN7Yc4sHpZ+g7F1RMXYsotSmIMmiP6X4Tc5FI6lZEvE0HfdKgvvf1T9u0Ol3ma3a1CzqitmKEvpOl+Ue7prFAZckAPtl1qPyurn5sr0ldsuI0L1hesS1jvLzgp+XjsMGifzBkSpj9LJ8Sy7Ocnees2haMn1W8+HZEPADq8Q8KhMaFfnJGLqPF/6z/AwAA//8DAFBLAwQUAAYACAAAACEA9ilR1OIBAAAQBA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U8Fu2zAMvQ/YPxi+N3LaohgCWUWbbuiAFgsat3dGph1hsiRITJbse/Yn+7HJ9uI4aDdgu5F8FPX49MSvd41OtuiDsiZPp5MsTdBIWypT5+lz8ensQ5oEAlOCtgbzdI8hvRbv3/GFtw49KQxJHGFCnq6J3IyxINfYQJhE2ESksr4Biqmvma0qJfHOyk2Dhth5ll0x3BGaEsszNwxM+4mzLf3v0NLKll94KfYuEha8wMZpIBScHcPCEuhCNSiyWB4SfuOcVhIoSiIelfQ22IqSjzuJmrMxyOMqS5Qbr2jfzhinfClB4zyyEBXogJwdC/weoVV4AcoHwbc026Ik65OgvkeNL9NkBQFb7nm6Ba/AUNyhbeuTLtYukBc3foWKwkr//EGEnrPY1SNdOD4wjtWlmHYNMfhrYz/rFg0YQ5jcokcVH/gf7jl/+56WaL91JHCqR6FIY/hSLcDTG/JcjOXp+PXi9FQ/G7ehMb1BEG/qBwj0ZL/9CT5YY271pjGvduzeqHXQKb9HMFCjj8AQzW3jwOxFAyUmyiS98Tk71PmDMl/DsyvsXWvK3wY5LfLlGjyW0VODgYYCv4/e8LodMl+DqbE89LwGWju/9B9cTK8m2UUWnTqqcXb8yuIXAAAA//8DAFBLAQItABQABgAIAAAAIQA3Mb2RewEAAIQFAAATAAAAAAAAAAAAAAAAAAAAAABbQ29udGVudF9UeXBlc10ueG1sUEsBAi0AFAAGAAgAAAAhALVVMCP0AAAATAIAAAsAAAAAAAAAAAAAAAAAtAMAAF9yZWxzLy5yZWxzUEsBAi0AFAAGAAgAAAAhAH06Rt8tBAAAGwoAAA8AAAAAAAAAAAAAAAAA2QYAAHhsL3dvcmtib29rLnhtbFBLAQItABQABgAIAAAAIQCBPpSX8wAAALoCAAAaAAAAAAAAAAAAAAAAADMLAAB4bC9fcmVscy93b3JrYm9vay54bWwucmVsc1BLAQItABQABgAIAAAAIQDbVD7orgMAAJQIAAAYAAAAAAAAAAAAAAAAAGYNAAB4bC93b3Jrc2hlZXRzL3NoZWV0MS54bWxQSwECLQAUAAYACAAAACEA7w9lFHEEAACkDwAAEwAAAAAAAAAAAAAAAABKEQAAeGwvdGhlbWUvdGhlbWUxLnhtbFBLAQItABQABgAIAAAAIQBqZlfIOwUAACMXAAANAAAAAAAAAAAAAAAAAOwVAAB4bC9zdHlsZXMueG1sUEsBAi0AFAAGAAgAAAAhAMe/edMMAQAApAEAABQAAAAAAAAAAAAAAAAAUhsAAHhsL3NoYXJlZFN0cmluZ3MueG1sUEsBAi0AFAAGAAgAAAAhAEG/+GDZAAAAygEAACMAAAAAAAAAAAAAAAAAkBwAAHhsL3dvcmtzaGVldHMvX3JlbHMvc2hlZXQxLnhtbC5yZWxzUEsBAi0AFAAGAAgAAAAhAPpAhMy3AQAA7AQAACcAAAAAAAAAAAAAAAAAqh0AAHhsL3ByaW50ZXJTZXR0aW5ncy9wcmludGVyU2V0dGluZ3MxLmJpblBLAQItABQABgAIAAAAIQD+qFhz0wEAAHcEAAAUAAAAAAAAAAAAAAAAAKYfAAB4bC90YWJsZXMvdGFibGUxLnhtbFBLAQItABQABgAIAAAAIQAJ4KLXjQEAAOwCAAARAAAAAAAAAAAAAAAAAKshAABkb2NQcm9wcy9jb3JlLnhtbFBLAQItABQABgAIAAAAIQD2KVHU4gEAABAEAAAQAAAAAAAAAAAAAAAAAG8kAABkb2NQcm9wcy9hcHAueG1sUEsFBgAAAAANAA0AaAMAAIcnAAAAAAACTmFtZQAMAAAARXhjZWxNaXJyb3IAEFZlcnNpb24AAQAAAAlMYXN0V3JpdGUAhJJs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8AAAAF/////1AAAADnDwAAAAAAAAAAAACXFQAABV9pZAAQAAAABADzvLi9yU9ImhtkhDTHqM0DRGF0YQAvFQAABENhdGVnb3J5QXhpc0xhYmVsRGF0YQDhFAAAAzAA6QYAAANUZXh0Qm94RGF0YQCaBgAABU1hbmFnZWRJZAAQAAAABPiGTW3Qi9FGuuLbs6AaeBU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DAAAASmEAAlRleHRIb3Jpem9udGFsQWxpZ25tZW50AA4AAABtc29BbmNob3JOb25lAAJQYXJhZ3JhcGhBbGlnbm1lbnQADwAAAG1zb0FsaWduQ2VudGVyAAJUZXh0VmVydGljYWxBbGlnbm1lbnQADQAAAG1zb0FuY2hvclRvcAADRm9udFN0eWxlAEEBAAAQRm9udEJhY2tncm91bmQAAAAAAAhGb250Qm9sZAABA0ZvbnRDb2xvcgBVAAAAEEEA/wAAABBSAEAAAAAQRwBAAAAAEEIAQAAAAAFTY0EAAAAAAAAA8D8BU2NSAAAAAMD9P6o/AVNjRwAAAADA/T+qPwFTY0IAAAAAwP0/qj8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ADVGV4dE1hcmdpbgA/AAAAAUxlZnQAAAAAAAAAAAABVG9wAAAAAAAAAAAAAVJpZ2h0AAAAAAAAAAAAAUJvdHRvbQAAAAAAAAAAAAACRGlzcGxheVRleHQAAwAAAEphAAFIZWlnaHQAAAAAgBQuLUABV2lkdGgAAAAAgLHkKkABVG9wAAAAAEDPy2tAAUxlZnQAAAAAgAbzS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k9yaWVudGF0aW9uAAUAAABOb25lAAhMYWJlbFZpc2libGUAAQJUZXh0QWxpZ25tZW50AAUAAABMZWZ0AAADMQDtBgAAA1RleHRCb3hEYXRhAJ4GAAAFTWFuYWdlZElkABAAAAAEGo6A39uV80Ot46TOiGumpA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UAAABOZWluAAJUZXh0SG9yaXpvbnRhbEFsaWdubWVudAAOAAAAbXNvQW5jaG9yTm9uZQACUGFyYWdyYXBoQWxpZ25tZW50AA8AAABtc29BbGlnbkNlbnRlcgACVGV4dFZlcnRpY2FsQWxpZ25tZW50AA0AAABtc29BbmNob3JUb3AAA0ZvbnRTdHlsZQBBAQAAEEZvbnRCYWNrZ3JvdW5kAAAAAAAIRm9udEJvbGQAAQ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AA1RleHRNYXJnaW4APwAAAAFMZWZ0AAAAAAAAAAAAAVRvcAAAAAAAAAAAAAFSaWdodAAAAAAAAAAAAAFCb3R0b20AAAAAAAAAAAAAAkRpc3BsYXlUZXh0AAUAAABOZWluAAFIZWlnaHQAAAAAgBQuLUABV2lkdGgAAAAAIHQaOkABVG9wAAAAAEDPy2tAAUxlZnQAAAAAQKdTZ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k9yaWVudGF0aW9uAAUAAABOb25lAAhMYWJlbFZpc2libGUAAQJUZXh0QWxpZ25tZW50AAUAAABMZWZ0AAADMgD9BgAAA1RleHRCb3hEYXRhAK4GAAAFTWFuYWdlZElkABAAAAAEie9ghOIj7ku9FiU1tVFDnw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VQAAAABU8AAAD/////sAU3CgAAAAAAAAAAAAECRmlsbFBhdHRlcm4AEAAAAG1zb1BhdHRlcm5NaXhlZAACVGV4dAANAAAAS2VpbmUgQW5nYWJlAAJUZXh0SG9yaXpvbnRhbEFsaWdubWVudAAOAAAAbXNvQW5jaG9yTm9uZQACUGFyYWdyYXBoQWxpZ25tZW50AA8AAABtc29BbGlnbkNlbnRlcgACVGV4dFZlcnRpY2FsQWxpZ25tZW50AA0AAABtc29BbmNob3JUb3AAA0ZvbnRTdHlsZQBBAQAAEEZvbnRCYWNrZ3JvdW5kAAAAAAAIRm9udEJvbGQAAQ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AA1RleHRNYXJnaW4APwAAAAFMZWZ0AAAAAAAAAAAAAVRvcAAAAAAAAAAAAAFSaWdodAAAAAAAAAAAAAFCb3R0b20AAAAAAAAAAAAAAkRpc3BsYXlUZXh0AA0AAABLZWluZSBBbmdhYmUAAUhlaWdodAAAAACAFC4tQAFXaWR0aAAAAABA4epTQAFUb3AAAAAAQM/La0ABTGVmdAAAAABg/Ztv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CT3JpZW50YXRpb24ABQAAAE5vbmUACExhYmVsVmlzaWJsZQABAlRleHRBbGlnbm1lbnQABQAAAExlZnQAAAAIV2FudHNUb0JlVmlzaWJsZQABAkxhYmVsVGV4dEFsaWdubWVudAAHAAAAQ2VudGVyAAACTmFtZQAZAAAAQ2F0ZWdvcnlBeGlzRGF0YVByb3BlcnR5ABBWZXJzaW9uAAEAAAAJTGFzdFdyaXRlAAoFrj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UQAAAAAQAAAAOw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IAAAADAAAAAP////8HAFAOAAAAAAAAAAAAAAEA////////ZgAAAAIAEAALDoHv2XPMtEO3Si6jW0CduEsAAAAIAAMAAAAyAFIAAAABAAEAAQD///////9mAAAAAwAQAAsG/vbdj6YPQ7/9+Kf7B0H4SwAAAAkAUgAAAAAAUgAAAAIAAgACAP///////2YAAAAEABAAC1qXTOJt2uRBmt9N9YttfmhUAAAAAABSAAAAAQBSAAAAAwADAAAAMgBSAAAAAwADAAIA////////ZgAAAAUAEAALvN/j6MUcxESIiyHhSSYYuVQAAAABAFIAAAACAFIAAAAEAFIAAAACAFIAAAAEAAQAAgD///////9mAAAABgAQAAvCoVvptFnMSqlfNfKJTClMVAAAAAIAUgAAAAMAUgAAAAUAUgAAAAMA////////BQABAP///////2YAAAAHABAACxN9me8m8r5Fk8eEfdWIFEFUAAAAAwBSAAAABABSAAAABgAGAAEA////////ZgAAAAgAEAALJ9788GKvRUK8+w9gHgYrEGQAAAAAAFIAAAAF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TAAAAAwAAAAD/////BgB6DgAAAAAAAAAAAAABAQUAAAA0AP///////ycABlBvaW50QW5kU2VyaWVzQWRkaXRpb25TdHlsZXNEZWZpbml0aW9uc0sAAAAJAAQAAAAaAAQAAAAlAAEAAgEFAAAANQD///////8MAAZMaW5rRGF0YUxpc3RUAAAAAAAEAAAAEQAEAAAABwAEAAAAIgAEAAAAFgACAAEBBQAAADYA////////CgAGUGVyc29uYWxJZFQAAAABAFMAAAAFAAQAAAAtAAMABAEFAAAANwD///////8QAAZHcmlkbGluZVNldHRpbmdzVAAAAAIABAAAABkABAAAADEABAAAABsABAAAACIABAAAABsABAAAACIABAAAAB8ABAAAABYABAABAQUAAAA4AP///////woABkRhdGFMYWJlbHNUAAAAAwAEAAAAJwAEAAAACgAFAAEBBQAAADkA////////CAAGT3ZlcmxheXNkAAAAAAAEAAAAFgBTAA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VAAAAAQbAAAA/////wQA5gkAAAAAAAAAAAAA/////2EAYQAAAAVfaWQAEAAAAARal0zibdrkQZrfTfWLbX5oBERhdGEABQAAAAACTmFtZQANAAAATGlua0RhdGFMaXN0ABBWZXJzaW9uAAAAAAAJTGFzdFdyaXRlAGlpkTF5AQAAAAEA/////3AAcAAAAAVfaWQAEAAAAAS83+PoxRzERIiLIeFJJhi5A0RhdGEAFgAAAAJQZXJzb25hbElkAAEAAAAAAAJOYW1lAAsAAABQZXJzb25hbElkABBWZXJzaW9uAAAAAAAJTGFzdFdyaXRlALSG1Bp3AQAAAAIA/////xAFEAUAAAVfaWQAEAAAAATCoVvptFnMSqlfNfKJTClMA0RhdGEAsAQAAANHcmlkTGluZVN0eWxlc0RhdGEAlwQAAANQcmltYXJ5VmFsdWVBeGlzR3JpZExpbmVTdHlsZQAdAgAAA01ham9yVW5pdExpbmVTdHlsZQD4AAAAA0NvbG9yAFUAAAAQQQD/AAAAEFIAiQAAABBHAIkAAAAQQgCJAAAAAVNjQQAAAAAAAADwPwFTY1IAAAAAAJgC0D8BU2NHAAAAAACYAtA/AVNjQgAAAAAAmALQPwACU2NoZW1lQ29sb3JJbmRleAARAAAAcHBOb3RTY2hlbWVDb2xvcgAQVGhlbWVDb2xvckluZGV4AAAAAAABVGludEFuZFNoYWRlAAAAAAAAANA/AUxpbmVXZWlnaHQAAAAAAAAA4D8CRGFzaFN0eWxlAAoAAABMaW5lU29saWQACFZpc2libGUAAQhJc0F1dG9tYXRpYwABAANNaW5vclVuaXRMaW5lU3R5bGUA+AAAAANDb2xvcgBVAAAAEEEA/wAAABBSALwAAAAQRwC8AAAAEEIAvAAAAAFTY0EAAAAAAAAA8D8BU2NSAAAAAGClF+A/AVNjRwAAAABgpRfgPwFTY0IAAAAAYKUX4D8AAlNjaGVtZUNvbG9ySW5kZXgAEQAAAHBwTm90U2NoZW1lQ29sb3IAEFRoZW1lQ29sb3JJbmRleAAAAAAAAVRpbnRBbmRTaGFkZQAAAAAAAADgPwFMaW5lV2VpZ2h0AAAAAAAAAOA/AkRhc2hTdHlsZQAKAAAATGluZVNvbGlkAAhWaXNpYmxlAAAISXNBdXRvbWF0aWMAAAAAA1ByaW1hcnlDYXRlZ29yeUF4aXNHcmlkTGluZVN0eWxlAB0CAAADTWFqb3JVbml0TGluZVN0eWxlAPgAAAADQ29sb3IAVQAAABBBAP8AAAAQUgCJAAAAEEcAiQAAABBCAIkAAAABU2NBAAAAAAAAAPA/AVNjUgAAAAAAmALQPwFTY0cAAAAAAJgC0D8BU2NCAAAAAACYAtA/AAJTY2hlbWVDb2xvckluZGV4ABEAAABwcE5vdFNjaGVtZUNvbG9yABBUaGVtZUNvbG9ySW5kZXgAAAAAAAFUaW50QW5kU2hhZGUAAAAAAAAA0D8BTGluZVdlaWdodAAAAAAAAADgPwJEYXNoU3R5bGUACgAAAExpbmVTb2xpZAAIVmlzaWJsZQABCElzQXV0b21hdGljAAAAA01pbm9yVW5pdExpbmVTdHlsZQD4AAAAA0NvbG9yAFUAAAAQQQD/AAAAEFIAvAAAABBHALwAAAAQQgC8AAAAAVNjQQAAAAAAAADwPwFTY1IAAAAAYKUX4D8BU2NHAAAAAGClF+A/AVNjQgAAAABgpRfgPwACU2NoZW1lQ29sb3JJbmRleAARAAAAcHBOb3RTY2hlbWVDb2xvcgAQVGhlbWVDb2xvckluZGV4AAAAAAABVGludEFuZFNoYWRlAAAAAAAAAOA/AUxpbmVXZWlnaHQAAAAAAAAA4D8CRGFzaFN0eWxlAAoAAABMaW5lU29saWQACFZpc2libGUAAAhJc0F1dG9tYXRpYwAAAAAIU2hvd0dyaWRsaW5lc0RlZmF1bHQAAQAAAk5hbWUAEQAAAEdyaWRsaW5lU2V0dGluZ3MAEFZlcnNpb24AAAAAAAlMYXN0V3JpdGUAQYBZXo0BAAAAAwBV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UAAAAF/////1YAAADnDwAAAAAAAAAAAAAcigAABV9pZAAQAAAABBN9me8m8r5Fk8eEfdWIFEEDRGF0YQDCiQAAA0RhdGFMYWJlbHNQZXJBeGlzAIuJAAADUHJpbWFyeQBMhwAABERhdGFMYWJlbHMAK4UAAAMwAC4WAAAQUG9pbnRJbmRleAABAAAAAkFsaWdubWVudAAHAAAAQ2VudGVyABBTZXJpZXNJbmRleAABAAAACFJlcXVpcmVGb250Q29sb3JNaWdyYXRpb24AAAhNYW51YWxEYXRhTGFiZWxCYWNrZ3JvdW5kVmlzaWJsZQAACEhhc1dpc2hDb2xvcgAAA1RleHRCb3gAvAYAAAVNYW5hZ2VkSWQAEAAAAAT1CbusM3cjR4h1mWdf5dUtCEhhc0NoYW5nZXMAAAhVc2VOYW1lSW5zdGVhZE9mVGFnQXNJZAABCFNoYXBlUHJldmlvdXNseUNyZWF0ZWQAAQNGaWxsQ29sb3IAVQAAABBBAP8AAAAQUgD7AAAAEEcAugAAABBCALkAAAABU2NBAAAAAAAAAPA/AVNjUgAAAADAtd7uPwFTY0cAAAAA4OJs3z8BU2NCAAAAAGCyDN8/ABBGaWxsVGhlbWVDb2xvcgAH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AAAADEwJQACVGV4dEhvcml6b250YWxBbGlnbm1lbnQAEAAAAG1zb0FuY2hvckNlbnRlcg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QAAAAxMCUAAUhlaWdodAAAAACgIp4qQAFXaWR0aAAAAABA1PE2QAFUb3AAAAAAQCEOaEABTGVmdAAAAAAg2cQ5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HxW4wPzvIJOqajJ5yyr/ks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RcpKpOfpj+S4BpRbph//J4CEhhc0NoYW5nZXMAAQhVc2VOYW1lSW5zdGVhZE9mVGFnQXNJZAABCFNoYXBlUHJldmlvdXNseUNyZWF0ZWQAAANGaWxsQ29sb3IAVQAAABBBAAAAAAAQUgAAAAAAEEcAAAAAABBCAAAAAAABU2NBAAAAAAAAAPC/AVNjUgAAAAAAAADwvwFTY0cAAABWAAAABVUAAABXAAAA5w8AAAAAAAAA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KDhnkJAAVkAAAAAO4DGaEAACEhhc0xlYWRlckxpbmUAAAhJc0NlbnRlckF1dG9tYXRpY0FkanVzdGVkAAAISXNVc2VyUG9zaXRpb24AAAhBZGRQcmVmaXhTcGFjZQAACEFkZFBvc3RmaXhTcGFjZQAAAlNlcGFyYXRvcgACAAAACgACVGV4dAAEAAAAMTAlAAhSZXF1aXJlUmVsYXRpdmVQb3NpdGlvblVwZ3JhZGUAAAhJc0dlb21ldHJ5T3V0T2ZCb3VuZHMAAAhJc0xlYWRlckxpbmVJbkF1dG9Nb2RlAAEIRGVsZXRlZAAAAAMxAC4WAAAQUG9pbnRJbmRleAACAAAAAkFsaWdubWVudAAHAAAAQ2VudGVyABBTZXJpZXNJbmRleAABAAAACFJlcXVpcmVGb250Q29sb3JNaWdyYXRpb24AAAhNYW51YWxEYXRhTGFiZWxCYWNrZ3JvdW5kVmlzaWJsZQAACEhhc1dpc2hDb2xvcgAAA1RleHRCb3gAvAYAAAVNYW5hZ2VkSWQAEAAAAASvh9K1M3nNSalCW06P+pskCEhhc0NoYW5nZXMAAAhVc2VOYW1lSW5zdGVhZE9mVGFnQXNJZAABCFNoYXBlUHJldmlvdXNseUNyZWF0ZWQAAQNGaWxsQ29sb3IAVQAAABBBAP8AAAAQUgD7AAAAEEcAugAAABBCALkAAAABU2NBAAAAAAAAAPA/AVNjUgAAAADAtd7uPwFTY0cAAAAA4OJs3z8BU2NCAAAAAGCyDN8/ABBGaWxsVGhlbWVDb2xvcgAH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AAAADc0JQACVGV4dEhvcml6b250YWxBbGlnbm1lbnQAEAAAAG1zb0FuY2hvckNlbnRlcgACUGFyYWdyYXBoQWxpZ25tZW50AA8AAABtc29BbGlnbkNlbnRlcgACVGV4dFZlcnRpY2FsQWxpZ25tZW50ABAAAABtc29BbmNob3JNaWRkbGUAA0ZvbnRTdHlsZQBBAQAAEEZvbnRCYWNrZ3JvdW5kAAAAAAAIRm9udEJvbGQAAANGb250Q29sb3IAVQAAABBBAP8AAAAQUgBAAAAAEEcAQAAAABBCAEAAAAABU2NBAAAAAAAAAPA/AVNjUgAAAADA/T+qPwFTY0cAAAAAwP0/qj8BU2NCAAAAAMD9P6o/ABBGb250VGhlbWVDb2xvcgAAAAAAAUZvbnRUaW50QW5kU2hhZGUAAAAAAAAAAAAQRm9udFNjaGVtZUNvbG9yAAI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QAAAA3NCUAAUhlaWdodAAAAACgIp4qQAFXaWR0aAAAAABA1PE2QAFUb3AAAAAAAJ3fWkABTGVmdAAAAABgAtph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PkPkNY+/FJNmN6T/mvAF3A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VwAAAAVWAAAAWAAAAOcPAAAA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AAAAAAAVkAAAAAAAAAAAAAA0VuZAAbAAAAAVgAAAAAAAAAAAABWQAAAAAAAAAAAAACU3RhcnRBcnJvd0hlYWQAEQAAAG1zb0Fycm93aGVhZE5vbmUAAkVuZEFycm93SGVhZAARAAAAbXNvQXJyb3doZWFkTm9uZQAFTWFuYWdlZElkABAAAAAEO8FO5tcEA0i8FvED9i45r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KQfSWNAAVkAAAAA9lpQXEAACEhhc0xlYWRlckxpbmUAAAhJc0NlbnRlckF1dG9tYXRpY0FkanVzdGVkAAAISXNVc2VyUG9zaXRpb24AAAhBZGRQcmVmaXhTcGFjZQAACEFkZFBvc3RmaXhTcGFjZQAAAlNlcGFyYXRvcgACAAAACgACVGV4dAAEAAAANzQlAAhSZXF1aXJlUmVsYXRpdmVQb3NpdGlvblVwZ3JhZGUAAAhJc0dlb21ldHJ5T3V0T2ZCb3VuZHMAAAhJc0xlYWRlckxpbmVJbkF1dG9Nb2RlAAEIRGVsZXRlZAAAAAMyAC4WAAAQUG9pbnRJbmRleAADAAAAAkFsaWdubWVudAAHAAAAQ2VudGVyABBTZXJpZXNJbmRleAABAAAACFJlcXVpcmVGb250Q29sb3JNaWdyYXRpb24AAAhNYW51YWxEYXRhTGFiZWxCYWNrZ3JvdW5kVmlzaWJsZQAACEhhc1dpc2hDb2xvcgAAA1RleHRCb3gAvAYAAAVNYW5hZ2VkSWQAEAAAAASAdbPdFCuFSoB+o5XW5YSMCEhhc0NoYW5nZXMAAAhVc2VOYW1lSW5zdGVhZE9mVGFnQXNJZAABCFNoYXBlUHJldmlvdXNseUNyZWF0ZWQAAQNGaWxsQ29sb3IAVQAAABBBAP8AAAAQUgD7AAAAEEcAugAAABBCALkAAAABU2NBAAAAAAAAAPA/AVNjUgAAAADAtd7uPwFTY0cAAAAA4OJs3z8BU2NCAAAAAGCyDN8/ABBGaWxsVGhlbWVDb2xvcgAH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AAAADE2JQACVGV4dEhvcml6b250YWxBbGlnbm1lbnQAEAAAAG1zb0FuY2hvckNlbnRlcgACUGFyYWdyYXBoQWxpZ25tZW50AA8AAABtc29BbGlnbkNlbnRlcgACVGV4dFZlcnRpY2FsQWxpZ25tZW50ABAAAABtc29BbmNob3JNaWRkbFgAAAAFVwAAAFkAAADnDwAAAAAAAAAAAABlAANGb250U3R5bGUAQQ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EAAAAMTYlAAFIZWlnaHQAAAAAoCKeKkABV2lkdGgAAAAAQNTxNkABVG9wAAAAAKBJD2dAAUxlZnQAAAAA4LQ9c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TBGeJrEeGVR7GaV6u0WMuI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AAAAAAAVkAAAAAAAAAAAAAA0VuZAAbAAAAAVgAAAAAAAAAAAABWQAAAAAAAAAAAAACU3RhcnRBcnJvd0hlYWQAEQAAAG1zb0Fycm93aGVhZE5vbmUAAkVuZEFycm93SGVhZAARAAAAbXNvQXJyb3doZWFkTm9uZQAFTWFuYWdlZElkABAAAAAEbp6iXWtIZUuRrzt4MBH9Kg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BZAAAABVgAAABaAAAA5w8AAAAAAAAA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CCQ/VwQAFZAAAAAJuox2dAAAhIYXNMZWFkZXJMaW5lAAAISXNDZW50ZXJBdXRvbWF0aWNBZGp1c3RlZAAACElzVXNlclBvc2l0aW9uAAAIQWRkUHJlZml4U3BhY2UAAAhBZGRQb3N0Zml4U3BhY2UAAAJTZXBhcmF0b3IAAgAAAAoAAlRleHQABAAAADE2JQAIUmVxdWlyZVJlbGF0aXZlUG9zaXRpb25VcGdyYWRlAAAISXNHZW9tZXRyeU91dE9mQm91bmRzAAAISXNMZWFkZXJMaW5lSW5BdXRvTW9kZQABCERlbGV0ZWQAAAADMwAuFgAAEFBvaW50SW5kZXgAAQAAAAJBbGlnbm1lbnQABwAAAENlbnRlcgAQU2VyaWVzSW5kZXgAAgAAAAhSZXF1aXJlRm9udENvbG9yTWlncmF0aW9uAAAITWFudWFsRGF0YUxhYmVsQmFja2dyb3VuZFZpc2libGUAAAhIYXNXaXNoQ29sb3IAAANUZXh0Qm94ALwGAAAFTWFuYWdlZElkABAAAAAE4DzDnkQNGUe35XW5lQhAng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QAAAAyNCUAAlRleHRIb3Jpem9udGFsQWxpZ25tZW50ABAAAABtc29BbmNob3JDZW50ZXI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EAAAAMjQlAAFIZWlnaHQAAAAAoCKeKkABV2lkdGgAAAAAQNTxNkABVG9wAAAAACB/u2VAAUxlZnQAAAAAgCQVU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SLrcHpf5tHR5kgyVjNrMrt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WgAAAAVZAAAAWwAAAOcPAAAAAAAAAAA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N6+CTZlT39Np6LJ6tu9c/4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AIX/NTQAFZAAAAABvec2ZAAAhIYXNMZWFkZXJMaW5lAAAISXNDZW50ZXJBdXRvbWF0aWNBZGp1c3RlZAAACElzVXNlclBvc2l0aW9uAAAIQWRkUHJlZml4U3BhY2UAAAhBZGRQb3N0Zml4U3BhY2UAAAJTZXBhcmF0b3IAAgAAAAoAAlRleHQABAAAADI0JQAIUmVxdWlyZVJlbGF0aXZlUG9zaXRpb25VcGdyYWRlAAAISXNHZW9tZXRyeU91dE9mQm91bmRzAAAISXNMZWFkZXJMaW5lSW5BdXRvTW9kZQABCERlbGV0ZWQAAAADNAAuFgAAEFBvaW50SW5kZXgAAgAAAAJBbGlnbm1lbnQABwAAAENlbnRlcgAQU2VyaWVzSW5kZXgAAgAAAAhSZXF1aXJlRm9udENvbG9yTWlncmF0aW9uAAAITWFudWFsRGF0YUxhYmVsQmFja2dyb3VuZFZpc2libGUAAAhIYXNXaXNoQ29sb3IAAANUZXh0Qm94ALwGAAAFTWFuYWdlZElkABAAAAAEogSs8OEE8EeGAfntbEbpqghIYXNDaGFuZ2VzAAAIVXNlTmFtZUluc3RlYWRPZlRhZ0FzSWQAAQhTaGFwZVByZXZpb3VzbHlDcmVhdGVkAAEDRmlsbENvbG9yAFUAAAAQQQD/AAAAEFIAxwAAABBHACoAAAAQQgA0AAAAAVNjQQAAAAAAAADwPwFTY1IAAAAAoKdG4j8BU2NHAAAAAECEtZc/AVNjQgAAAADA/JShPwAQRmlsbFRoZW1lQ29sb3IABQ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QAAAA1MCUAAlRleHRIb3Jpem9udGFsQWxpZ25tZW50ABAAAABtc29BbmNob3JDZW50ZXI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EAAAANTAlAAFIZWlnaHQAAAAAoCKeKkABV2lkdGgAAAAAQNTxNkABVG9wAAAAAIAta2FAAUxlZnQAAAAAgPkrZ0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1sAAAAFWgAAAFwAAADnDwAAAAAAAAAAAAB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AAAAAAAAVkAAAAAAAAAAAAAA0VuZAAbAAAAAVgAAAAAAAAAAAABWQAAAAAAAAAAAAACU3RhcnRBcnJvd0hlYWQAEQAAAG1zb0Fycm93aGVhZE5vbmUAAkVuZEFycm93SGVhZAARAAAAbXNvQXJyb3doZWFkTm9uZQAFTWFuYWdlZElkABAAAAAEjOWgQiMKYEimzwyRTRHei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Lm5D3vJBmZJv8EFX5/W9yU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DEFptoQAFZAAAAAHuMI2JAAAhIYXNMZWFkZXJMaW5lAAAISXNDZW50ZXJBdXRvbWF0aWNBZGp1c3RlZAAACElzVXNlclBvc2l0aW9uAAAIQWRkUHJlZml4U3BhY2UAAAhBZGRQb3N0Zml4U3BhY2UAAAJTZXBhcmF0b3IAAgAAAAoAAlRleHQABAAAADUwJQAIUmVxdWlyZVJlbGF0aXZlUG9zaXRpb25VcGdyYWRlAAAISXNHZW9tZXRyeU91dE9mQm91bmRzAAAISXNMZWFkZXJMaW5lSW5BdXRvTW9kZQABCERlbGV0ZWQAAABcAAAABVsAAABdAAAA5w8AAAAAAAAAAAAAAzUALhYAABBQb2ludEluZGV4AAMAAAACQWxpZ25tZW50AAcAAABDZW50ZXIAEFNlcmllc0luZGV4AAIAAAAIUmVxdWlyZUZvbnRDb2xvck1pZ3JhdGlvbgAACE1hbnVhbERhdGFMYWJlbEJhY2tncm91bmRWaXNpYmxlAAAISGFzV2lzaENvbG9yAAADVGV4dEJveAC8BgAABU1hbmFnZWRJZAAQAAAABIIAjAQrMMxLrz8bc3xSQc0ISGFzQ2hhbmdlcwAACFVzZU5hbWVJbnN0ZWFkT2ZUYWdBc0lkAAEIU2hhcGVQcmV2aW91c2x5Q3JlYXRlZAABA0ZpbGxDb2xvcgBVAAAAEEEA/wAAABBSAMcAAAAQRwAqAAAAEEIANAAAAAFTY0EAAAAAAAAA8D8BU2NSAAAAAKCnRuI/AVNjRwAAAABAhLWXPwFTY0IAAAAAwPyUoT8AEEZpbGxUaGVtZUNvbG9yAAU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EAAAAMjY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AAAADI2JQABSGVpZ2h0AAAAAKAinipAAVdpZHRoAAAAAEDU8TZAAVRvcAAAAACgjGZlQAFMZWZ0AAAAAGCw5nJ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AAAAAAAAVkAAAAAAAAAAAAAA0VuZAAbAAAAAVgAAAAAAAAAAAABWQAAAAAAAAAAAAACU3RhcnRBcnJvd0hlYWQAEQAAAG1zb0Fycm93aGVhZE5vbmUAAkVuZEFycm93SGVhZAARAAAAbXNvQXJyb3doZWFkTm9uZQAFTWFuYWdlZElkABAAAAAEzWTdeEnmNUybvm6vbyRBQ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OmehAcrFflMkor1HVRi19k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XQAAAAVcAAAA/////+QKAwUAAAAAAAAAA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Aj+ec0ABWQAAAACb6x5mQAAISGFzTGVhZGVyTGluZQAACElzQ2VudGVyQXV0b21hdGljQWRqdXN0ZWQAAAhJc1VzZXJQb3NpdGlvbgAACEFkZFByZWZpeFNwYWNlAAAIQWRkUG9zdGZpeFNwYWNlAAACU2VwYXJhdG9yAAIAAAAKAAJUZXh0AAQAAAAyNiUACFJlcXVpcmVSZWxhdGl2ZVBvc2l0aW9uVXBncmFkZQAACElzR2VvbWV0cnlPdXRPZkJvdW5kcwAACElzTGVhZGVyTGluZUluQXV0b01vZGUAAQhEZWxldGVk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MYWJlbHNWaXNpYmxlAAEIQXV0b21hdGljTGFiZWxCYWNrZ3JvdW5kc0VuYWJsZWQAAAADU2Vjb25kYXJ5ACYCAAAERGF0YUxhYmVscwAF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MYWJlbHNWaXNpYmxlAAAIQXV0b21hdGljTGFiZWxCYWNrZ3JvdW5kc0VuYWJsZWQAAAAACERpc2FibGVBdXRvbWF0aWNEZWFjdGl2YXRpb24AAAACTmFtZQALAAAARGF0YUxhYmVscwAQVmVyc2lvbgAGAAAACUxhc3RXcml0ZQBCBa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4AAAAAXwAAAEo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fAAAAAGAAAABe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YAAAAABhAAAAXw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AAAAAYgAAAGA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iAAAAAAAAAABh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YwAAAAX//////////0EHpggAAAAAAAAAAEEHAAAFX2lkABAAAAAER5tzrjfIwkS9tDSSNdW2zQNEYXRhANcGAAAIRXhjZWxDb2xvck1vZGVBY3RpdmUAAAhDb2xvckNhY2hlUmVwYWlyZWRGb3JMaW5rZWRDaGFydHMAAARDb2xvckNhY2hlAIsGAAADMACIAAAAA0NlbGxBZGRyZXNzABoAAAAQUm93AAAAAAAQQ29sdW1uAAAAAAAAA0NvbG9yAFUAAAAQQQD/AAAAEFIApgAAABBHAKYAAAAQQgCmAAAAAVNjQQAAAAAAAADwPwFTY1IAAAAAYKVn2D8BU2NHAAAAAGClZ9g/AVNjQgAAAABgpWfYPwAAAzEAiAAAAANDZWxsQWRkcmVzcwAaAAAAEFJvdwAAAAAAEENvbHVtbgABAAAAAANDb2xvcgBVAAAAEEEA/wAAABBSAKYAAAAQRwCmAAAAEEIApgAAAAFTY0EAAAAAAAAA8D8BU2NSAAAAAGClZ9g/AVNjRwAAAABgpWfYPwFTY0IAAAAAYKVn2D8AAAMyAIgAAAADQ2VsbEFkZHJlc3MAGgAAABBSb3cAAAAAABBDb2x1bW4AAgAAAAADQ29sb3IAVQAAABBBAP8AAAAQUgCmAAAAEEcApgAAABBCAKYAAAABU2NBAAAAAAAAAPA/AVNjUgAAAABgpWfYPwFTY0cAAAAAYKVn2D8BU2NCAAAAAGClZ9g/AAADMwCIAAAAA0NlbGxBZGRyZXNzABoAAAAQUm93AAAAAAAQQ29sdW1uAAMAAAAAA0NvbG9yAFUAAAAQQQD/AAAAEFIApgAAABBHAKYAAAAQQgCmAAAAAVNjQQAAAAAAAADwPwFTY1IAAAAAYKVn2D8BU2NHAAAAAGClZ9g/AVNjQgAAAABgpWfYPwAAAzQAiAAAAANDZWxsQWRkcmVzcwAaAAAAEFJvdwABAAAAEENvbHVtbgAAAAAAAANDb2xvcgBVAAAAEEEA/wAAABBSAN0AAAAQRwDdAAAAEEIA3QAAAAFTY0EAAAAAAAAA8D8BU2NSAAAAAIBEI+c/AVNjRwAAAACARCPnPwFTY0IAAAAAgEQj5z8AAAM1AIgAAAADQ2VsbEFkZHJlc3MAGgAAABBSb3cAAQAAABBDb2x1bW4AAQAAAAADQ29sb3IAVQAAABBBAAAAAAAQUgD/AAAAEEcA/wAAABBCAP8AAAABU2NBAAAAAAAAAAAAAVNjUgAAAAAAAADwPwFTY0cAAAAAAAAA8D8BU2NCAAAAAAAAAPA/AAADNgCIAAAAA0NlbGxBZGRyZXNzABoAAAAQUm93AAEAAAAQQ29sdW1uAAIAAAAAA0NvbG9yAFUAAAAQQQAAAAAAEFIA/wAAABBHAP8AAAAQQgD/AAAAAVNjQQAAAAAAAAAAAAFTY1IAAAAAAAAA8D8BU2NHAAAAAAAAAPA/AVNjQgAAAAAAAADwPwAAAzcAiAAAAANDZWxsQWRkcmVzcwAaAAAAEFJvdwABAAAAEENvbHVtbgADAAAAAANDb2xvcgBVAAAAEEEAAAAAABBSAP8AAAAQRwD/AAAAEEIA/wAAAAFTY0EAAAAAAAAAAAABU2NSAAAAAAAAAPA/AVNjRwAAAAAAAADwPwFTY0IAAAAAAAAA8D8AAAM4AIgAAAADQ2VsbEFkZHJlc3MAGgAAABBSb3cAAgAAABBDb2x1bW4AAAAAAAADQ29sb3IAVQAAABBBAP8AAAAQUgDdAAAAEEcA3QAAABBCAN0AAAABU2NBAAAAAAAAAPA/AVNjUgAAAACARCPnPwFTY0cAAAAAgEQj5z8BU2NCAAAAAIBEI+c/AAADOQCIAAAAA0NlbGxBZGRyZXNzABoAAAAQUm93AAIAAAAQQ29sdW1uAAEAAAAAA0NvbG9yAFUAAAAQQQAAAAAAEFIA/wAAABBHAP8AAAAQQgD/AAAAAVNjQQAAAAAAAAAAAAFTY1IAAAAAAAAA8D8BU2NHAAAAAAAAAPA/AVNjQgAAAAAAAADwPwAAAzEwAIgAAAADQ2VsbEFkZHJlc3MAGgAAABBSb3cAAgAAABBDb2x1bW4AAgAAAAADQ29sb3IAVQAAABBBAAAAAAAQUgD/AAAAEEcA/wAAABBCAP8AAAABU2NBAAAAAAAAAAAAAVNjUgAAAAAAAADwPwFTY0cAAAAAAAAA8D8BU2NCAAAAAAAAAPA/AAADMTEAiAAAAANDZWxsQWRkcmVzcwAaAAAAEFJvdwACAAAAEENvbHVtbgADAAAAAANDb2xvcgBVAAAAEEEAAAAAABBSAP8AAAAQRwD/AAAAEEIA/wAAAAFTY0EAAAAAAAAAAAABU2NSAAAAAAAAAPA/AVNjRwAAAAAAAADwPwFTY0IAAAAAAAAA8D8AAAAAAk5hbWUAGwAAAEV4Y2VsQ29sb3JNb2RlRGF0YVByb3BlcnR5ABBWZXJzaW9uAAIAAAAJTGFzdFdyaXRlAABzb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AAAAE//////////8BAPUAAAAAAAAAAAAAAP/////qDuoOAAAFX2lkABAAAAAEJ9788GKvRUK8+w9gHgYrEAREYXRhAJIOAAADMADmAgAABV9pZAAQAAAABL3puJx8DbZNkXKUTu7H7qcCX3R5cGUAVwAAAGVtcG93ZXIuQ2hhcnRzLkRhdGEuRGF0YUNoYXJ0cy5PdmVybGF5cy5EYXRhLkNvbHVtblN1bU92ZXJsYXlEYXRhLCBlbXBvd2VyLkNoYXJ0cy5EYXRhABBDb2x1bW4AAQAAABBTZXJpZXMA/////wJDb2x1bW5TdW1Qb3NpdGlvbgAMAAAARGVmYXVsdERvY2sACERlbGV0ZWQAAQNOdW1iZXJGb3JtYXQAHwAAAAVfaWQAEAAAAAQAAAAAAAAAAAAAAAAAAAAAAANUZXh0Rm9ybWF0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lzTmV3AAEBRm9udFNpemUAAAAAAAAA+P8AAzEA5gIAAAVfaWQAEAAAAASu9FizX92eTLKOSFr+BKY2Al90eXBlAFcAAABlbXBvd2VyLkNoYXJ0cy5EYXRhLkRhdGFDaGFydHMuT3ZlcmxheXMuRGF0YS5Db2x1bW5TdW1PdmVybGF5RGF0YSwgZW1wb3dlci5DaGFydHMuRGF0YQAQQ29sdW1uAAIAAAAQU2VyaWVzAP////8CQ29sdW1uU3VtUG9zaXRpb24ADAAAAERlZmF1bHREb2NrAAhEZWxldGVkAAEDTnVtYmVyRm9ybWF0AB8AAAAFX2lkABAAAAAEAAAAAAAAAAAAAAAAAAAAAAADVGV4dEZvcm1hdA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Jc05ldwABAUZvbnRTaXplAAAAAAAAAPj/AAMyAOYCAAAFX2lkABAAAAAEid4ZrliuEkCK1z3J8YW2iAJfdHlwZQBXAAAAZW1wb3dlci5DaGFydHMuRGF0YS5EYXRhQ2hhcnRzLk92ZXJsYXlzLkRhdGEuQ29sdW1uU3VtT3ZlcmxheURhdGEsIGVtcG93ZXIuQ2hhcnRzLkRhdGEAEENvbHVtbgADAAAAEFNlcmllcwD/////AkNvbHVtblN1bVBvc2l0aW9uAAwAAABEZWZhdWx0RG9jawAIRGVsZXRlZAABA051bWJlckZvcm1hdAAfAAAABV9pZAAQAAAABAAAAAAAAAAAAAAAAAAAAAAAA1RleHRGb3JtYXQ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SXNOZXcAAQFGb250U2l6ZQAAAAAAAAD4/wADMwDmAgAABV9pZAAQAAAABGt9z2e/UAdGuxV8ooKdhdACX3R5cGUAVwAAAGVtcG93ZXIuQ2hhcnRzLkRhdGEuRGF0YUNoYXJ0cy5PdmVybGF5cy5EYXRhLkNvbHVtblN1bU92ZXJsYXlEYXRhLCBlbXBvd2VyLkNoYXJ0cy5EYXRhABBDb2x1bW4ABAAAABBTZXJpZXMA/////wJDb2x1bW5TdW1Qb3NpdGlvbgAMAAAARGVmYXVsdERvY2sACERlbGV0ZWQAAQNOdW1iZXJGb3JtYXQAHwAAAAVfaWQAEAAAAAQAAAAAAAAAAAAAAAAAAAAAAANUZXh0Rm9ybWF0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lzTmV3AAEBRm9udFNpemUAAAAAAAAA+P8AAzQA5gIAAAVfaWQAEAAAAAQnqZOqLHCvSJD+9R0PGux4Al90eXBlAFcAAABlbXBvd2VyLkNoYXJ0cy5EYXRhLkRhdGFDaGFydHMuT3ZlcmxheXMuRGF0YS5Db2x1bW5TdW1PdmVybGF5RGF0YSwgZW1wb3dlci5DaGFydHMuRGF0YQAQQ29sdW1uAAUAAAAQU2VyaWVzAP////8CQ29sdW1uU3VtUG9zaXRpb24ADAAAAERlZmF1bHREb2NrAAhEZWxldGVkAAEDTnVtYmVyRm9ybWF0AB8AAAAFX2lkABAAAAAEAAAAAAAAAAAAAAAAAAAAAAADVGV4dEZvcm1hdA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Jc05ldwABAUZvbnRTaXplAAAAAAAAAPj/AAACTmFtZQAJAAAAT3ZlcmxheXMAEFZlcnNpb24ACAAAAAlMYXN0V3JpdGUAz3Js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lAAAAA///////////MQA1AAAAAAAAAAAAAAAgA////////////////wAAAP///////////////2UAAAAeAP///////2UAAAATAP///////2UAAAAEAP///////2UAAAAOAP///////////////////////////////////////////////////////////////////////////////////////////////////////////////////////////////////////////////////////////////////////////////////////////////////////////////////////////////////////////////////////////////////////////////////////////////////////////////////////////////////////////////////////////////////////////////////////////////////////////////////////////////////////////////////////////////wEAIAP///////////////8AAA7///////9lAAAAEgD///////////////////////////////////////////////////////////////////////////////////////////////////////////////////////////////////////////////////////////////////////////////////////////////////////////////////////////////////////////////////////////////////////////////////////////////////////////////////////////////////////////////////////////////////////////////////////////////////////////////////////////////////////////////////////////////////////////////////////////////////////////////////////8CAAIDAwAAAAIABQAAAAIAIAAGUG9pbnRBbmRTZXJpZXNTdHlsZURlZmluaXRpb25zXzAGAAAAAABlAAAAJQBlAAAAMABmAAAAAwBlAAAAKAADAAIDAwAAAAMABQAAAAMADwAGTnVtYmVyRm9ybWF0c18yBgAAAAEAZQAAACYAZQAAAA0AZQAAAAcAZQAAABYABAADAwMAAAAEAAUAAAAEABwABkF1dG9tYXRpY0JyZWFrU2V0dGluZ3NEYXRhXzAGAAAAAgBlAAAAEwBlAAAAGABlAAAAEwBlAAAAGABlAAAAAABlAAAAHwAFAAIDAwAAAAUABQAAAAUAHAAGRXhjZWxDb2xvck1vZGVEYXRhUHJvcGVydHlfMQYAAAADAGUAAAAKAGUAAAArAGUAAAAKAGUAAAAPAAYAAQMDAAAABgAFAAAABgAMAAZEYXRhTGFiZWxzXzgGAAAABABlAAAAJwBlAAAAIwAHAAMDAwAAAAcABQAAAAcADQAGTWFya2Vyc0RhdGFfMQYAAAAFAGUAAAARAGUAAAAmAGUAAAARAGUAAAADAGUAAAARAGUAAAAWAAgAAgMDAAAACAAFAAAACAAKAAZPdmVybGF5c183BgAAAAYAZQAAABYAZgAAAAgAZQAAABYAZgAAAAgACQAEAwMAAAAJAAUAAAAJABsABlNoYXBlQ29uc3RydWN0ZWRDaGFydERhdGFfMBgAAAAAAGUAAAAhAGUAAAALAGUAAAAhAGUAAAALAGYAAAACAGUAAAALAGYAAAADAGUAAAALAAoAAgMDAAAACgAFAAAACgAKAAZEYXRhTGlua18xGAAAAAEAZQAAACMAZQAAAAUAZQAAACcAZQAAAAUACwAEAwMAAAALAAUAAAALAAsABldhdGVyZmFsbF8wGAAAAAIAZQAAAAkAZQAAABIAZQAAAAkAZQAAABIAZQAAAAkA////////ZQAAAAkA////////DAABAwMAAAAMAAUAAAAMABUABkdsb2JhbENoYXJ0U2V0dGluZ3NfNRgAAAADAGUAAAAbAGYAAAAGAA0AAQMDAAAADQAFAAAADQAKAAZPdmVybGF5c181GQAAAAAAZQAAAAMAZQAAABYADgAEAwMAAAAOAAUAAAAOAA4ABkNvbG9ySW5kaWNlc18yGgAAAAAAZQAAACQAZQAAACkAZQAAACQAZQAAABwAZQAAAB8AZQAAAB0AZQAAAAAAZQAAAB0ADwACAwMAAAAPAAUAAAAPABYABkdlbmVyYWxFeGNlbFNldHRpbmdzXzAZAAAAAQBlAAAALABlAAAAGwBlAAAABQBlAAAAGwAQAAIDAwAAABAABQAAABAAHgAGQ2hhcnRTdHlsZVN0YXR1c0luZm9ybWF0aW9uc18xGQAAAAIAZQAAABcAZQAAACQAZQAAAB8AZQAAACQAEQAEAwMAAAARAAUAAAARAA4ABkxpbmtEYXRhTGlzdF8xGQAAAAMAZgAAAAQAZQAAAAcAZgAAAAQAZQAAAAcAZQAAACcAZQAAAAcAZQAAAB0AZQAAABYAEgACAwMAAAASAAUAAAASAAsABldhdGVyZmFsbF8xGwAAAAAAZQAAAAsAZQAAAAEAZQAAAAsA////////EwACAwMAAAATAAUAAAATABQABkFkZGl0aW9uYWxBeGlzRGF0YV8xGwAAAAEAZQAAAB4AZQAAAAQAZQAAAAAAZQAAAAQAFAABAwMAAAAUAAUAAAAUAAwABkxlZ2VuZERhdGFfMRsAAAACAGYAAAAAAGUAAAAiABUAAwMDAAAAFQAFAAAAFQAMAAZTZXJpZXNEYXRhXzAbAAAAAwBlAAAAKABmAAAAAgBlAAAAKABmAAAAAgBmAAAAAwBmAAAAAgAWAAQDAwAAABYABQAAABYACgAGT3ZlcmxheXNfNhsAAAAEAGUAAAANAGUAAAAIAGUAAAADAGUAAAAIAGUAAAAHAGYAAAADAGUAAAARAGYAAAADABcAAQMDAAAAFwAFAAAAFwAeAAZDaGFydFN0eWxlU3RhdHVzSW5mb3JtYXRpb25zXzAfAAAAAABlAAAAHwBlAAAAEAAYAAIDAwAAABgABQAAABgACgAGQXhlc0RhdGFfNB8AAAABAGUAAAAEAGUAAAAgAGUAAAAEAGUAAAAgABkAAgMDAAAAGQAFAAAAGQASAAZHcmlkbGluZVNldHRpbmdzXzEfAAAAAgBmAAAABgBmAAAAAABmAAAABgBmAAAAAAAaAAEDAwAAABoABQAAABoAKQAGUG9pbnRBbmRTZXJpZXNBZGRpdGlvblN0eWxlc0RlZmluaXRpb25zXzEfAAAAAwBmAAAAAwBlAAAAJQAbAAIDAwAAABsABQAAABsAFQAGR2xvYmFsQ2hhcnRTZXR0aW5nc180IwAAAAAAZQAAAA8AZQAAAAwAZQAAAA8AZgAAAAYAHAACAwMAAAAcAAUAAAAcABAABkNvbW1vblNldHRpbmdzXzAkAAAAAABlAAAAKQBlAAAAHQBlAAAADgBlAAAAHQAdAAQDAwAAAB0ABQAAAB0AFgAGRGF0YUNoYXJ0Q29BdXRob3JpbmdfMCQAAAABAGUAAAAcAGYAAAAHAGUAAAAcAGYAAAAHAGUAAAAOAGUAAAAnAGUAAAAOAGUAAAARAB4AAQMDAAAAHgAFAAAAHgAUAAZBZGRpdGlvbmFsQXhpc0RhdGFfMCQAAAACAGUAAAAAAGUAAAATAB8AAwMDAAAAHwAFAAAAHwAjAAZDYXRlZ29yeUxhYmVsU2V0dGluZ3NEYXRhUHJvcGVydHlfMCUAAAAAAGUAAAAuAGUAAAAXAGUAAAAvAGUAAAAQAGUAAAAEAGUAAAAOACAAAgMDAAAAIAAFAAAAIAAKAAZBeGVzRGF0YV81JQAAAAEAZQAAABgAZgAAAAEAZQAAABgAZQAAAC8AIQACAwMAAAAhAAUAAAAhAA4ABlNlcmllc0xhYmVsc181JQAAAAIAZQAAACoAZQAAAAkAZgAAAAIAZQAAAAkAIgABAwMAAAAiAAUAAAAiAAwABkxlZ2VuZERhdGFfMiUAAAADAGUAAAAUAGYAAAAEACMAAQMDAAAAIwAFAAAAIwAMAAZEYXRhTGFiZWxzXzklAAAABABlAAAABgBlAAAACgAkAAIDAwAAACQABQAAACQAEwAGQ29sb3JEYXRhUHJvcGVydHlfMCUAAAAFAGUAAAAQAGUAAAAOAGUAAAAQAGUAAAAOACUAAQMDAAAAJQAFAAAAJQAmAAZQb2ludEFuZFNlcmllc01hcmtlclN0eWxlRGVmaW5pdGlvbnNfMCUAAAAGAGUAAAAaAGUAAAACACYAAQMDAAAAJgAFAAAAJgAPAAZOdW1iZXJGb3JtYXRzXzElAAAABwBlAAAABwBlAAAAAwAnAAMDAwAAACcABQAAACcADAAGRGF0YUxhYmVsc183JQAAAAgAZgAAAAcAZQAAAAYAZgAAAAcAZQAAAAoAZQAAAB0AZQAAABEAKAACAwMAAAAoAAUAAAAoACAABlBvaW50QW5kU2VyaWVzU3R5bGVEZWZpbml0aW9uc18yJQAAAAkAZQAAADAAZQAAABUAZQAAAAIAZQAAABUAKQABAwMAAAApAAUAAAApABQABkNvbHVtblN1bXNTZXR0aW5nc18wJQAAAAoAZQAAAA4AZQAAABwAKgABAwMAAAAqAAUAAAAqAA4ABlNlcmllc0xhYmVsc180JQAAAAsAZgAAAAIAZQAAACEAKwABAwMAAAArAAUAAAArABwABkV4Y2VsQ29sb3JNb2RlRGF0YVByb3BlcnR5XzJLAAAAAABlAAAABQBlAAAALAAsAAEDAwAAACwABQAAACwADQAGRXhjZWxNaXJyb3JfMUsAAAABAGUAAAArAGUAAAAPAC0AAQMDAAAALQAFAAAALQAQAAZQbG90QXJlYUJvcmRlcl8wSwAAAAIAZgAAAAUAZgAAAAMALgABAwMAAAAuAAUAAAAuABoABkNhdGVnb3J5QXhpc0RhdGFQcm9wZXJ0eV8xSwAAAAMAZQAAAC8AZQAAAB8ALwACAwMAAAAvAAUAAAAvABUABkJyZWFrTWFuYWdlbWVudERhdGFfMEsAAAAEAGYAAAABAGUAAAAuAGUAAAAgAGUAAAAfADAAAQMDAAAAMAAFAAAAMAAgAAZQb2ludEFuZFNlcmllc1N0eWxlRGVmaW5pdGlvbnNfMUsAAAAFAGUAAAACAGUAAAAoAAAAAAAAAAAAAAAAAAAAAAAAAAAAAAAAAAAAAAAAAAAAAAAAAAAAAAAAAAAAAAAAAAAAAAAAZgAAAAMAAAAA/////wkAcA0AAAAAAAAAAAAAAgMDAAAAMQAFAAAAMQANAAZMZWFkZXJMaW5lc18wSwAAAAYAZQAAABkAZQAAABQAZQAAABkAZgAAAAQAAQABAwMAAAAyAAUAAAAyACAABkF6dXJlSW5mb3JtYXRpb25Qcm90ZWN0aW9uRGF0YV8wSwAAAAcAZQAAACAAZQAAAC8AAgADA1IAAAAAAAUAAAAzAA4ABlNlcmllc0xhYmVsc18zSwAAAAgAZQAAABUAZQAAACoAZQAAABUAZQAAACEAZQAAABUAZQAAAAkAAwAEA1IAAAABAAUAAAA0ACkABlBvaW50QW5kU2VyaWVzQWRkaXRpb25TdHlsZXNEZWZpbml0aW9uc18wSwAAAAkAZQAAAC0AZQAAABoAZgAAAAUAZQAAAAIAZQAAABYAZQAAABUAZQAAABYAZQAAAAkABAACA1IAAAACAAUAAAA1AA4ABkxpbmtEYXRhTGlzdF8wVAAAAAAAZQAAACIAZQAAABEAZgAAAAAAZQAAABEABQACA1IAAAADAAUAAAA2AAwABlBlcnNvbmFsSWRfMFQAAAABAGYAAAAIAGUAAAAtAGYAAAAIAGYAAAADAAYAAgNSAAAABAAFAAAANwASAAZHcmlkbGluZVNldHRpbmdzXzBUAAAAAgBlAAAADABlAAAAGQBlAAAAGwBlAAAAGQAHAAIDUgAAAAUABQAAADgADAAGRGF0YUxhYmVsc182VAAAAAMAZQAAAB0AZQAAACcAZQAAAB0AZQAAACcACAACA1IAAAAGAAUAAAA5AAoABk92ZXJsYXlzXzhkAAAAAABlAAAACABmAAAABQBlAAAACABm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90865803905"/>
  <p:tag name="EMPOWERCHARTSPROPERTIES_B_LENGTH" val="421888"/>
</p:tagLst>
</file>

<file path=ppt/tags/tag86.xml><?xml version="1.0" encoding="utf-8"?>
<p:tagLst xmlns:a="http://schemas.openxmlformats.org/drawingml/2006/main" xmlns:r="http://schemas.openxmlformats.org/officeDocument/2006/relationships" xmlns:p="http://schemas.openxmlformats.org/presentationml/2006/main">
  <p:tag name="UNIQUEID" val="26cbf469-94a8-4754-99ef-9ff7889c9c69"/>
  <p:tag name="COLUMNSUMS - VISIBLE" val="False"/>
  <p:tag name="MIO_CHART_TEMPLATE_TYPE" val="4F085B70-485D-493C-89FA-6AC6D85833AF"/>
  <p:tag name="METADATA - EXCELNUMBERFORMAT" val="General"/>
  <p:tag name="DATALABELS - VALUE" val="True"/>
  <p:tag name="DATALABELS - BACKGROUND" val="True"/>
  <p:tag name="MIO_SKIP_CDCHECK" val="true"/>
  <p:tag name="NA_EXTENSION_LIST_ADDED" val="yes."/>
  <p:tag name="EMPOWER DO NOT TRANSLATE" val="true"/>
  <p:tag name="METADATA - EXACTFONTSIZE" val="10"/>
  <p:tag name="DOWN_MIGRATION_INITIAL_LAYOUT_REQUIRED" val="9.2.99"/>
  <p:tag name="LAST_TOUCHED_CHARTS_VERSION" val="9.5"/>
  <p:tag name=" - MIN_VERSION_NEEDED" val="8.10.200.0"/>
  <p:tag name="RUNTIME_ID" val="36aa660b-ff79-42ae-894d-661c704cbfa5"/>
  <p:tag name="EMPOWERCHARTSPROPERTIES_A_0" val="AAAAAAH//////////wEAAAAAAAAAAAAAACoqIFRoaXMgaXMgYSBMaXRlREIgZmlsZSAqKgfDAV0AAABm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OAAAAAAAAAAZAAAACQAAAF9pZD0kLl9pZAEDAAAAAAADAAAAAQBSAAAACwAAAE5hbWU9JC5OYW1lAAQAAAAAAAQAAAABAFMAAAARAAAAVmVyc2lvbj0kLlZlcnNpb24ABQAAAAAABQAAAAEABQAAACMAAABDb21iaUluZGV4PSQuTmFtZSArICdfJyArICQuVmVyc2lvbgFlAAAAAABlAAAAAQBmAAAAAAAAAAD///////8AAAAAAAD/////AAAAAAD///////8AAAAAAAD/////AAAAAAD///////8AAAAAAAD/////AAAAAAD///////8AAAAAAAD/////AAAAAAD///////8AAAAAAAD/////AAAAAAD///////8AAAAAAAD/////AAAAAAD///////8AAAAAAAD/////AAAAAAD///////8AAAAAAAD/////AAAAAAD///////8AAAAAAAD/////AAAAAAD///////8AAAAAAAD/////AAAAAAD///////8AAAAAAAD/////AAAAAAD///////8AAA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QFBAEBAQEBAQEBAQEBAV4AAAAAAAAAAwAAAAP//////////zMACAAAAAAAAAAAAAAAIAD///////////////8AAAD///////////////8DAAAAAgD///////8DAAAAAgD///////8DAAAAAgD///////8DAAAADgD///////8DAAAADgD///////8DAAAADgD///////8DAAAAHAD///////////////////////////////////////////////////////////////////////////////////////////////////////////////////////////////////////////////////////////////////////////////////////////////////////////////////////////////////////////////////////////////////////////////////////////////////////////////////////////////////////////////////////////////////////////////////////////////////////////////8BACAA////////////////AAAO////////UgAAAAYA////////////////////////////////////////////////////////////////////////////////////////////////////////////////////////////////////////////////////////////////////////////////////////////////////////////////////////////////////////////////////////////////////////////////////////////////////////////////////////////////////////////////////////////////////////////////////////////////////////////////////////////////////////////////////////////////////////////////////////////////////////////////////////AgADAP///////2UAAAACABAAC0In0gDP6N9NmzezwaCnRngGAAAAAAADAAAAAAADAAAAAwADAAAAAAADAAAAAwADAAAAAAADAAAABwADAAIA////////ZQAAAAMAEAAL8FrFBz7LeEmTX4ThuCl+FAYAAAABAAMAAAACAAMAAAAEAAMAAAACAAMAAAAEAAQAAgD///////9lAAAABAAQAAuFQl0I9CtJRKuVG165oreTBgAAAAIAAwAAAAMAAwAAAAUAAwAAAAMAAwAAAAYABQABAP///////2UAAAAFABAACxjlAAvMYFlLgW9NsbZ2cxwGAAAAAwADAAAABAADAAAABgAGAAIA////////ZQAAAAYAEAALC+IjC8LqM06rFgz0g2XDigYAAAAEAAMAAAAFAAMAAAAHAAMAAAAEAAMAAAAHAAcAAwD///////9lAAAABwAQAAuqlGIPbPLvQJy6UWC9F33KBgAAAAUAAwAAAAYAAwAAAAgAAwAAAAYAAwAAAAsAAwAAAAIAAwAAAAsACAABAP///////2UAAAAIABAAC6jb1w9pMgVErO7G/ovNDYQGAAAABgADAAAABwADAAAACQAJAAEA////////ZQAAAAkAEAALGnVTEJAFhU+DhUCzoisuNBgAAAAAAAMAAAAIAAMAAAAKAAoAAQD///////9lAAAACgAQAAs1ZIkU5cRlSpTetccOR8NcGAAAAAEAAwAAAAkAAwAAAAsACwADAP///////2UAAAALABAAC58SsxVpbONEqJbdSdaIyxwYAAAAAgADAAAACgADAAAADAADAAAABwADAAAADQADAAAABwADAAAADQAMAAEA////////ZQAAAAwAEAALQvvhIImGeUGSBwwFgRtMhBgAAAADAAMAAAALAAMAAAANAA0AAwD///////9lAAAADQAQAAtQ08EkwLPJRKQw0a27IMYqGQAAAAAAAwAAAAwAAwAAAA4AAwAAAAsAAwAAAA4AAwAAAAsAAwAAAA4ADgAGAP///////2UAAAAOABAAC2nW2yd868hNti1ajCVvGCEaAAAAAAADAAAADQADAAAADwADAAAADQADAAAAEQADAAAADQADAAAAEQADAAAAAAADAAAAHAADAAAAAAADAAAAHAADAAAAAAADAAAAHAAPAAEA////////ZQAAAA8AEAALYawWKMhCREySj1cbnB8vwBkAAAABAAMAAAAOAAMAAAAQABAAAQD///////9lAAAAEAAQAAv5uc8o3+XwRYlizCea2hbUGQAAAAIAAwAAAA8AAwAAABEAEQADAP///////2UAAAARABAAC+sWFyxxkZZKmxQf70p11jgZAAAAAwADAAAAEAADAAAAEgADAAAADgADAAAAEgADAAAADgADAAAAEgASAAMA////////ZQAAABIAEAALMxm3LKRZpUe29HJ9EaUzJRsAAAAAAAMAAAARAAMAAAATAAMAAAARAAMAAAAUAAMAAAARAAMAAAAUABMAAQD///////9lAAAAEwAQAAswORs37cpAR6wBYLtptp9PGwAAAAEAAwAAABIAAwAAABQAFAADAP///////2UAAAAUABAAC2+49kOjIlxLtVojowPsH8obAAAAAgADAAAAEwADAAAAFQADAAAAEgADAAAAFwADAAAAEgADAAAAFwAVAAEA////////ZQAAABUAEAALLcF5SagfNk607hW8I5mbXxsAAAADAAMAAAAUAAMAAAAWABYAAQD///////9lAAAAFgAQAAv+yiFKfroWQbzsefmQmIjbGwAAAAQAAwAAABUAAwAAABcAFwADAP///////2UAAAAXABAAC12XMFxA4iVKq4TS9dDNdykfAAAAAAADAAAAFgADAAAAGAADAAAAFAADAAAAGAADAAAAFAADAAAAGQAYAAIA////////ZQAAABgAEAAL/IBMXJ90qkOjU8u1va+7/h8AAAABAAMAAAAXAAMAAAAZAAMAAAAXAAMAAAAZABkAAwD///////9lAAAAGQAQAAsZJYJc+uKgR5nh/VgmJZL2HwAAAAIAAwAAABgAAwAAABoAAwAAABgAAwAAABoAAwAAABcAAwAAABwAGgACAP///////2UAAAAaABAAC/R9m16xbwVPqAgzpHk9uMofAAAAAwADAAAAGQADAAAAGwADAAAAGQADAAAAHAAbAAEA////////ZQAAABsAEAALTcFPYhorU0O5U0Vx8VPNZiMAAAAAAAMAAAAaAAMAAAAcABwABwD///////9lAAAAHAAQAAsB7ohjkilxRpm5omvb+EbbJAAAAAAAAwAAABsAAwAAAB0AAwAAABoAAwAAAB4AAwAAABkAAwAAAB4AAwAAAA4AAwAAACQAAwAAAA4AAwAAADIAAwAAAA4AAwAAADIAAwAAAAAA////////HQABAP///////2UAAAAdABAACykM8WVH4nBJjPtCb1R2rWYkAAAAAQADAAAAHAADAAAAHgAeAAMA////////ZQAAAB4AEAALflv1ckcQu0S+fxS65/4ofyQAAAACAAMAAAAdAAMAAAAfAAMAAAAcAAMAAAAiAAMAAAAcAAMAAAAjAB8AAQD///////9lAAAAHwAQAAsryG52bnl8Rp/MyeTw207OJQAAAAAAAwAAAB4AAwAAACAAIAABAP///////2UAAAAgABAAC3arNHiRxGhKoWkAjofEDVUlAAAAAQADAAAAHwADAAAAIQAhAAEA////////ZQAAACEAEAALoyDye245jEypvSfQlq1acyUAAAACAAMAAAAgAAMAAAAiACIAAgD///////9lAAAAIgAQAAtY2xp8GBFsSpFfxhD/VEP0JQAAAAMAAwAAACEAAwAAACMAAwAAAB4AAwAAACMAIwADAP///////2UAAAAjABAAC1hii4Umn0FEqmRU+04AZWclAAAABAADAAAAIgADAAAAJAADAAAAIgADAAAAJAADAAAAHgADAAAAJAAkAAQA////////ZQAAACQAEAALqRg4jra+mUGutKI4wqS45SUAAAAFAAMAAAAjAAMAAAAlAAMAAAAjAAMAAAAlAAMAAAAjAAMAAAAlAAMAAAAcAAMAAAAyACUAAwD///////9lAAAAJQAQAAsf9niQt0ZHSZ97BJ3ISHfeJQAAAAYAAwAAACQAAwAAACYAAwAAACQAAwAAACcAAwAAACQAAwAAACcAJgABAP///////2UAAAAmABAACzxRkJMffzxMrQjpEChxAeAlAAAABwADAAAAJQADAAAAJwAnAAMA////////ZQAAACcAEAALS4WRnTQGy0uTl/gv8Xz25yUAAAAIAAMAAAAmAAMAAAAoAAMAAAAlAAMAAAApAAMAAAAlAAMAAAAyACgAAQD///////9lAAAAKAAQAAuk2iGeHB49RYp6pIsTfPlrJQAAAAkAAwAAACcAAwAAACkAKQACAP///////2UAAAApABAAC9zozKFzfE5GvERhAtoAgHwlAAAACgADAAAAKAADAAAAKgADAAAAJwADAAAAMAAqAAEA////////ZQAAACoAEAALAdGSqeEO4UOOmuyeny64MiUAAAALAAMAAAApAAMAAAArACsAAQD///////9lAAAAKwAQAAtHm3OuN8jCRL20NJI11bbNSwAAAAAAAwAAACoAAwAAACwALAABAP///////2UAAAAsABAAC8N2I7V51LFFmW5ZR1eqaDdLAAAAAQADAAAAKwADAAAALQAtAAEA////////ZQAAAC0AEAAL0qiPuHZQK0SiZgYjXQlDUEsAAAACAAMAAAAsAAMAAAAuAC4AAQD///////9lAAAALgAQAAsA87y4vclPSJobZIQ0x6jNSwAAAAMAAwAAAC0AAwAAAC8ALwABAP///////2UAAAAvABAAC95AbsEDFYdKg0OPqj7r4vJLAAAABAADAAAALgADAAAAMAAwAAIA////////ZQAAADAAEAALiOOF0FTeS0+QRsJRvZglu0sAAAAFAAMAAAAvAAMAAAAxAAMAAAApAAMAAAAxADEAAgD///////9mAAAAAAAQAAviqt7SqWWKRrzvQmwOzX4oSwAAAAYAAwAAADAAAwAAADIAAwAAADAAAwAAADIAMgAGAP///////2YAAAABABAAC2zgFdV0EelMkUfNwOdp8wNLAAAABwADAAAAMQBSAAAAAAADAAAAMQBSAAAAAgADAAAAJwD///////8DAAAAJAD///////8DAAAAHAD///////8DAAAAHAD///////8AAAAAAAAAAAQAAAAD//////////80AEMAAAAAAAAAAAAAACAB////////////////AAAA////////////////BAAAABMA////////BAAAAB4A////////BAAAABgA////////BAAAAB8A////////////////////////////////////////////////////////////////////////////////////////////////////////////////////////////////////////////////////////////////////////////////////////////////////////////////////////////////////////////////////////////////////////////////////////////////////////////////////////////////////////////////////////////////////////////////////////////////////////////////////////////////////////////////////////////////AQAgAf///////////////wAADv///////wQAAAASAP///////////////////////////////////////////////////////////////////////////////////////////////////////////////////////////////////////////////////////////////////////////////////////////////////////////////////////////////////////////////////////////////////////////////////////////////////////////////////////////////////////////////////////////////////////////////////////////////////////////////////////////////////////////////////////////////////////////////////////////////////////////////////////wIAAwEFAAAAAgD///////8eAAZQb2ludEFuZFNlcmllc1N0eWxlRGVmaW5pdGlvbnMGAAAAAAAEAAAAJQAEAAAAKAAEAAAAFgAEAAAAMAAEAAAAFgAEAAAAMAADAAEBBQAAAAMA////////DQAGTnVtYmVyRm9ybWF0cwYAAAABAAQAAAAHAAQAAAAmAAQAAgEFAAAABAD///////8aAAZBdXRvbWF0aWNCcmVha1NldHRpbmdzRGF0YQYAAAACAAQAAAAeAAQAAAAYAAQAAAAeAAQAAAAYAAUAAgEFAAAABQD///////8aAAZFeGNlbENvbG9yTW9kZURhdGFQcm9wZXJ0eQYAAAADAAQAAAAKAAQAAAArAAQAAAAdAAQAAAArAAYAAQEFAAAABgD///////8KAAZEYXRhTGFiZWxzBgAAAAQABAAAAB0ABAAAACMABwABAQUAAAAHAP///////wsABk1hcmtlcnNEYXRhBgAAAAUAUwAAAAEABAAAAAMACAABAQUAAAAIAP///////wgABk92ZXJsYXlzBgAAAAYABAAAACYABAAAAA0ACQABAQUAAAAJAP///////xkABlNoYXBlQ29uc3RydWN0ZWRDaGFydERhdGEYAAAAAAAEAAAAMwAEAAAACwAKAAEBBQAAAAoA////////CAAGRGF0YUxpbmsYAAAAAQBTAAAABAAEAAAABQALAAEBBQAAAAsA////////CQAGV2F0ZXJmYWxsGAAAAAIABAAAAAkABAAAABIADAABAQUAAAAMAP///////xMABkdsb2JhbENoYXJ0U2V0dGluZ3MYAAAAAwAEAAAADwAEAAAAGwANAAEBBQAAAA0A////////CAAGT3ZlcmxheXMZAAAAAAAEAAAACAAEAAAAFgAOAAMBBQAAAA4A////////DAAGQ29sb3JJbmRpY2VzGgAAAAAABAAAACQABAAAACkABAAAABAABAAAABwABAAAAB8ABAAAABwADwACAQUAAAAPAP///////xQABkdlbmVyYWxFeGNlbFNldHRpbmdzGQAAAAEABAAAACwABAAAAAwABAAAACsABAAAABsAEAACAQUAAAAQAP///////xwABkNoYXJ0U3R5bGVTdGF0dXNJbmZvcm1hdGlvbnMZAAAAAgAEAAAAHwAEAAAAFwAEAAAAHwAEAAAADgARAAEBBQAAABEA////////DAAGTGlua0RhdGFMaXN0GQAAAAMABAAAACIAUwAAAAEAEgACAQUAAAASAP///////wkABldhdGVyZmFsbBsAAAAAAAQAAAALAAQAAAABAAQAAAAzAP///////xMAAQEFAAAAEwD///////8SAAZBZGRpdGlvbmFsQXhpc0RhdGEbAAAAAQAEAAAAAAAEAAAAHgAUAAEBBQAAABQA////////CgAGTGVnZW5kRGF0YRsAAAACAAQAAAAxAAQAAAAiABUAAgEFAAAAFQD///////8KAAZTZXJpZXNEYXRhGwAAAAMABAAAADAABAAAACEABAAAADAABAAAACEAFgAEAQUAAAAWAP///////wgABk92ZXJsYXlzGwAAAAQABAAAAA0AUwAAAAUAUwAAAAEABAAAAAIABAAAACIABAAAAAIAUwAAAAMABAAAACEAFwABAQUAAAAXAP///////xwABkNoYXJ0U3R5bGVTdGF0dXNJbmZvcm1hdGlvbnMfAAAAAAAEAAAAEAAEAAAAJAAYAAMBBQAAABgA////////CAAGQXhlc0RhdGEfAAAAAQAEAAAABAAEAAAAIAAEAAAABAAEAAAAMgAEAAAAAAAEAAAAMgAZAAEBBQAAABkA////////EAAGR3JpZGxpbmVTZXR0aW5ncx8AAAACAAQAAAAbAFMAAAADABoAAQEFAAAAGgD///////8nAAZQb2ludEFuZFNlcmllc0FkZGl0aW9uU3R5bGVzRGVmaW5pdGlvbnMfAAAAAwAEAAAALQBTAAAAAAAbAAMBBQAAABsA////////EwAGR2xvYmFsQ2hhcnRTZXR0aW5ncyMAAAAAAAQAAAAMAAQAAAAZAAQAAAAPAFMAAAADAAQAAAArAFMAAAADABwAAwEFAAAAHAD///////8OAAZDb21tb25TZXR0aW5ncyQAAAAAAAQAAAApAAQAAAAdAAQAAAAOAAQAAAAdAAQAAAAOAAQAAAAdAB0AAwEFAAAAHQD///////8UAAZEYXRhQ2hhcnRDb0F1dGhvcmluZyQAAAABAAQAAAAcAAQAAAAGAAQAAAAcAAQAAAAFAAQAAAAcAAQAAAArAB4AAgEFAAAAHgD///////8SAAZBZGRpdGlvbmFsQXhpc0RhdGEkAAAAAgAEAAAAEwAEAAAABAAEAAAAAAAEAAAABAAfAAQBBQAAAB8A////////IQAGQ2F0ZWdvcnlMYWJlbFNldHRpbmdzRGF0YVByb3BlcnR5JQAAAAAABAAAAC4ABAAAABAABAAAAC4ABAAAABAABAAAADIABAAAAA4ABAAAAAAAUwAAAAMAIAABAQUAAAAgAP///////wgABkF4ZXNEYXRhJQAAAAEABAAAABgABAAAADIAIQAEAQUAAAAhAP///////wwABlNlcmllc0xhYmVscyUAAAACAAQAAAAVAAQAAAAqAAQAAAAVAAQAAAAqAAQAAAAwAP///////wQAAAAWAP///////yIAAwEFAAAAIgD///////8KAAZMZWdlbmREYXRhJQAAAAMABAAAABQABAAAABEAUwAAAAMAUwAAAAEAUwAAAAMABAAAABYAIwABAQUAAAAjAP///////woABkRhdGFMYWJlbHMlAAAABAAEAAAABgAEAAAAJwAkAAEBBQAAACQA////////EQAGQ29sb3JEYXRhUHJvcGVydHklAAAABQAEAAAAFwAEAAAADgAlAAEBBQAAACUA////////JAAGUG9pbnRBbmRTZXJpZXNNYXJrZXJTdHlsZURlZmluaXRpb25zJQAAAAYAUwAAAAAABAAAAAIAJgABAQUAAAAmAP///////w0ABk51bWJlckZvcm1hdHMlAAAABwAEAAAAAwAEAAAACAAnAAEBBQAAACcA////////CgAGRGF0YUxhYmVscyUAAAAIAAQAAAAjAFMAAAAEACgAAQEFAAAAKAD///////8eAAZQb2ludEFuZFNlcmllc1N0eWxlRGVmaW5pdGlvbnMlAAAACQAEAAAAAgAEAAAAMAApAAEBBQAAACkA////////EgAGQ29sdW1uU3Vtc1NldHRpbmdzJQAAAAoABAAAAA4ABAAAABwAKgACAQUAAAAqAP///////wwABlNlcmllc0xhYmVscyUAAAALAAQAAAAhAAQAAAAzAAQAAAAhAAQAAAAzACsAAwEFAAAAKwD///////8aAAZFeGNlbENvbG9yTW9kZURhdGFQcm9wZXJ0eUsAAAAAAAQAAAAFAAQAAAAsAAQAAAAFAAQAAAAPAAQAAAAdAAQAAAAbACwAAQEFAAAALAD///////8LAAZFeGNlbE1pcnJvcksAAAABAAQAAAArAAQAAAAPAC0AAQEFAAAALQD///////8OAAZQbG90QXJlYUJvcmRlcksAAAACAFMAAAACAAQAAAAaAC4AAgEFAAAALgD///////8YAAZDYXRlZ29yeUF4aXNEYXRhUHJvcGVydHlLAAAAAwAEAAAALwAEAAAAHwAEAAAAMgAEAAAAHwAvAAEBBQAAAC8A////////EwAGQnJlYWtNYW5hZ2VtZW50RGF0YUsAAAAEAAQAAAAyAAQAAAAuADAAAwEFAAAAMAD///////8eAAZQb2ludEFuZFNlcmllc1N0eWxlRGVmaW5pdGlvbnNLAAAABQAEAAAAKAAEAAAAFQAEAAAAAgAEAAAAFQAEAAAAAgAEAAAAIQAxAAEBBQAAADEA////////CwAGTGVhZGVyTGluZXNLAAAABgBTAAAAAwAEAAAAFAAyAAMBBQAAADIA////////HgAGQXp1cmVJbmZvcm1hdGlvblByb3RlY3Rpb25EYXRhSwAAAAcABAAAACAABAAAAC8ABAAAABgABAAAAC4ABAAAABgABAAAAB8AMwACAQUAAAAzAP///////wwABlNlcmllc0xhYmVsc0sAAAAIAAQAAAAqAAQAAAAJAAQAAAAqAAQAAAASAAAAAAAAAAAAAAAAAAAAAAAAAAAAAAAAAAAAAAAAAAAAAAAAAAAAAAAAAAAAAAAAAAAAAAAAAAAAAAAAAAAAAAAAAAAFAAAAAwAAAAD/////OgBNAQAAAAAAAAAAAAAgAv///////////////wAAAP///////////////wUAAAACAP///////wUAAAACAP///////wUAAAAEAP///////wUAAAAEAP///////wUAAAAEAP///////////////////////////////////////////////////////////////////////////////////////////////////////////////////////////////////////////////////////////////////////////////////////////////////////////////////////////////////////////////////////////////////////////////////////////////////////////////////////////////////////////////////////////////////////////////////////////////////////////////////////////////////////////////wEAIAL///////////////8AAA7///////8FAAAAIwD///////////////////////////////////////////////////////////////////////////////////////////////////////////////////////////////////////////////////////////////////////////////////////////////////////////////////////////////////////////////////////////////////////////////////////////////////////////////////////////////////////////////////////////////////////////////////////////////////////////////////////////////////////////////////////////////////////////////////////////////////////////////////////8CAAICZQAAAAIABAAAAAIABAACAAAAAAYAAAAAAAUAAAAAAAUAAAAEAAUAAAAAAAUAAAAEAAMAAgJlAAAAAwAEAAAAAwAEAAICAAAABgAAAAEABQAAADAABQAAAA4ABQAAACYABQAAACsABAAFAmUAAAAEAAQAAAAEAAQAAgAAAAAGAAAAAgAFAAAAAgAFAAAACQAFAAAAAgAFAAAACQAFAAAAAAAFAAAACQAFAAAAAAAFAAAACwAFAAAAAAAFAAAACwAFAAECZQAAAAUABAAAAAUABAACAQAAAAYAAAADAAUAAAA3AAUAAAAHAAYAAgJlAAAABgAEAAAABgAEAAIIAAAABgAAAAQABQAAACcABQAAADkABQAAAAgABQAAADkABwABAmUAAAAHAAQAAAAHAAQAAgEAAAAGAAAABQAFAAAABQAFAAAACgAIAAICZQAAAAgABAAAAAgABAACBwAAAAYAAAAGAAUAAAA4AAUAAAAnAAUAAAAhAAUAAAAGAAkAAwJlAAAACQAEAAAACQAEAAIAAAAAGAAAAAAABQAAAAQABQAAAAsABQAAAAQABQAAAAsABQAAAAQABQAAAAsACgABAmUAAAAKAAQAAAAKAAQAAgEAAAAYAAAAAQAFAAAABwAFAAAAEAALAAUCZQAAAAsABAAAAAsABAACAAAAABgAAAACAAUAAAAJAAUAAAAPAAUAAAAJAAUAAAAVAAUAAAAJAAUAAAAkAAUAAAAEAAUAAAAvAAUAAAAEAAUAAAAyAAwAAgJlAAAADAAEAAAADAAEAAIFAAAAGAAAAAMABQAAACoABQAAAA0ABQAAABsABQAAAA0ADQACAmUAAAANAAQAAAANAAQAAgUAAAAZAAAAAAAFAAAADAAFAAAAIAAFAAAADAAFAAAAIQAOAAECZQAAAA4ABAAAAA4ABAACAgAAABoAAAAAAAUAAAADAAUAAAAiAA8AAQJlAAAADwAEAAAADwAEAAIAAAAAGQAAAAEABQAAAAsABQAAABUAEAADAmUAAAAQAAQAAAAQAAQAAgEAAAAZAAAAAgAFAAAACgAFAAAAEQAFAAAANwAFAAAAEQAFAAAANwAFAAAAEwARAAICZQAAABEABAAAABEABAACAQAAABkAAAADAAUAAAAQAAUAAAASAAUAAAAQAAUAAAATABIAAQJlAAAAEgAEAAAAEgAEAAIBAAAAGwAAAAAABQAAABEABQAAABMAEwADAmUAAAATAAQAAAATAAQAAgEAAAAbAAAAAQAFAAAAEgAFAAAAFAAFAAAAEQAFAAAAFAAFAAAAEAAFAAAAFAAUAAMCZQAAABQABAAAABQABAACAQAAABsAAAACAAUAAAATAAUAAAAZAAUAAAATAAUAAAAZAAUAAAATAAUAAAAbABUAAgJlAAAAFQAEAAAAFQAEAAIAAAAAGwAAAAMABQAAAA8ABQAAABcABQAAAAsABQAAAB0AFgABAmUAAAAWAAQAAAAWAAQAAgYAAAAbAAAABAAFAAAAIQAFAAAAOAAXAAECZQAAABcABAAAABcABAACAAAAAB8AAAAAAAUAAAAVAAUAAAAcABgAAgJlAAAAGAAEAAAAGAAEAAIEAAAAHwAAAAEABQAAADMABQAAABsABQAAADMABQAAABsAGQACAmUAAAAZAAQAAAAZAAQAAgEAAAAfAAAAAgAFAAAAFAAFAAAAGgAFAAAAFAAFAAAAJgAaAAECZQAAABoABAAAABoABAACAQAAAB8AAAADAAUAAAAZAAUAAAAmABsABAJlAAAAGwAEAAAAGwAEAAIEAAAAIwAAAAAABQAAABgABQAAACoABQAAABgABQAAAAwABQAAABQABQAAACEABQAAADIA////////HAABAmUAAAAcAAQAAAAcAAQAAgAAAAAkAAAAAAAFAAAAFwAFAAAAHQAdAAICZQAAAB0ABAAAAB0ABAACAAAAACQAAAABAAUAAAAcAAUAAAAeAAUAAAAVAAUAAAAkAB4AAQJlAAAAHgAEAAAAHgAEAAIAAAAAJAAAAAIABQAAAB0ABQAAAB8AHwABAmUAAAAfAAQAAAAfAAQAAgAAAAAlAAAAAAAFAAAAHgAFAAAAJAAgAAECZQAAACAABAAAACAABAACBQAAACUAAAABAAUAAAANAAUAAAAhACEAAwJlAAAAIQAEAAAAIQAEAAIFAAAAJQAAAAIABQAAACAABQAAABYABQAAAA0ABQAAAAgABQAAABsA////////IgABAmUAAAAiAAQAAAAiAAQAAgIAAAAlAAAAAwAFAAAADgAFAAAAKAAjAAECZQAAACMABAAAACMABAACCQAAACUAAAAEAAUAAAA5AAUAAAABACQAAwJlAAAAJAAEAAAAJAAEAAIAAAAAJQAAAAUABQAAAB8ABQAAACUABQAAAB0ABQAAACUABQAAAAsABQAAAC8AJQACAmUAAAAlAAQAAAAlAAQAAgAAAAAlAAAABgAFAAAAJAAFAAAAKQAFAAAAJAAFAAAAKQAmAAICZQAAACYABAAAACYABAACAQAAACUAAAAHAAUAAAAaAAUAAAAsAAUAAAAZAAUAAAADACcAAQJlAAAAJwAEAAAAJwAEAAIHAAAAJQAAAAgABQAAAAgABQAAAAYAKAABAmUAAAAoAAQAAAAoAAQAAgIAAAAlAAAACQAFAAAAIgAFAAAAKwApAAICZQAAACkABAAAACkABAACAAAAACUAAAAKAAUAAAAlAAUAAAAtAAUAAAAlAAUAAAAvACoAAQJlAAAAKgAEAAAAKgAEAAIEAAAAJQAAAAsABQAAABsABQAAAAwAKwACAmUAAAArAAQAAAArAAQAAgIAAABLAAAAAAAFAAAAKAAFAAAAMwAFAAAAAwAFAAAAMwAsAAECZQAAACwABAAAACwABAACAQAAAEsAAAABAAUAAAAmAAUAAAAuAC0AAQJlAAAALQAEAAAALQAEAAIAAAAASwAAAAIABQAAACkABQAAAC8ALgABAmUAAAAuAAQAAAAuAAQAAgEAAABLAAAAAwAFAAAALAAFAAAAMAAvAAQCZQAAAC8ABAAAAC8ABAACAAAAAEsAAAAEAAUAAAAtAAUAAAAxAAUAAAApAAUAAAAxAAUAAAAkAAUAAAAxAAUAAAALAAUAAAAyADAAAQJlAAAAMAAEAAAAMAAEAAIBAAAASwAAAAUABQAAAC4ABQAAAAMAMQADAmYAAAAAAAQAAAAxAAQAAgAAAABLAAAABgAFAAAALwAFAAAAMgAFAAAALwAFAAAAMgAFAAAALwAFAAAAMgAyAAUCZgAAAAEABAAAADIABAACAAAAAEsAAAAHAAUAAAAxAAUAAAA0AAUAAAAxAAUAAAA1AAUAAAAxAAUAAAA3AAUAAAAvAAUAAAAbAAUAAAALAP///////zMAAgJmAAAAAgAEAAAAMwAEAAIDAAAASwAAAAgABQAAACsABQAAABgABQAAACsABQAAABgANAABAmYAAAADAFMAAAAAAAQAAgAAAABLAAAACQAFAAAAMgAFAAAANQA1AAICZgAAAAQAUwAAAAEABAACAAAAAFQAAAAAAAUAAAA0AAUAAAA2AAUAAAAyAAUAAAA3ADYAAQJmAAAABQBTAAAAAgAEAAIAAAAAVAAAAAEABQAAADUABQAAADcANwADAmYAAAAGAFMAAAADAAQAAgAAAABUAAAAAgAFAAAANgAFAAAABQAFAAAANQAFAAAAEAAFAAAAMgAFAAAAEAA4AAECZgAAAAcAUwAAAAQABAACBgAAAFQAAAADAAUAAAAWAAUAAAAIADkAAgJmAAAACABTAAAABQAEAAIIAAAAZAAAAAAABQAAAAYABQAAACMABQAAAAY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AAAAT//////////wcAbQMAAAAAAAAAAAAA/////3oBegEAAAVfaWQAEAAAAARCJ9IAz+jfTZs3s8Ggp0Z4A0RhdGEADAEAAARQb2ludENvbG9yc1N0eWxlAAUAAAAAA1Nlcmllc0NvbG9yc1N0eWxlAN0AAAADMQDVAAAAEFNlcmllc0luZGV4AAEAAAADUHJpbWFyeUNvbG9yU3R5bGUArAAAAAJDb2xvclByb3BlcnR5VGFyZ2V0AAgAAABQcmltYXJ5AANDb2xvck9yVGhlbWVDb2xvcgBzAAAAEFRoZW1lQ29sb3IABQAAAAFUaW50QW5kU2hhZGUAAAAAAAAAAAAQVGludEluZGV4AP////8QU2NoZW1lQ29sb3IAAAAAAANDb2xvcgAhAAAAEEEA/wAAABBSAMcAAAAQRwAqAAAAEEIANAAAAAAAAAAAAAJOYW1lAB8AAABQb2ludEFuZFNlcmllc1N0eWxlRGVmaW5pdGlvbnMAEFZlcnNpb24AAAAAAAlMYXN0V3JpdGUAbCdvNZcBAAAAAQD/////kQKRAgAABV9pZAAQAAAABPBaxQc+y3hJk1+E4bgpfhQDRGF0YQA0AgAAA051bWJlckZvcm1hdFZhbHVlU3RyaW5ncwAVAgAAAk51bWJlckZvcm1hdElkUHJpbWFyeUNhdGVnb3J5ACUAAAAwMDAwMDAwMC0wMDAwLTAwMDAtMDAwMC0wMDAwMDAwMDAwMDAAAkFyaXRobWV0aWNPcGVyYXRpb25JZFByaW1hcnlDYXRlZ29yeQAlAAAAOWU4MWU0NDEtNTc1MC00YmZjLWJlNmEtMTFlMjQxODc3MjFmAAJQZXJjZW50Rm9ybWF0SWRQcmltYXJ5Q2F0ZWdvcnkAAwAAADAlAAJOdW1iZXJGb3JtYXRJZFByaW1hcnkAJQAAADAwMDAwMDAwLTAwMDAtMDAwMC0wMDAwLTAwMDAwMDAwMDAwMAACQXJpdGhtZXRpY09wZXJhdGlvbklkUHJpbWFyeQAlAAAAOWU4MWU0NDEtNTc1MC00YmZjLWJlNmEtMTFlMjQxODc3MjFmAAJQZXJjZW50Rm9ybWF0SWRQcmltYXJ5AAMAAAAwJQACTnVtYmVyRm9ybWF0SWRTZWNvbmRhcnkAJQAAADAwMDAwMDAwLTAwMDAtMDAwMC0wMDAwLTAwMDAwMDAwMDAwMAACQXJpdGhtZXRpY09wZXJhdGlvbklkU2Vjb25kYXJ5ACUAAAA5ZTgxZTQ0MS01NzUwLTRiZmMtYmU2YS0xMWUyNDE4NzcyMWYAAlBlcmNlbnRGb3JtYXRJZFNlY29uZGFyeQADAAAAMCUAAAACTmFtZQAOAAAATnVtYmVyRm9ybWF0cwAQVmVyc2lvbgACAAAACUxhc3RXcml0ZQBa1Ww1lwEAAAACAP////+ZAJkAAAAFX2lkABAAAAAEhUJdCPQrSUSrlRteuaK3kwNEYXRhAC8AAAAISXNBY3RpdmUAAARVbmJyZWFrYWJsZVNlcmllc0luZGljZXMABQAAAAAAAk5hbWUAGwAAAEF1dG9tYXRpY0JyZWFrU2V0dGluZ3NEYXRhABBWZXJzaW9uAAAAAAAJTGFzdFdyaXRlAF3b2dJwAQAAAAMA/////0EHQQcAAAVfaWQAEAAAAAQY5QALzGBZS4FvTbG2dnMcA0RhdGEA1wYAAAhFeGNlbENvbG9yTW9kZUFjdGl2ZQAACENvbG9yQ2FjaGVSZXBhaXJlZEZvckxpbmtlZENoYXJ0cwAABENvbG9yQ2FjaGUAiwYAAAMwAIgAAAADQ2VsbEFkZHJlc3MAGgAAABBSb3cAAAAAABBDb2x1bW4AAAAAAAADQ29sb3IAVQAAABBBAP8AAAAQUgCmAAAAEEcApgAAABBCAKYAAAABU2NBAAAAAAAAAPA/AVNjUgAAAABgpWfYPwFTY0cAAAAAYKVn2D8BU2NCAAAAAGClZ9g/AAADMQCIAAAAA0NlbGxBZGRyZXNzABoAAAAQUm93AAAAAAAQQ29sdW1uAAEAAAAAA0NvbG9yAFUAAAAQQQD/AAAAEFIApgAAABBHAKYAAAAQQgCmAAAAAVNjQQAAAAAAAADwPwFTY1IAAAAAYKVn2D8BU2NHAAAAAGClZ9g/AVNjQgAAAABgpWfYPwAAAzIAiAAAAANDZWxsQWRkcmVzcwAaAAAAEFJvdwAAAAAAEENvbHVtbgACAAAAAANDb2xvcgBVAAAAEEEA/wAAABBSAKYAAAAQRwCmAAAAEEIApgAAAAFTY0EAAAAAAAAA8D8BU2NSAAAAAGClZ9g/AVNjRwAAAABgpWfYPwFTY0IAAAAAYKVn2D8AAAMzAIgAAAADQ2VsbEFkZHJlc3MAGgAAABBSb3cAAAAAABBDb2x1bW4AAwAAAAADQ29sb3IAVQAAABBBAP8AAAAQUgCmAAAAEEcApgAAABBCAKYAAAABU2NBAAAAAAAAAPA/AVNjUgAAAABgpWfYPwFTY0cAAAAAYKVn2D8BU2NCAAAAAGClZ9g/AAADNACIAAAAA0NlbGxBZGRyZXNzABoAAAAQUm93AAEAAAAQQ29sdW1uAAAAAAAAA0NvbG9yAFUAAAAQQQD/AAAAEFIA3QAAABBHAN0AAAAQQgDdAAAAAVNjQQAAAAAAAADwPwFTY1IAAAAAgEQj5z8BU2NHAAAAAIBEI+c/AVNjQgAAAACARCPnPwAAAzUAiAAAAANDZWxsQWRkcmVzcwAaAAAAEFJvdwABAAAAEENvbHVtbgABAAAAAANDb2xvcgBVAAAAEEEAAAAAABBSAP8AAAAQRwD/AAAAEEIA/wAAAAFTY0EAAAAAAAAAAAABU2NSAAAAAAAAAPA/AVNjRwAAAAAAAADwPwFTY0IAAAAAAAAA8D8AAAM2AIgAAAADQ2VsbEFkZHJlc3MAGgAAABBSb3cAAQAAABBDb2x1bW4AAgAAAAADQ29sb3IAVQAAABBBAAAAAAAQUgD/AAAAEEcA/wAAABBCAP8AAAABU2NBAAAAAAAAAAAAAVNjUgAAAAAAAADwPwFTY0cAAAAAAAAA8D8BU2NCAAAAAAAAAPA/AAADNwCIAAAAA0NlbGxBZGRyZXNzABoAAAAQUm93AAEAAAAQQ29sdW1uAAMAAAAAA0NvbG9yAFUAAAAQQQAAAAAAEFIA/wAAABBHAP8AAAAQQgD/AAAAAVNjQQAAAAAAAAAAAAFTY1IAAAAAAAAA8D8BU2NHAAAAAAAAAPA/AVNjQgAAAAAAAADwPwAAAzgAiAAAAANDZWxsQWRkcmVzcwAaAAAAEFJvdwACAAAAEENvbHVtbgAAAAAAAANDb2xvcgBVAAAAEEEA/wAAABBSAN0AAAAQRwDdAAAAEEIA3QAAAAFTY0EAAAAAAAAA8D8BU2NSAAAAAIBEI+c/AVNjRwAAAACARCPnPwFTY0IAAAAAgEQj5z8AAAM5AIgAAAADQ2VsbEFkZHJlc3MAGgAAABBSb3cAAgAAABBDb2x1bW4AAQAAAAADQ29sb3IAVQAAABBBAAAAAAAQUgD/AAAAEEcA/wAAABBCAP8AAAABU2NBAAAAAAAAAAAAAVNjUgAAAAAAAADwPwFTY0cAAAAAAAAA8D8BU2NCAAAAAAAAAPA/AAADMTAAiAAAAANDZWxsQWRkcmVzcwAaAAAAEFJvdwACAAAAEENvbHVtbgACAAAAAANDb2xvcgBVAAAAEEEAAAAAABBSAP8AAAAQRwD/AAAAEEIA/wAAAAFTY0EAAAAAAAAAAAABU2NSAAAAAAAAAPA/AVNjRwAAAAAAAADwPwFTY0IAAAAAAAAA8D8AAAMxMQCIAAAAA0NlbGxBZGRyZXNzABoAAAAQUm93AAIAAAAQQ29sdW1uAAMAAAAAA0NvbG9yAFUAAAAQQQAAAAAAEFIA/wAAABBHAP8AAAAQQgD/AAAAAVNjQQAAAAAAAAAAAAFTY1IAAAAAAAAA8D8BU2NHAAAAAAAAAPA/AVNjQgAAAAAAAADwPwAAAAACTmFtZQAbAAAARXhjZWxDb2xvck1vZGVEYXRhUHJvcGVydHkAEFZlcnNpb24AAQAAAAlMYXN0V3JpdGUA33JsNZcBAAAABAAHAAAAAAAFABYAAAAAAAYA/////10AXQAAAAVfaWQAEAAAAASo29cPaTIFRKzuxv6LzQ2EBERhdGEABQAAAAACTmFtZQAJAAAAT3ZlcmxheXMAEFZlcnNpb24ABwAAAAlMYXN0V3JpdGUAaBxs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F/////wgAAADnDwAAAAAAAAAAAACJRwAABV9pZAAQAAAABAviIwvC6jNOqxYM9INlw4oDRGF0YQAvRwAAA0RhdGFMYWJlbHNQZXJBeGlzAPhGAAADUHJpbWFyeQC5RAAABERhdGFMYWJlbHMAmEIAAAMwAC4WAAAQUG9pbnRJbmRleAABAAAAAkFsaWdubWVudAAHAAAAQ2VudGVyABBTZXJpZXNJbmRleAABAAAACFJlcXVpcmVGb250Q29sb3JNaWdyYXRpb24AAAhNYW51YWxEYXRhTGFiZWxCYWNrZ3JvdW5kVmlzaWJsZQAACEhhc1dpc2hDb2xvcgAAA1RleHRCb3gAvAYAAAVNYW5hZ2VkSWQAEAAAAAT1CbusM3cjR4h1mWdf5dUtCEhhc0NoYW5nZXMAAAhVc2VOYW1lSW5zdGVhZE9mVGFnQXNJZAABCFNoYXBlUHJldmlvdXNseUNyZWF0ZWQAAQNGaWxsQ29sb3IAVQAAABBBAP8AAAAQUgD7AAAAEEcAugAAABBCALkAAAABU2NBAAAAAAAAAPA/AVNjUgAAAADAtd7uPwFTY0cAAAAA4OJs3z8BU2NCAAAAAGCyDN8/ABBGaWxsVGhlbWVDb2xvcgAH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AAAADQ2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QAAAA0NiUAAUhlaWdodAAAAACgIp4qQAFXaWR0aAAAAABA1PE2QAFUb3AAAAAAgO9yTEABTGVmdAAAAADAWoZH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HxW4wPzvIJOqajJ5yyr/ks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RcpKpOfpj+S4BpRbph//J4CEhhc0NoYW5nZXMAAQhVc2VOYW1lSW5zdGVhZE9mVGFnQXNJZAABCFNoYXBlUHJldmlvdXNseUNyZWF0ZWQAAANGaWxsQ29sb3IAVQAAABBBAAAAAAAQUgAAAAAAEEcAAAAAABBCAAAAAAABU2NBAAAAAAAAAPC/AVNjUgAAAAAAAADwvwFTY0cAAAAIAAAABQcAAAAJAAAA5w8AAAAAAAAA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NDPQk1AAVkAAAAAbGtUT0AACEhhc0xlYWRlckxpbmUAAAhJc0NlbnRlckF1dG9tYXRpY0FkanVzdGVkAAAISXNVc2VyUG9zaXRpb24AAAhBZGRQcmVmaXhTcGFjZQAACEFkZFBvc3RmaXhTcGFjZQAAAlNlcGFyYXRvcgACAAAACgACVGV4dAAEAAAANDYlAAhSZXF1aXJlUmVsYXRpdmVQb3NpdGlvblVwZ3JhZGUAAAhJc0dlb21ldHJ5T3V0T2ZCb3VuZHMAAAhJc0xlYWRlckxpbmVJbkF1dG9Nb2RlAAEIRGVsZXRlZAAAAAMxAC4WAAAQUG9pbnRJbmRleAACAAAAAkFsaWdubWVudAAHAAAAQ2VudGVyABBTZXJpZXNJbmRleAABAAAACFJlcXVpcmVGb250Q29sb3JNaWdyYXRpb24AAAhNYW51YWxEYXRhTGFiZWxCYWNrZ3JvdW5kVmlzaWJsZQAACEhhc1dpc2hDb2xvcgAAA1RleHRCb3gAvAYAAAVNYW5hZ2VkSWQAEAAAAASvh9K1M3nNSalCW06P+pskCEhhc0NoYW5nZXMAAAhVc2VOYW1lSW5zdGVhZE9mVGFnQXNJZAABCFNoYXBlUHJldmlvdXNseUNyZWF0ZWQAAQNGaWxsQ29sb3IAVQAAABBBAP8AAAAQUgD7AAAAEEcAugAAABBCALkAAAABU2NBAAAAAAAAAPA/AVNjUgAAAADAtd7uPwFTY0cAAAAA4OJs3z8BU2NCAAAAAGCyDN8/ABBGaWxsVGhlbWVDb2xvcgAH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AAAADIw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QAAAAyMCUAAUhlaWdodAAAAACgIp4qQAFXaWR0aAAAAABA1PE2QAFUb3AAAAAA4NHfVUABTGVmdAAAAAAA/oJk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PkPkNY+/FJNmN6T/mvAF3A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CQAAAAUIAAAACgAAAOcPAAAA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AAAAAAAVkAAAAAAAAAAAAAA0VuZAAbAAAAAVgAAAAAAAAAAAABWQAAAAAAAAAAAAACU3RhcnRBcnJvd0hlYWQAEQAAAG1zb0Fycm93aGVhZE5vbmUAAkVuZEFycm93SGVhZAARAAAAbXNvQXJyb3doZWFkTm9uZQAFTWFuYWdlZElkABAAAAAEO8FO5tcEA0i8FvED9i45r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EQb8mVAAVkAAAAA1o9QV0AACEhhc0xlYWRlckxpbmUAAAhJc0NlbnRlckF1dG9tYXRpY0FkanVzdGVkAAAISXNVc2VyUG9zaXRpb24AAAhBZGRQcmVmaXhTcGFjZQAACEFkZFBvc3RmaXhTcGFjZQAAAlNlcGFyYXRvcgACAAAACgACVGV4dAAEAAAAMjAlAAhSZXF1aXJlUmVsYXRpdmVQb3NpdGlvblVwZ3JhZGUAAAhJc0dlb21ldHJ5T3V0T2ZCb3VuZHMAAAhJc0xlYWRlckxpbmVJbkF1dG9Nb2RlAAEIRGVsZXRlZAAAAAMyAC4WAAAQUG9pbnRJbmRleAADAAAAAkFsaWdubWVudAAHAAAAQ2VudGVyABBTZXJpZXNJbmRleAABAAAACFJlcXVpcmVGb250Q29sb3JNaWdyYXRpb24AAAhNYW51YWxEYXRhTGFiZWxCYWNrZ3JvdW5kVmlzaWJsZQAACEhhc1dpc2hDb2xvcgAAA1RleHRCb3gAvAYAAAVNYW5hZ2VkSWQAEAAAAASAdbPdFCuFSoB+o5XW5YSMCEhhc0NoYW5nZXMAAAhVc2VOYW1lSW5zdGVhZE9mVGFnQXNJZAABCFNoYXBlUHJldmlvdXNseUNyZWF0ZWQAAQNGaWxsQ29sb3IAVQAAABBBAP8AAAAQUgD7AAAAEEcAugAAABBCALkAAAABU2NBAAAAAAAAAPA/AVNjUgAAAADAtd7uPwFTY0cAAAAA4OJs3z8BU2NCAAAAAGCyDN8/ABBGaWxsVGhlbWVDb2xvcgAH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AAAADM1JQACVGV4dEhvcml6b250YWxBbGlnbm1lbnQAEAAAAG1zb0FuY2hvckNlbnRlcgACUGFyYWdyYXBoQWxpZ25tZW50AA8AAABtc29BbGlnbkNlbnRlcgACVGV4dFZlcnRpY2FsQWxpZ25tZW50ABAAAABtc29BbmNob3JNaWRkbAoAAAAFCQAAAAsAAADnDwAAAAAAAAAAAAB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EAAAAMzUlAAFIZWlnaHQAAAAAoCKeKkABV2lkdGgAAAAAQNTxNkABVG9wAAAAACAAdlFAAUxlZnQAAAAAoDKSc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TBGeJrEeGVR7GaV6u0WMuI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AAAAAAAVkAAAAAAAAAAAAAA0VuZAAbAAAAAVgAAAAAAAAAAAABWQAAAAAAAAAAAAACU3RhcnRBcnJvd0hlYWQAEQAAAG1zb0Fycm93aGVhZE5vbmUAAkVuZEFycm93SGVhZAARAAAAbXNvQXJyb3doZWFkTm9uZQAFTWFuYWdlZElkABAAAAAEbp6iXWtIZUuRrzt4MBH9Kg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LAAAABQoAAAD/////7Qf6BwAAAAAA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BCwUlyQAFZAAAAABa+5lJAAAhIYXNMZWFkZXJMaW5lAAAISXNDZW50ZXJBdXRvbWF0aWNBZGp1c3RlZAAACElzVXNlclBvc2l0aW9uAAAIQWRkUHJlZml4U3BhY2UAAAhBZGRQb3N0Zml4U3BhY2UAAAJTZXBhcmF0b3IAAgAAAAoAAlRleHQABAAAADM1JQAIUmVxdWlyZVJlbGF0aXZlUG9zaXRpb25VcGdyYWRlAAAISXNHZW9tZXRyeU91dE9mQm91bmRzAAAISXNMZWFkZXJMaW5lSW5BdXRvTW9kZQABCERlbGV0ZWQ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xhYmVsc1Zpc2libGUAAQhBdXRvbWF0aWNMYWJlbEJhY2tncm91bmRzRW5hYmxlZAAAAANTZWNvbmRhcnkAJgIAAAREYXRhTGFiZWxzAAU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xhYmVsc1Zpc2libGUAAQhBdXRvbWF0aWNMYWJlbEJhY2tncm91bmRzRW5hYmxlZAAAAAAIRGlzYWJsZUF1dG9tYXRpY0RlYWN0aXZhdGlvbgAAAAJOYW1lAAsAAABEYXRhTGFiZWxzABBWZXJzaW9uAAgAAAAJTGFzdFdyaXRlAHEyrj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AAAAAANAAAAHg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0AAAAADgAAAAw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OAAAAAA8AAAAN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wAAAABBAAAADg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AAAAAEQAAAFE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AAAAABIAAAAQ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gAAAAATAAAAEQ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MAAAAAFAAAABI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UAAAAABUAAAAT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QAAAABFAAAAFA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YAAAAF/////xcAAADnDwAAAAAAAAAAAADHFAAABV9pZAAQAAAABKqUYg9s8u9AnLpRYL0XfcoDRGF0YQBsFAAAA1Nlcmllc1N0eWxlcwDLAgAAAzEAYAEAAAJTdHlsZQASAAAAeGxNYXJrZXJTdHlsZU5vbmUAEFNpemUACAAAAANDb2xvcgBVAAAAEEEA/wAAABBSABIAAAAQRwA/AAAAEEIAbgAAAAFTY0EAAAAAAAAA8D8BU2NSAAAAAECpxng/AVNjRwAAAACgI3OpPwFTY0IAAAAAAGb1wz8AAVRpbnQAAAAAAAAAAAADVGhlbWVDb2xvclBvc2l0aW9uALYAAAACX3R5cGUAUQAAAGVtcG93ZXIuQ2hhcnRzLkNvbW1vbi5Db2xvclRyYW5zbGF0aW9uLlRoZW1lQ29sb3JQb3NpdGlvbiwgZW1wb3dlci5DaGFydHMuQ29tbW9uABBUaGVtZUNvbG9yU2NoZW1lSW5kZXgABQAAAAJJbmRleAAHAAAATm9UaW50AAhJc0RlZmF1bHRDb2xvcgAAEERlZmF1bHRDb2xvckluZGV4AP////8AAAMyAGABAAACU3R5bGUAEgAAAHhsTWFya2VyU3R5bGVOb25lABBTaXplAAgAAAADQ29sb3IAVQAAABBBAP8AAAAQUgCFAAAAEEcAmwAAABBCALMAAAABU2NBAAAAAAAAAPA/AVNjUgAAAADgwAXOPwFTY0cAAAAAAFH61D8BU2NCAAAAAKCs2dw/AAFUaW50AAAAAAAAAAAAA1RoZW1lQ29sb3JQb3NpdGlvbgC2AAAAAl90eXBlAFEAAABlbXBvd2VyLkNoYXJ0cy5Db21tb24uQ29sb3JUcmFuc2xhdGlvbi5UaGVtZUNvbG9yUG9zaXRpb24sIGVtcG93ZXIuQ2hhcnRzLkNvbW1vbgAQVGhlbWVDb2xvclNjaGVtZUluZGV4AAYAAAACSW5kZXgABwAAAE5vVGludAAISXNEZWZhdWx0Q29sb3IAABBEZWZhdWx0Q29sb3JJbmRleAD/////AAAABFBvaW50U3R5bGVzAEkRAAADMAC3AQAAA1BvaW50QWRkcmVzcwAzAAAAEFNlcmllc0luZGV4AAEAAAAQUG9pbnRJbmRleAABAAAACElzUG9pbnRTdW0AAAADTWFya2VyU3R5bGVEYXRhAGABAAACU3R5bGUAEgAAAHhsTWFya2VyU3R5bGVOb25lABBTaXplAAgAAAADQ29sb3IAVQAAABBBAP8AAAAQUgASAAAAEEcAPwAAABBCAG4AAAABU2NBAAAAAAAAAPA/AVNjUgAAAABAqcZ4PwFTY0cAAAAAoCNzqT8BU2NCAAAAAABm9cM/AAFUaW50AAAAAAAAAAAAA1RoZW1lQ29sb3JQb3NpdGlvbgC2AAAAAl90eXBlAFEAAABlbXBvd2VyLkNoYXJ0cy5Db21tb24uQ29sb3JUcmFuc2xhdGlvbi5UaGVtZUNvbG9yUG9zaXRpb24sIGVtcG93ZXIuQ2hhcnRzLkNvbW1vbgAQVGhlbWVDb2xvclNjaGVtZUluZGV4AAUAAAACSW5kZXgABwAAAE5vVGludAAISXNEZWZhdWx0Q29sb3IAABBEZWZhdWx0Q29sb3JJbmRleAD/////AAAAAzEAtwEAAANQb2ludEFkZHJlc3MAMwAAABBTZXJpZXNJbmRleAABAAAAEFBvaW50SW5kZXgAAgAAAAhJc1BvaW50U3VtAAAAA01hcmtlclN0eWxlRGF0YQBgAQAAAlN0eWxlABIAAAB4bE1hcmtlclN0eWxlTm9uZQAQU2l6ZQAIAAAAA0NvbG9yAFUAAAAQQQD/AAAAEFIAEgAAABBHAD8AAAAQQgBuAAAAAVNjQQAAAAAAAADwPwFTY1IAAAAAQKnGeD8BU2NHAAAAAKAjc6k/AVNjQgAAAAAAZvXDPwABVGludAAAAAAAAAAAAANUaGVtZUNvbG9yUG9zaXRpb24AtgAAAAJfdHlwZQBRAAAAZW1wb3dlci5DaGFydHMuQ29tbW9uLkNvbG9yVHJhbnNsYXRpb24uVGhlbWVDb2xvclBvc2l0aW9uLCBlbXBvd2VyLkNoYXJ0cy5Db21tb24AEFRoZW1lQ29sb3JTY2hlbWVJbmRleAAFAAAAAkluZGV4AAcAAABOb1RpbnQACElzRGVmYXVsdENvbG9yAAAQRGVmYXVsdENvbG9ySW5kZXgA/////wAAAAMyALcBAAADUG9pbnRBZGRyZXNzADMAAAAQU2VyaWVzSW5kZXgAAQAAABBQb2ludEluZGV4AAMAAAAISXNQb2ludFN1bQAAAANNYXJrZXJTdHlsZURhdGEAYAEAAAJTdHlsZQASAAAAeGxNYXJrZXJTdHlsZU5vbmUAEFNpemUACAAAAANDb2xvcgBVAAAAEEEA/wAAABBSABIAAAAQRwA/AAAAEEIAbgAAAAFTY0EAAAAAAAAA8D8BU2NSAAAAAECpxng/AVNjRwAAAACgI3OpPwFTY0IAAAAAAGb1wz8AAVRpbnQAAAAAAAAAAAADVGhlbWVDb2xvclBvc2l0aW9uALYAAAACX3R5cGUAUQAAAGVtcG93ZXIuQ2hhcnRzLkNvbW1vbi5Db2xvclRyYW5zbGF0aW9uLlRoZW1lQ29sb3JQb3NpdGlvbiwgZW1wb3dlci5DaGFydHMuQ29tbW9uABBUaGVtZUNvbG9yU2NoZW1lSW5kZXgABQAAAAJJbmRleAAHAAAATm9UaW50AAhJc0RlZmF1bHRDb2xvcgAAEERlZmF1bHRDb2xvckluZGV4AP////8AAAADMwC3AQAAA1BvaW50QWRkcmVzcwAzAAAAEFNlcmllc0luZGV4AAEAAAAQUG9pbnRJbmRleAAEAAAACElzUG9pbnRTdW0AAAADTWFya2VyU3R5bGVEYXRhAGABAAACU3R5bGUAEgAAAHhsTWFya2VyU3R5bGVOb25lABBTaXplAAgAAAADQ29sb3IAVQAAABBBAP8AAAAQUgASAAAAEEcAPwAAABBCAG4AAAABU2NBAAAAAAAAAPA/AVNjUgAAAABAqcZ4PwFTY0cAAAAAoCNzqT8BU2NCAAAAAABm9cM/AAFUaW50AAAAAAAAAAAAA1RoZW1lQ29sb3JQb3NpdGlvbgC2AAAAAl90eXBlAFEAAABlbXBvd2VyLkNoYXJ0cy5Db21tb24uQ29sb3JUcmFuc2xhdGlvbi5UaGVtZUNvbG9yUG9zaXRpb24sIGVtcG93ZXIuQ2hhcnRzLkNvbW1vbgAQVGhlbWVDb2xvclNjaGVtZUluZGV4AAUAAAACSW5kZXgABwAAAE5vVGludAAISXNEZWZhdWx0Q29sb3IAABBEZWZhdWx0Q29sb3JJbmRleAD/////AAAAAzQAtwEAAANQb2ludEFkZHJlc3MAMwAAABBTZXJpZXNJbmRleAABAAAAEFBvaW50SW5kZXgABQAAAAhJc1BvaW50U3VtAAAAA01hcmtlclN0eWxlRGF0YQBgAQAAAlN0eWxlABIAAAB4bE1hcmtlclN0eWxlTm9uZQAQU2l6ZQAIAAAAA0NvbG9yAFUAAAAQQQD/AAAAEFIAEgAAABBHAD8AAAAQQgBuAAAAAVNjQQAAAAAAAADwPwFTY1IAAAAAQKnGeD8BU2NHAAAAAKAjc6k/AVNjQgAAAAAAZvXDPwABVGludAAAAAAAAAAAAANUaGVtZUNvbG9yUG9zaXRpb24AtgAAAAJfdHlwZQBRAAAAZW1wb3dlci5DaGFydHMuQ29tbW9uLkNvbG9yVHJhbnNsYXRpb24uVGhlbWVDb2xvclBvc2l0aW9uLCBlbXBvd2VyLkNoYXJ0cy5Db21tb24AEFRoZW1lQ29sb3JTY2hlbWVJbmRleAAFAAAAAkluZGV4AAcAAABOb1RpbnQACElzRGVmYXVsdENvbG9yAAAQRGVmYXVsdENvbG9ySW5kZXgA/////wAAAAM1ALcBAAADUG9pbnRBZGRyZXNzADMAAAAQU2VyaWVzSW5kZXgAAgAAABBQb2ludEluZGV4AAEAAAAISXNQb2ludFN1bQAAAANNYXJrZXJTdHlsZURhdGEAYAEAAAJTdHlsZQASAAAAeGxNYXJrZXJTdHlsZU5vbmUAEFNpemUACAAAAANDb2xvcgBVAAAAEEEA/wAAABBSAIUAAAAQRwCbAAAAEEIAswAAAAFTY0EAAAAAAAAA8D8BU2NSAAAAAODABc4/AVNjRwAAAAAAUfrUPwFTY0IAAAAAoKzZ3D8AAVRpbnQAAAAAAAAAAAADVGhlbWVDb2xvclBvc2l0aW9uALYAAAACX3R5cGUAUQAAAGVtcG93ZXIuQ2hhcnRzLkNvbW1vbi5Db2xvclRyYW5zbGF0aW9uLlRoZW1lQ29sb3JQb3NpdGlvbiwgZW1wb3dlci5DaGFydHMuQ29tbW9uABBUaGVtZUNvbG9yU2NoZW1lSW5kZXgABgAAAAJJbmRleAAHAAAATm9UaW50AAhJc0RlZmF1bHRDb2xvcgAAEERlZmF1bHRDb2xvckluZGV4AP////8AAAADNgC3AQAAA1BvaW50QWRkcmVzcwAzAAAAEFNlcmllc0luZGV4AAIAAAAQUG9pbnRJbmRleAACAAAACElzUG9pbnRTdW0AAAADTWFya2VyU3R5bGVEYXRhAGABAAACU3R5bGUAEgAAAHhsTWFya2VyU3R5bGVOb25lABBTaXplAAgAAAADQ29sb3IAVQAAABBBAP8AAAAQUgCFAAAAEEcAmwAAABBCALMAAAABU2NBAAAAAAAAAPA/AVNjUgAAAADgwAXOPwFTY0cAAAAAAFH61D8BU2NCAAAAAKCs2dw/AAFUaW50AAAAAAAAAAAAA1RoZW1lQ29sb3JQb3NpdGlvbgC2AAAAAl90eXBlAFEAAABlbXBvd2VyLkNoYXJ0cy5Db21tb24uQ29sb3JUcmFuc2xhdGlvbi5UaGVtZUNvbG9yUG9zaXRpb24sIGVtcG93ZXIuQ2hhcnRzLkNvbW1vbgAQVGhlbWVDb2xvclNjaGVtZUluZGV4AAYAAAACSW5kZXgABwAAAE5vVGludAAISXNEZWZhdWx0Q29sb3IAABBEZWZhdWx0Q29sb3JJbmRleAD/////AAAAAzcAtwEAAANQb2ludEFkZHJlc3MAMwAAABBTZXJpZXNJbmRleAACAAAAEFBvaW50SW5kZXgAAwAAAAhJc1BvaW50U3VtAAAAA01hcmtlclN0eWxlRGF0YQBgAQAAAlN0eWxlABIAAAB4bE1hcmtlclN0eWxlTm9uZQAQU2l6ZQAIAAAAA0NvbG9yAFUAAAAQQQD/AAAAEFIAhQAAABBHAJsAAAAQQgCzAAAAAVNjQQAAAAAAAADwPwFTY1IAAAAXAAAABRYAAAD/////4AQHCwAAAAAAAAAAAODABc4/AVNjRwAAAAAAUfrUPwFTY0IAAAAAoKzZ3D8AAVRpbnQAAAAAAAAAAAADVGhlbWVDb2xvclBvc2l0aW9uALYAAAACX3R5cGUAUQAAAGVtcG93ZXIuQ2hhcnRzLkNvbW1vbi5Db2xvclRyYW5zbGF0aW9uLlRoZW1lQ29sb3JQb3NpdGlvbiwgZW1wb3dlci5DaGFydHMuQ29tbW9uABBUaGVtZUNvbG9yU2NoZW1lSW5kZXgABgAAAAJJbmRleAAHAAAATm9UaW50AAhJc0RlZmF1bHRDb2xvcgAAEERlZmF1bHRDb2xvckluZGV4AP////8AAAADOAC3AQAAA1BvaW50QWRkcmVzcwAzAAAAEFNlcmllc0luZGV4AAIAAAAQUG9pbnRJbmRleAAEAAAACElzUG9pbnRTdW0AAAADTWFya2VyU3R5bGVEYXRhAGABAAACU3R5bGUAEgAAAHhsTWFya2VyU3R5bGVOb25lABBTaXplAAgAAAADQ29sb3IAVQAAABBBAP8AAAAQUgCFAAAAEEcAmwAAABBCALMAAAABU2NBAAAAAAAAAPA/AVNjUgAAAADgwAXOPwFTY0cAAAAAAFH61D8BU2NCAAAAAKCs2dw/AAFUaW50AAAAAAAAAAAAA1RoZW1lQ29sb3JQb3NpdGlvbgC2AAAAAl90eXBlAFEAAABlbXBvd2VyLkNoYXJ0cy5Db21tb24uQ29sb3JUcmFuc2xhdGlvbi5UaGVtZUNvbG9yUG9zaXRpb24sIGVtcG93ZXIuQ2hhcnRzLkNvbW1vbgAQVGhlbWVDb2xvclNjaGVtZUluZGV4AAYAAAACSW5kZXgABwAAAE5vVGludAAISXNEZWZhdWx0Q29sb3IAABBEZWZhdWx0Q29sb3JJbmRleAD/////AAAAAzkAtwEAAANQb2ludEFkZHJlc3MAMwAAABBTZXJpZXNJbmRleAACAAAAEFBvaW50SW5kZXgABQAAAAhJc1BvaW50U3VtAAAAA01hcmtlclN0eWxlRGF0YQBgAQAAAlN0eWxlABIAAAB4bE1hcmtlclN0eWxlTm9uZQAQU2l6ZQAIAAAAA0NvbG9yAFUAAAAQQQD/AAAAEFIAhQAAABBHAJsAAAAQQgCzAAAAAVNjQQAAAAAAAADwPwFTY1IAAAAA4MAFzj8BU2NHAAAAAABR+tQ/AVNjQgAAAACgrNncPwABVGludAAAAAAAAAAAAANUaGVtZUNvbG9yUG9zaXRpb24AtgAAAAJfdHlwZQBRAAAAZW1wb3dlci5DaGFydHMuQ29tbW9uLkNvbG9yVHJhbnNsYXRpb24uVGhlbWVDb2xvclBvc2l0aW9uLCBlbXBvd2VyLkNoYXJ0cy5Db21tb24AEFRoZW1lQ29sb3JTY2hlbWVJbmRleAAGAAAAAkluZGV4AAcAAABOb1RpbnQACElzRGVmYXVsdENvbG9yAAAQRGVmYXVsdENvbG9ySW5kZXgA/////wAAAAAIU3VwcHJlc3NNYXJrZXJzAAAIUmVxdWlyZU1hbnVhbFVwZ3JhZGVPbkZpcnN0VGltZVJlYWQAAAACTmFtZQAMAAAATWFya2Vyc0RhdGEAEFZlcnNpb24AAQAAAAlMYXN0V3JpdGUAG4Q/5H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AAAAAT//////////wQA3AQAAAAAAAAAAAAA/////3sAewAAAAVfaWQAEAAAAAQadVMQkAWFT4OFQLOiKy40A0RhdGEAEgAAAARTZXJpZXMABQAAAAAAAk5hbWUAGgAAAFNoYXBlQ29uc3RydWN0ZWRDaGFydERhdGEAEFZlcnNpb24AAAAAAAlMYXN0V3JpdGUAIKVdaIkBAAAAAQD/////UgBSAAAABV9pZAAQAAAABDVkiRTlxGVKlN61xw5Hw1wCTmFtZQAJAAAARGF0YUxpbmsAEFZlcnNpb24AAQAAAAlMYXN0V3JpdGUAnDWTMXkBAAAAAgD/////awBrAAAABV9pZAAQAAAABJ8SsxVpbONEqJbdSdaIyxwDRGF0YQASAAAACElzUmV2ZXJzZWQAAAACTmFtZQAKAAAAV2F0ZXJmYWxsABBWZXJzaW9uAAAAAAAJTGFzdFdyaXRlAFmNMNNiAQAAAAMA/////7MJswkAAAVfaWQAEAAAAARC++EgiYZ5QZIHDAWBG0yEA0RhdGEAUAkAAAhBdXRvbWF0aWNMYXlvdXRBY3RpdmUAAQRBZGRpdGlvbmFsQ2hhcnRNYXJnaW5EYXRhcwAFAAAAAAJEYXRhUmVmZXJlbmNlRGlyZWN0aW9uAA0AAABTZXJpZXNCeVJvd3MAAlNlcmllc09yZGVyAAkAAABSZXZlcnNlZAACUG9pbnRPcmRlcgAKAAAAQXNJbkV4Y2VsAAJQcmltYXJ5QXhpc0Nyb3NzVHlwZQAZAAAAQ3Jvc3Nlc0JldHdlZW5DYXRlZ29yaWVzAAJTZWNvbmRhcnlBeGlzQ3Jvc3NUeXBlAAgAAABJbnZhbGlkAAhJc0NoYXJ0VGl0bGVWaXNpYmxlAAADQ2hhcnRUaXRsZURhdGEAzQYAAAhXYW50VG9CZVZpc2libGUAAANUZXh0Qm94RGF0YQBXBgAABU1hbmFnZWRJZAAQAAAABNZ6DTRiywRImBWFHynDxLEISGFzQ2hhbmdlcwAA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P8AAAAQUgAAAAAAEEcAAAAAABBCAAAAAAABU2NBAAAAAAAAAPA/AVNjUgAAAAAAAAAAAAFTY0cAAAAAAAAAAAABU2NCAAAAAAAAAAAAABBGb250VGhlbWVDb2xvcgAAAAAAAUZvbnRUaW50QW5kU2hhZGUAAAAAAAAAAAAQRm9udFNjaGVtZUNvbG9yAAIAAAAIRm9udEl0YWxpYwAAAUZvbnRTaXplAAAAAAAAAAAACEZvbnRTdHJpa2V0aHJvdWdoAAAIRm9udFN1YnNjcmlwdAAACEZvbnRTdXBlcnNjcmlwdAAACEZvbnRVbmRlcmxpbmUAAAAIU2l6ZVRvVGV4dFdpZHRoAAEIU2l6ZVRvVGV4dEhlaWdodAAB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2Zmc2V0RnJvbUhvbWUAQgAAAAFYAAAAAAAAAAAAAVkAAAAAAAAAAAABTGVuZ3RoAAAAAAAAAAAAAUxlbmd0aFNxdWFyZWQAAAAAAAAAAAAAAAFQbG90VG9DaGFydEFyZWFSYXRpbwAAAAAAAAAAAAJSZW5kZXJNb2RlAAsAAABIeWJyaWRUZXh0AANDdXN0b21pemluZ0Rlc2NyaXB0aW9uRGF0YQCRAAAAAk5hbWUAFwAAAERlZmF1bHRGbGV4Q3VzdG9taXppbmcAEFZlcnNpb24AAQAAABBNaW5vclZlcnNpb24AAAAAAAJDdXN0b21pemluZ1R5cGUACAAAAERlZmF1bHQAAk1pb0NkSWQAAQAAAAACRmxleEN1c3RvbWl6aW5nVHlwZQAIAAAARGVmYXVsdAAAAUxhc3RTZWVuV2lkdGgAAAAAgBvydUABTGFzdFNlZW5IZWlnaHQAAAAAIPLoYUAITWlncmF0aW9uVG9QZXJmb3JtYW5jZU1vZGVEb25lAAEFTGFzdFNlZW5TbGlkZUNvbG9yVGhlbWVNZDVIYXNoABAAAAAAwmQJNSTp7c99NH3jhufRHgACTmFtZQAUAAAAR2xvYmFsQ2hhcnRTZXR0aW5ncwAQVmVyc2lvbgAFAAAACUxhc3RXcml0ZQBxMq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kAAAAEAAAAABsAAAAEAMMNAAAAAAAAAAAAAP////9dAF0AAAAFX2lkABAAAAAEUNPBJMCzyUSkMNGtuyDGKgREYXRhAAUAAAAAAk5hbWUACQAAAE92ZXJsYXlzABBWZXJzaW9uAAUAAAAJTGFzdFdyaXRlAEocbDWXAQAAAAEA/////3kAeQAAAAVfaWQAEAAAAARhrBYoyEJETJKPVxucHy/AA0RhdGEAFQAAAAhTaGFwZXNSZW1vdmVkAAAAAk5hbWUAFQAAAEdlbmVyYWxFeGNlbFNldHRpbmdzABBWZXJzaW9uAAAAAAAJTGFzdFdyaXRlAIxMj6h8AQAAAAIA/////80AzQAAAAVfaWQAEAAAAAT5uc8o3+XwRYlizCea2hbUA0RhdGEAYQAAAAhIYXNTdHlsZVJlcG9zaXRvcnlCZWVuTWlncmF0ZWQAAQhIYXNCb3JkZXJTdHlsZUJlZW5NaWdyYXRlZAABCEhhc0NoYXJ0QmVlbkxheW91dGVkRm9yRmxleAABAAJOYW1lAB0AAABDaGFydFN0eWxlU3RhdHVzSW5mb3JtYXRpb25zABBWZXJzaW9uAAEAAAAJTGFzdFdyaXRlAHT0XWiJAQAAAAMA/////2EAYQAAAAVfaWQAEAAAAATrFhcscZGWSpsUH+9KddY4BERhdGEABQAAAAACTmFtZQANAAAATGlua0RhdGFMaXN0ABBWZXJzaW9uAAEAAAAJTGFzdFdyaXRlACWlXWiJ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P//////////AQCsAwAAAAAAAAAAAAD/////MwwzDAAABV9pZAAQAAAABGnW2yd868hNti1ajCVvGCEDRGF0YQDXCwAABFBvaW50Q29sb3JJbmRpY2VzALUJAAADMAD1AAAAEFNlcmllc0luZGV4AAIAAAAQUG9pbnRJbmRleAABAAAAA0NvbG9yAFUAAAAQQQD/AAAAEFIAhQAAABBHAJsAAAAQQgCzAAAAAVNjQQAAAAAAAADwPwFTY1IAAAAAIMEFzj8BU2NHAAAAACBR+tQ/AVNjQgAAAADArNncPwADQ29sb3JJbmRleEluQ3VzdG9taXppbmcAWgAAABBUaGVtZUNvbG9yU2NoZW1lSW5kZXgABgAAAAJJbmRleAAHAAAATm9UaW50AAhJc0RlZmF1bHRDb2xvcgAAEERlZmF1bHRDb2xvckluZGV4AP////8AAAMxAPUAAAAQU2VyaWVzSW5kZXgAAgAAABBQb2ludEluZGV4AAIAAAADQ29sb3IAVQAAABBBAP8AAAAQUgCFAAAAEEcAmwAAABBCALMAAAABU2NBAAAAAAAAAPA/AVNjUgAAAAAgwQXOPwFTY0cAAAAAIFH61D8BU2NCAAAAAMCs2dw/AANDb2xvckluZGV4SW5DdXN0b21pemluZwBaAAAAEFRoZW1lQ29sb3JTY2hlbWVJbmRleAAGAAAAAkluZGV4AAcAAABOb1RpbnQACElzRGVmYXVsdENvbG9yAAAQRGVmYXVsdENvbG9ySW5kZXgA/////wAAAzIA9QAAABBTZXJpZXNJbmRleAACAAAAEFBvaW50SW5kZXgAAwAAAANDb2xvcgBVAAAAEEEA/wAAABBSAIUAAAAQRwCbAAAAEEIAswAAAAFTY0EAAAAAAAAA8D8BU2NSAAAAACDBBc4/AVNjRwAAAAAgUfrUPwFTY0IAAAAAwKzZ3D8AA0NvbG9ySW5kZXhJbkN1c3RvbWl6aW5nAFoAAAAQVGhlbWVDb2xvclNjaGVtZUluZGV4AAYAAAACSW5kZXgABwAAAE5vVGludAAISXNEZWZhdWx0Q29sb3IAABBEZWZhdWx0Q29sb3JJbmRleAD/////AAADMwD1AAAAEFNlcmllc0luZGV4AAIAAAAQUG9pbnRJbmRleAAEAAAAA0NvbG9yAFUAAAAQQQD/AAAAEFIAhQAAABBHAJsAAAAQQgCzAAAAAVNjQQAAAAAAAADwPwFTY1IAAAAAIMEFzj8BU2NHAAAAACBR+tQ/AVNjQgAAAADArNncPwADQ29sb3JJbmRleEluQ3VzdG9taXppbmcAWgAAABBUaGVtZUNvbG9yU2NoZW1lSW5kZXgABgAAAAJJbmRleAAHAAAATm9UaW50AAhJc0RlZmF1bHRDb2xvcgAAEERlZmF1bHRDb2xvckluZGV4AP////8AAAM0APUAAAAQU2VyaWVzSW5kZXgAAgAAABBQb2ludEluZGV4AAUAAAADQ29sb3IAVQAAABBBAP8AAAAQUgCFAAAAEEcAmwAAABBCALMAAAABU2NBAAAAAAAAAPA/AVNjUgAAAAAgwQXOPwFTY0cAAAAAIFH61D8BU2NCAAAAAMCs2dw/AANDb2xvckluZGV4SW5DdXN0b21pemluZwBaAAAAEFRoZW1lQ29sb3JTY2hlbWVJbmRleAAGAAAAAkluZGV4AAcAAABOb1RpbnQACElzRGVmYXVsdENvbG9yAAAQRGVmYXVsdENvbG9ySW5kZXgA/////wAAAzUA9QAAABBTZXJpZXNJbmRleAABAAAAEFBvaW50SW5kZXgAAQAAAANDb2xvcgBVAAAAEEEA/wAAABBSABIAAAAQRwA/AAAAEEIAbgAAAAFTY0EAAAAAAAAA8D8BU2NSAAAAAGCpxng/AVNjRwAAAACgI3OpPwFTY0IAAAAAAGb1wz8AA0NvbG9ySW5kZXhJbkN1c3RvbWl6aW5nAFoAAAAQVGhlbWVDb2xvclNjaGVtZUluZGV4AAUAAAACSW5kZXgABwAAAE5vVGludAAISXNEZWZhdWx0Q29sb3IAABBEZWZhdWx0Q29sb3JJbmRleAD/////AAADNgD1AAAAEFNlcmllc0luZGV4AAEAAAAQUG9pbnRJbmRleAACAAAAA0NvbG9yAFUAAAAQQQD/AAAAEFIAEgAAABBHAD8AAAAQQgBuAAAAAVNjQQAAAAAAAADwPwFTY1IAAAAAYKnGeD8BU2NHAAAAAKAjc6k/AVNjQgAAAAAAZvXDPwADQ29sb3JJbmRleEluQ3VzdG9taXppbmcAWgAAABBUaGVtZUNvbG9yU2NoZW1lSW5kZXgABQAAAAJJbmRleAAHAAAATm9UaW50AAhJc0RlZmF1bHRDb2xvcgAAEERlZmF1bHRDb2xvckluZGV4AP////8AAAM3APUAAAAQU2VyaWVzSW5kZXgAAQAAABBQb2ludEluZGV4AAMAAAADQ29sb3IAVQAAABBBAP8AAAAQUgASAAAAEEcAPwAAABBCAG4AAAABU2NBAAAAAAAAAPA/AVNjUgAAAABgqcZ4PwFTY0cAAAAAoCNzqT8BU2NCAAAAAABm9cM/AANDb2xvckluZGV4SW5DdXN0b21pemluZwBaAAAAEFRoZW1lQ29sb3JTY2hlbWVJbmRleAAFAAAAAkluZGV4AAcAAABOb1RpbnQACElzRGVmYXVsdENvbG9yAAAQRGVmYXVsdENvbG9ySW5kZXgA/////wAAAzgA9QAAABBTZXJpZXNJbmRleAABAAAAEFBvaW50SW5kZXgABAAAAANDb2xvcgBVAAAAEEEA/wAAABBSABIAAAAQRwA/AAAAEEIAbgAAAAFTY0EAAAAAAAAA8D8BU2NSAAAAAGCpxng/AVNjRwAAAACgI3OpPwFTY0IAAAAAAGb1wz8AA0NvbG9ySW5kZXhJbkN1c3RvbWl6aW5nAFoAAAAQVGhlbWVDb2xvclNjaGVtZUluZGV4AAUAAAACSW5kZXgABwAAAE5vVGludAAISXNEZWZhdWx0Q29sb3IAABBEZWZhdWx0Q29sb3JJbmRleAD/////AAADOQD1AAAAEFNlcmllc0luZGV4AAEAAAAQUG9pbnRJbmRleAAFAAAAA0NvbG9yAFUAAAAQQQD/AAAAEFIAEgAAABBHAD8AAAAQQgBuAAAAAVNjQQAAAAAAAADwPwFTY1IAAAAAYKnGeD8BU2NHAAAAAKAjc6k/AVNjQgAAAAAAZvXDPwADQ29sb3JJbmRleEluQ3VzdG9taXppbmcAWgAAABBUaGVtZUNvbG9yU2NoZW1lSW5kZXgABQAAAAJJbmRleAAHAAAATm9UaW50AAhJc0RlZmF1bHRDb2xvcgAAEERlZmF1bHRDb2xvckluZGV4AP////8AAAAEU2VyaWVzQ29sb3JJbmRpY2VzANUBAAADMADlAAAAEFNlcmllc0luZGV4AAIAAAADQ29sb3IAVQAAABBBAP8AAAAQUgCFAAAAEEcAmwAAABBCALMAAAABU2NBAAAAAAAAAPA/AVNjUgAAAAAgwQXOPwFTY0cAAAAAIFH61D8BU2NCAAAAAMCs2dw/AANDb2xvckluZGV4SW5DdXN0b21pemluZwBaAAAAEFRoZW1lQ29sb3JTY2hlbWVJbmRleAAGAAAAAkluZGV4AAcAAABOb1RpbnQACElzRGVmYXVsdENvbG9yAAAQRGVmYXVsdENvbG9ySW5kZXgA/////wAAAzEA5QAAABBTZXJpZXNJbmRleAABAAAAA0NvbG9yAFUAAAAQQQD/AAAAEFIAEgAAABBHAD8AAAAQQgBuAAAAAVNjQQAAAAAAAADwPwFTY1IAAAAAYKnGeD8BU2NHAAAAAKAjc6k/AVNjQgAAAAAAZvXDPwADQ29sb3JJbmRleEluQ3VzdG9taXppbmcAWgAAABBUaGVtZUNvbG9yU2NoZW1lSW5kZXgABQAAAAJJbmRleAAHAAAATm9UaW50AAhJc0RlZmF1bHRDb2xvcgAAEERlZmF1bHRDb2xvckluZGV4AP////8AAAAETmVnYXRpdmVTZXJpZXNDb2xvckluZGljZXMABQAAAAAAAk5hbWUADQAAAENvbG9ySW5kaWNlcwAQVmVyc2lvbgACAAAACUxhc3RXcml0ZQBbCmDse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wAAAAQZAAAAVAAAAAUAoQoAAAAAAAAAAAAA/////5EAkQAAAAVfaWQAEAAAAAQzGbcspFmlR7b0cn0RpTMlA0RhdGEAOAAAAARPblRvcFNlcmllc0luZGl6ZXMABQAAAAAESGlkZGVuU2VyaWVzSW5kaXplcwAFAAAAAAACTmFtZQAKAAAAV2F0ZXJmYWxsABBWZXJzaW9uAAEAAAAJTGFzdFdyaXRlAPNaT16NAQAAAAEA/////4ADgAMAAAVfaWQAEAAAAAQwORs37cpAR6wBYLtptp9PA0RhdGEAHgMAAANCb3VuZHM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hJc1Zpc2libGUAAAhJc1JldmVyc2VkAAAIU2hvd0dyaWRMaW5lcwAAAU1ham9yVW5pdAAAAAAAAAAAAAFNYXhpbXVtU2NhbGUAAAAAAAAAAAABTWluaW11bVNjYWxlAAAAAAAAAAAACFVzZUF1dG9tYXRpY01ham9yVW5pdAABCFVzZUF1dG9tYXRpY01pbmltdW1TY2FsZQABCFVzZUF1dG9tYXRpY01heGltdW1TY2FsZQABA0FkZGl0aW9uYWxBeGlzVGlja0xhYmVsc0RhdGEAtwAAAARJdGVtRGF0YQAFAAAAAANGb250Q29sb3IAVQAAABBBAAAAAAAQUgAAAAAAEEcAAAAAABBCAAAAAAABU2NBAAAAAAAAAAAAAVNjUgAAAAAAAAAAAAFTY0cAAAAAAAAAAAABU2NCAAAAAAAAAAAAABBGb250U2NoZW1lQ29sb3IAAAAAABBGb250VGhlbWVDb2xvcgAAAAAAAUZvbnRUaW50QW5kU2hhZGUAAAAAAAAAAAAABEdyaWRMaW5lSXRlbURhdGEABQAAAAAAAk5hbWUAEwAAAEFkZGl0aW9uYWxBeGlzRGF0YQAQVmVyc2lvbgABAAAACUxhc3RXcml0ZQB1rl1oiQEAAAACABwAAAAAAAMA/////7AAsAAAAAVfaWQAEAAAAAQtwXlJqB82TrTuFbwjmZtfBERhdGEAVgAAAAMwAE4AAAAQU2VyaWVzSW5kZXgAAQAAAARYVmFsdWVzAC8AAAACMAADAAAASmEAAjEABQAAAE5laW4AAjIADQAAAEtlaW5lIEFuZ2FiZQAAAAACTmFtZQALAAAAU2VyaWVzRGF0YQAQVmVyc2lvbgAAAAAACUxhc3RXcml0ZQClbW41lwEAAAAEAP////9dAF0AAAAFX2lkABAAAAAE/sohSn66FkG87Hn5kJiI2wREYXRhAAUAAAAAAk5hbWUACQAAAE92ZXJsYXlzABBWZXJzaW9uAAYAAAAJTGFzdFdyaXRlAGgcb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AAAAF/////x0AAADnDwAAAAAAAAAAAAB7FQAABV9pZAAQAAAABG+49kOjIlxLtVojowPsH8oDRGF0YQAhFQAABEl0ZW1EYXRhAGAUAAADMABYFAAAEEluZGV4AAEAAAAISXNEZWxldGVkAAADVGV4dFNoYXBlRGF0YQC4BgAABU1hbmFnZWRJZAAQAAAABO94NnF9n+lLidhzIS0bOP4ISGFzQ2hhbmdlcwAB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FAAAAMjAyNQACVGV4dEhvcml6b250YWxBbGlnbm1lbnQADgAAAG1zb0FuY2hvck5vbmUAAlBhcmFncmFwaEFsaWdubWVudAAPAAAAbXNvQWxpZ25DZW50ZXIAAlRleHRWZXJ0aWNhbEFsaWdubWVudAANAAAAbXNvQW5jaG9yVG9wAANGb250U3R5bGUAQAEAABBGb250QmFja2dyb3VuZAAAAAAACEZvbnRCb2xkAAADRm9udENvbG9yAFUAAAAQQQD/AAAAEFIAQAAAABBHAEAAAAAQQgBAAAAAAVNjQQAAAAAAAADwPwFTY1IAAAAAwP0/qj8BU2NHAAAAAMD9P6o/AVNjQgAAAADA/T+qPwAQRm9udFRoZW1lQ29sb3IAAAAAAAFGb250VGludEFuZFNoYWRlAAAAAAAAAAAAEEZvbnRTY2hlbWVDb2xvcgACAAAACEZvbnRJdGFsaWMAAAJGb250TmFtZQAGAAAAQXJpYWwAAUZvbnRTaXplAAAAAAAAACRACEZvbnRTdHJpa2V0aHJvdWdoAAAIRm9udFN1YnNjcmlwdAAACEZvbnRTdXBlcnNjcmlwdAAACEZvbnRVbmRlcmxpbmUAAAAIU2l6ZVRvVGV4dFdpZHRoAAEIU2l6ZVRvVGV4dEhlaWdodAABA1RleHRNYXJnaW4APwAAAAFMZWZ0AAAAAAAAAAAAAVRvcAAAAAAAAAAAAAFSaWdodAAAAAAAAAAAAAFCb3R0b20AAAAAAAAAAAAAAkRpc3BsYXlUZXh0AAUAAAAyMDI1AAFIZWlnaHQAAAAAoJlZKEABV2lkdGgAAAAAQApXNkABVG9wAAAAAABsPnBAAUxlZnQAAAAAINoYZ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1hcmtlclNoYXBlRGF0YQB0BgAAAkF1dG9TaGFwZVR5cGUACgAAAFJlY3RhbmdsZQAFTWFuYWdlZElkABAAAAAE/clXg1UzgEW9OAsgVvezGAhIYXNDaGFuZ2VzAAEIVXNlTmFtZUluc3RlYWRPZlRhZ0FzSWQAAQhTaGFwZVByZXZpb3VzbHlDcmVhdGVkAAADRmlsbENvbG9yAFUAAAAQQQD/AAAAEFIA+wAAABBHALoAAAAQQgC5AAAAAVNjQQAAAAAAAADwPwFTY1IAAAAAwLXe7j8BU2NHAAAAAODibN8/AVNjQgAAAABgsgzfPwAQRmlsbFRoZW1lQ29sb3IABwAAAAFGaWxsVGludEFuZFNoYWRlAAAAAAAAAAAAEEZpbGxTY2hlbWVDb2xvcgAAAAAAA1BhdHRlcm5Db2xvcgBVAAAAEEEA/wAAABBSABIAAAAQRwA/AAAAEEIAbgAAAAFTY0EAAAAAAAAA8D8BU2NSAAAAAECpxng/AVNjRwAAAACgI3OpPwFTY0IAAAAAAGb1wz8AEFBhdHRlcm5UaGVtZUNvbG9yAAU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GDfCxdAAVdpZHRoAAAAAGDfCxdAAVRvcAAAAADAunFwQAFMZWZ0AAAAACB7AGRACEZsaXBIb3Jpem9udGFsbHkAAAhGbGlwSG9yaXpvbnRhbGx5QXBwbGllZAAACEZsaXBWZXJ0aWNhbGx5AAAIRmxpcFZlcnRpY2FsbHlBcHBsaWVkAAABUm90YXRpb24AAAAAAAAAAAABWk9yZGVyAAAAAAAAACRAA0JvcmRlckNvbG9yAFUAAAAQQQAAAAAAEFIA/wAAABBHAP8AAAAQQgD/AAAAAVNjQQAAAAAAAAAAAAFTY1IAAAAAAAAA8D8BU2NHAAAAAAAAAPA/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aW5lU2hhcGVEYXRhAOEGAAADU3RhcnQAGwAAAAFYAAAAAAAAAAAAAVkAAAAAAAAAAAAAA0VuZAAbAAAAAVgAAAAAAAAAAAABWQAAAAAAAAAAAAACU3RhcnRBcnJvd0hlYWQAEQAAAG1zb0Fycm93aGVhZE5vbmUAAkVuZEFycm93SGVhZAARAAAAbXNvQXJyb3doZWFkTm9uZQAFTWFuYWdlZElkABAAAAAE5QBcBWdtzEyCln1ZKmjpww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YdAAAABRwAAAD/////lAVTCgAAAAAAAAAA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JBbGlnbm1lbnQABwAAAEhpZGRlbgAISXNVc2VyUG9zaXRpb24AAANDdXN0b21DZW50ZXJQb3NpdGlvbgAbAAAAAVgAAAAAAAAAAAABWQAAAAAAAAAAAAACSXRlbU9yZGVyAAoAAABBc2NlbmRpbmcAEFJvd0NvdW50AAEAAAAQQ29sdW1uQ291bnQAAAAAAAJJdGVtRmxvd0RpcmVjdGlvbgALAAAASG9yaXpvbnRhbAAAAk5hbWUACwAAAExlZ2VuZERhdGEAEFZlcnNpb24AAQAAAAlMYXN0V3JpdGUAI8Vu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HgAAAAAMAAAANQ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8AAAAE//////////8EAP0GAAAAAAAAAAAAAP/////NAM0AAAAFX2lkABAAAAAEXZcwXEDiJUqrhNL10M13KQNEYXRhAGEAAAAISGFzU3R5bGVSZXBvc2l0b3J5QmVlbk1pZ3JhdGVkAAEISGFzQm9yZGVyU3R5bGVCZWVuTWlncmF0ZWQAAQhIYXNDaGFydEJlZW5MYXlvdXRlZEZvckZsZXgAAQACTmFtZQAdAAAAQ2hhcnRTdHlsZVN0YXR1c0luZm9ybWF0aW9ucwAQVmVyc2lvbgAAAAAACUxhc3RXcml0ZQBr9F1oiQEAAAABACAAAAAAAAIA/////xAFEAUAAAVfaWQAEAAAAAQZJYJc+uKgR5nh/VgmJZL2A0RhdGEAsAQAAANHcmlkTGluZVN0eWxlc0RhdGEAlwQAAANQcmltYXJ5VmFsdWVBeGlzR3JpZExpbmVTdHlsZQAdAgAAA01ham9yVW5pdExpbmVTdHlsZQD4AAAAA0NvbG9yAFUAAAAQQQD/AAAAEFIAiQAAABBHAIkAAAAQQgCJAAAAAVNjQQAAAAAAAADwPwFTY1IAAAAAAJgC0D8BU2NHAAAAAACYAtA/AVNjQgAAAAAAmALQPwACU2NoZW1lQ29sb3JJbmRleAARAAAAcHBOb3RTY2hlbWVDb2xvcgAQVGhlbWVDb2xvckluZGV4AAAAAAABVGludEFuZFNoYWRlAAAAAAAAANA/AUxpbmVXZWlnaHQAAAAAAAAA4D8CRGFzaFN0eWxlAAoAAABMaW5lU29saWQACFZpc2libGUAAQhJc0F1dG9tYXRpYwABAANNaW5vclVuaXRMaW5lU3R5bGUA+AAAAANDb2xvcgBVAAAAEEEA/wAAABBSALwAAAAQRwC8AAAAEEIAvAAAAAFTY0EAAAAAAAAA8D8BU2NSAAAAAGClF+A/AVNjRwAAAABgpRfgPwFTY0IAAAAAYKUX4D8AAlNjaGVtZUNvbG9ySW5kZXgAEQAAAHBwTm90U2NoZW1lQ29sb3IAEFRoZW1lQ29sb3JJbmRleAAAAAAAAVRpbnRBbmRTaGFkZQAAAAAAAADgPwFMaW5lV2VpZ2h0AAAAAAAAAOA/AkRhc2hTdHlsZQAKAAAATGluZVNvbGlkAAhWaXNpYmxlAAAISXNBdXRvbWF0aWMAAAAAA1ByaW1hcnlDYXRlZ29yeUF4aXNHcmlkTGluZVN0eWxlAB0CAAADTWFqb3JVbml0TGluZVN0eWxlAPgAAAADQ29sb3IAVQAAABBBAP8AAAAQUgCJAAAAEEcAiQAAABBCAIkAAAABU2NBAAAAAAAAAPA/AVNjUgAAAAAAmALQPwFTY0cAAAAAAJgC0D8BU2NCAAAAAACYAtA/AAJTY2hlbWVDb2xvckluZGV4ABEAAABwcE5vdFNjaGVtZUNvbG9yABBUaGVtZUNvbG9ySW5kZXgAAAAAAAFUaW50QW5kU2hhZGUAAAAAAAAA0D8BTGluZVdlaWdodAAAAAAAAADgPwJEYXNoU3R5bGUACgAAAExpbmVTb2xpZAAIVmlzaWJsZQABCElzQXV0b21hdGljAAAAA01pbm9yVW5pdExpbmVTdHlsZQD4AAAAA0NvbG9yAFUAAAAQQQD/AAAAEFIAvAAAABBHALwAAAAQQgC8AAAAAVNjQQAAAAAAAADwPwFTY1IAAAAAYKUX4D8BU2NHAAAAAGClF+A/AVNjQgAAAABgpRfgPwACU2NoZW1lQ29sb3JJbmRleAARAAAAcHBOb3RTY2hlbWVDb2xvcgAQVGhlbWVDb2xvckluZGV4AAAAAAABVGludEFuZFNoYWRlAAAAAAAAAOA/AUxpbmVXZWlnaHQAAAAAAAAA4D8CRGFzaFN0eWxlAAoAAABMaW5lU29saWQACFZpc2libGUAAAhJc0F1dG9tYXRpYwAAAAAIU2hvd0dyaWRsaW5lc0RlZmF1bHQAAQAAAk5hbWUAEQAAAEdyaWRsaW5lU2V0dGluZ3MAEFZlcnNpb24AAQAAAAlMYXN0V3JpdGUAWIBZXo0BAAAAAwD/////7QLtAgAABV9pZAAQAAAABPR9m16xbwVPqAgzpHk9uMoDRGF0YQB2AgAABFBvaW50QWRkaXRpb25hbFN0eWxlcwBqAQAAAzAAdAAAAANQb2ludEFkZHJlc3MAMwAAABBTZXJpZXNJbmRleAABAAAAEFBvaW50SW5kZXgAAQAAAAhJc1BvaW50U3VtAAAAA0FkZGl0aW9uYWxTdHlsZXMAHAAAAAJGaWxsUGF0dGVybgAGAAAAVW5zZXQAAAADMQB0AAAAA1BvaW50QWRkcmVzcwAzAAAAEFNlcmllc0luZGV4AAEAAAAQUG9pbnRJbmRleAACAAAACElzUG9pbnRTdW0AAAADQWRkaXRpb25hbFN0eWxlcwAcAAAAAkZpbGxQYXR0ZXJuAAYAAABVbnNldAAAAAMyAHQAAAADUG9pbnRBZGRyZXNzADMAAAAQU2VyaWVzSW5kZXgAAQAAABBQb2ludEluZGV4AAMAAAAISXNQb2ludFN1bQAAAANBZGRpdGlvbmFsU3R5bGVzABwAAAACRmlsbFBhdHRlcm4ABgAAAFVuc2V0AAAAAANTZXJpZXNBZGRpdGlvbmFsU3R5bGVzANgAAAADMQDQAAAAEFNlcmllc0luZGV4AAEAAAADQWRkaXRpb25hbFN0eWxlcwCoAAAAAkZpbGxQYXR0ZXJuAAgAAABEZWZhdWx0AANGaWxsQ29sb3JPclRoZW1lQ29sb3IAcwAAABBUaGVtZUNvbG9yAAAAAAABVGludEFuZFNoYWRlAAAAAAAAAAAAEFRpbnRJbmRleAD/////EFNjaGVtZUNvbG9yAAAAAAADQ29sb3IAIQAAABBBAP8AAAAQUgAAAAAAEEcAAAAAABBCAAAAAAAAAAAAAAACTmFtZQAoAAAAUG9pbnRBbmRTZXJpZXNBZGRpdGlvblN0eWxlc0RlZmluaXRpb25zABBWZXJzaW9uAAEAAAAJTGFzdFdyaXRlAA9ubj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AAAABf////8hAAAA5w8AAAAAAAAAAAAA4ScAAAVfaWQAEAAAAAT8gExcn3SqQ6NTy7W9r7v+A0RhdGEAiScAAARTYXZlZEF4aXNMYWJlbERhdGEAcCcAAAMwAJwNAAACQXhpc1R5cGUACAAAAHhsVmFsdWUAAkF4aXNHcm91cAAKAAAAeGxQcmltYXJ5AAhTY2hlbWVDb2xvckFwcGxpZWQAAAhGb250U3R5bGVVbmRlcmxpbmVkAAAIQXBwbHlPdmVyYWxsRm9udHNpemUAAQhJc1Zpc2libGUAAAhYbEF1dG9tYXRpY0NvbG9ySW5kZXhBcHBsaWVkAAAIVXNlRXhjZWxGb3JtYXRzV2hlbkRhdGVBeGlzAAADQXhpc1RpdGxlRGF0YQB5CAAAA1Bvc2l0aW9uADoAAAACQW5jaG9yAAsAAABBeGlzQ2VudGVyAAFSZWxhdGl2ZUFuY2hvck9mZnNldAAAAAAAAAAAAAAIV2FudFRvQmVWaXNpYmxlAAADVGV4dEJveERhdGEAlAYAAAVNYW5hZ2VkSWQAEAAAAAQY2KeGNydnSJdNfPw7UTBj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NAAAAbXNvQWxpZ25MZWZ0AAJUZXh0VmVydGljYWxBbGlnbm1lbnQADQAAAG1zb0FuY2hvclRvcA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AAAAAAAAUJvdHRvbQAAAAAAAAAAAAACRGlzcGxheVRleHQAAQAAAAABSGVpZ2h0AAAAAMCOQANAAVdpZHRoAAAAAKCZmbk/AVRvcAAAAAAAAAAQQAFMZWZ0AAAAAAAAABBACEZsaXBIb3Jpem9udGFsbHkAAAhGbGlwSG9yaXpvbnRhbGx5QXBwbGllZAAACEZsaXBWZXJ0aWNhbGx5AAAIRmxpcFZlcnRpY2FsbHlBcHBsaWVkAAABUm90YXRpb24AAAAAAADgcE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Qb3NzaWJsZUFyZWE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AIVXNlQXV0b21hdGljTWFqb3JVbml0AAEIVXNlQXV0b21hdGljTWluaW11bVNjYWxlAAEIVXNlQXV0b21hdGljTWF4aW11bVNjYWxlAAEDRm9udENvbG9yAFUAAAAQQQD/AAAAEFIAQAAAABBHAEAAAAAQQgBAAAAAAVNjQQAAAAAAAADwPwFTY1IAAAAAwP0/qj8BU2NHAAAAAMD9P6o/AVNjQgAAAADA/T+qPwAQRm9udFNjaGVtZUNvbG9yAAIAAAAQRm9udFRoZW1lQ29sb3IAAAAAAAFGb250VGludEFuZFNoYWRlAAAAAAAAAAAAAkxhYmVsUG9zaXRpb24ABQAAAE5vbmUAA0F4aXNMaW5lU3R5bGUAMwEAAAJfdHlwZQByAAAAbWlvLkNvbW1vbi5Qb3dlclBvaW50Lk1hbmFnZWQuQ29udHJhY3RzLkN1c3RvbWl6aW5nLlN0eWxlcy5BeGlzTGluZVN0eWxlLCBtaW8uQ29tbW9uLlBvd2VyUG9pbnQuTWFuYWdlZC5Db250cmFjdHMAAUxpbmVXZWlnaHQAAAAAAAAA4D8CRGFzaFN0eWxlAAoAAABMaW5lU29saWQACFZpc2libGUAAQNDb2xvcgBzAAAAEFRoZW1lQ29sb3IADQAAAAFUaW50QW5kU2hhZGUAAAAAAAAAAAAQVGludEluZGV4AP////8QU2NoZW1lQ29sb3IAAAAAAANDb2xvcgAhAAAAEEEAAAAAABBSAP8AAAAQRwD/AAAAEEIA/wAAAAAA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DMQAnDAAAAkF4aXNUeXBlAAgAAAB4bFZhbHVlAAJBeGlzR3JvdXAADAAAAHhsU2Vjb25kYXJ5AAhTY2hlbWVDb2xvckFwcGxpZWQAAAhGb250U3R5bGVVbmRlcmxpbmVkAAAIQXBwbHlPdmVyYWxsRm9udHNpemUAAAhJc1Zpc2libGUAAAhYbEF1dG9tYXRpY0NvbG9ySW5kZXhBcHBsaWVkAAAIVXNlRXhjZWxGb3JtYXRzV2hlbkRhdGVBeGlzAAADQXhpc1RpdGxlRGF0YQBHCAAAA1Bvc2l0aW9uADoAAAACQW5jaG9yAAsAAABBeGlzQ2VudGVyAAFSZWxhdGl2ZUFuY2hvck9mZnNldAAAAAAAAAAAAAAIV2FudFRvQmVWaXNpYmxlAAADVGV4dEJveERhdGEAYgYAAAVNYW5hZ2VkSWQAEAAAAAQOkgPpgK/PR7Y+jqGYGPnZCEhhc0NoYW5nZXMAAQhVc2VOYW1lSW5zdGVhZE9mVGFnQXNJZAABCFNoYXBlUHJldmlvdXNseUNyZWF0ZWQAAANGaWxsQ29sb3IAVQAAABBBAAAAAAAQUgAAAAAAEEcAAAAAABBCAAAAAAABU2NBAAAAAAAAAPC/AVNjUgAAAAAAAADwvwFTY0cAAAAAAAAA8L8BU2NCAAAAAAAAAPC/ABBGaWxsVGhlbWVDIQAAAAUgAAAAIgAAAOcPAAAAAAAAAAAAAG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0AAABtc29BbGlnbkxlZnQAAlRleHRWZXJ0aWNhbEFsaWdubWVudAANAAAAbXNvQW5jaG9yVG9wAANGb250U3R5bGUALAEAABBGb250QmFja2dyb3VuZAAAAAAACEZvbnRCb2xkAAADRm9udENvbG9yAFUAAAAQQQD/AAAAEFIAAAAAABBHAAAAAAAQQgAAAAAAAVNjQQAAAAAAAADwPwFTY1IAAAAAAAAAAAABU2NHAAAAAAAAAAAAAVNjQgAAAAAAAAAAAAAQRm9udFRoZW1lQ29sb3IAAAAAAAFGb250VGludEFuZFNoYWRlAAAAAAAAAAAAEEZvbnRTY2hlbWVDb2xvcgACAAAACEZvbnRJdGFsaWMAAAFGb250U2l6ZQAAAAAAAAAoQAhGb250U3RyaWtldGhyb3VnaAAACEZvbnRTdWJzY3JpcHQAAAhGb250U3VwZXJzY3JpcHQAAAhGb250VW5kZXJsaW5lAAAACFNpemVUb1RleHRXaWR0aAABCFNpemVUb1RleHRIZWlnaHQAAQNUZXh0TWFyZ2luAD8AAAABTGVmdAAAAAAAAAAAAAFUb3AAAAAAAAAAAAABUmlnaHQAAAAAAAAAAAABQm90dG9tAAAAAAAAAAAAAAFIZWlnaHQAAAAAAAAAAAABV2lkdGgAAAAAAAAAAAABVG9wAAAAAAAAABBAAUxlZnQAAAAAAAAAEEAIRmxpcEhvcml6b250YWxseQAACEZsaXBIb3Jpem9udGFsbHlBcHBsaWVkAAAIRmxpcFZlcnRpY2FsbHkAAAhGbGlwVmVydGljYWxseUFwcGxpZWQAAAFSb3RhdGlvbgAAAAAAAOBwQ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Bvc3NpYmxlQXJlYQ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AAhVc2VBdXRvbWF0aWNNYWpvclVuaXQAAQhVc2VBdXRvbWF0aWNNaW5pbXVtU2NhbGUAAQhVc2VBdXRvbWF0aWNNYXhpbXVtU2NhbGUAAQNGb250Q29sb3IAVQAAABBBAP8AAAAQUgAAAAAAEEcAAAAAABBCAAAAAAABU2NBAAAAAAAAAPA/AVNjUgAAAAAAAAAAAAFTY0cAAAAAAAAAAAABU2NCAAAAAAAAAAAAABBGb250U2NoZW1lQ29sb3IAAgAAABBGb250VGhlbWVDb2xvcgAAAAAAAUZvbnRUaW50QW5kU2hhZGUAAAAAAAAAAAACTGFiZWxQb3NpdGlvbgACAAAAMAADTnVtYmVyRm9ybWF0AB8AAAAFX2lkABAAAAAEAAAAAAAAAAAAAAAAAAAA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AAzIAnw0AAAJBeGlzVHlwZQALAAAAeGxDYXRlZ29yeQACQXhpc0dyb3VwAAoAAAB4bFByaW1hcnkACFNjaGVtZUNvbG9yQXBwbGllZAABCEZvbnRTdHlsZVVuZGVybGluZWQAAAhBcHBseU92ZXJhbGxGb250c2l6ZQABCElzVmlzaWJsZQABCFhsQXV0b21hdGljQ29sb3JJbmRleEFwcGxpZWQAAAhVc2VFeGNlbEZvcm1hdHNXaGVuRGF0ZUF4aXMAAQNBeGlzVGl0bGVEYXRhAHkIAAADUG9zaXRpb24AOgAAAAJBbmNob3IACwAAAEF4aXNDZW50ZXIAAVJlbGF0aXZlQW5jaG9yT2Zmc2V0AAAAAAAAAAAAAAhXYW50VG9CZVZpc2libGUAAANUZXh0Qm94RGF0YQCUBgAABU1hbmFnZWRJZAAQAAAABOVyqefXn6NBimnMFzkcVoI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0AAABtc29BbGlnbkxlZnQAAlRleHRWZXJ0aWNhbEFsaWdubWVudAANAAAAbXNvQW5jaG9yVG9w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AAAAAAABQm90dG9tAAAAAAAAAAAAAAJEaXNwbGF5VGV4dAABAAAAAAFIZWlnaHQAAAAAwI5AA0ABV2lkdGgAAAAAoJmZuT8BVG9wAAAAAAAAABBAAUxlZnQAAAAAAAAAEEAIRmxpcEhvcml6b250YWxseQAACEZsaXBIb3Jpem9udGFsbHlBcHBsaSIAAAAFIQAAAP////8TCNQHAAAAAAAAAAB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Qb3NzaWJsZUFyZWE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AIVXNlQXV0b21hdGljTWFqb3JVbml0AAEIVXNlQXV0b21hdGljTWluaW11bVNjYWxlAAEIVXNlQXV0b21hdGljTWF4aW11bVNjYWxlAAEDRm9udENvbG9yAFUAAAAQQQD/AAAAEFIAQAAAABBHAEAAAAAQQgBAAAAAAVNjQQAAAAAAAADwPwFTY1IAAAAAwP0/qj8BU2NHAAAAAMD9P6o/AVNjQgAAAADA/T+qPwAQRm9udFNjaGVtZUNvbG9yAAIAAAAQRm9udFRoZW1lQ29sb3IAAAAAAAFGb250VGludEFuZFNoYWRlAAAAAAAAAAAAAkxhYmVsUG9zaXRpb24ABQAAAE5vbmUAA0F4aXNMaW5lU3R5bGUAMwEAAAJfdHlwZQByAAAAbWlvLkNvbW1vbi5Qb3dlclBvaW50Lk1hbmFnZWQuQ29udHJhY3RzLkN1c3RvbWl6aW5nLlN0eWxlcy5BeGlzTGluZVN0eWxlLCBtaW8uQ29tbW9uLlBvd2VyUG9pbnQuTWFuYWdlZC5Db250cmFjdHMAAUxpbmVXZWlnaHQAAAAAAAAA4D8CRGFzaFN0eWxlAAoAAABMaW5lU29saWQACFZpc2libGUAAQNDb2xvcgBzAAAAEFRoZW1lQ29sb3IADQAAAAFUaW50QW5kU2hhZGUAAAAAAAAAAAAQVGludEluZGV4AP////8QU2NoZW1lQ29sb3IAAAAAAANDb2xvcgAhAAAAEEEAAAAAABBSAP8AAAAQRwD/AAAAEEIA/wAAAAAA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AAAJOYW1lAAkAAABBeGVzRGF0YQAQVmVyc2lvbgAEAAAACUxhc3RXcml0ZQD1N2w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AAAABP//////////AQAsBgAAAAAAAAAAAAD/////swmzCQAABV9pZAAQAAAABE3BT2IaK1NDuVNFcfFTzWYDRGF0YQBQCQAACEF1dG9tYXRpY0xheW91dEFjdGl2ZQABBEFkZGl0aW9uYWxDaGFydE1hcmdpbkRhdGFzAAUAAAAAAkRhdGFSZWZlcmVuY2VEaXJlY3Rpb24ADQAAAFNlcmllc0J5Um93cwACU2VyaWVzT3JkZXIACQAAAFJldmVyc2VkAAJQb2ludE9yZGVyAAoAAABBc0luRXhjZWwAAlByaW1hcnlBeGlzQ3Jvc3NUeXBlABkAAABDcm9zc2VzQmV0d2VlbkNhdGVnb3JpZXMAAlNlY29uZGFyeUF4aXNDcm9zc1R5cGUACAAAAEludmFsaWQACElzQ2hhcnRUaXRsZVZpc2libGUAAANDaGFydFRpdGxlRGF0YQDNBgAACFdhbnRUb0JlVmlzaWJsZQAAA1RleHRCb3hEYXRhAFcGAAAFTWFuYWdlZElkABAAAAAE1noNNGLLBEiYFYUfKcPEsQhIYXNDaGFuZ2VzAAA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wAAABBSAAAAAAAQRwAAAAAAEEIAAAAAAAFTY0EAAAAAAAAA8D8BU2NSAAAAAAAAAAAAAVNjRwAAAAAAAAAAAAFTY0IAAAAAAAAAAAAAEEZvbnRUaGVtZUNvbG9yAAAAAAABRm9udFRpbnRBbmRTaGFkZQAAAAAAAAAAABBGb250U2NoZW1lQ29sb3IAAgAAAAhGb250SXRhbGljAAABRm9udFNpemUAAAAAAAAAAAAIRm9udFN0cmlrZXRocm91Z2gAAAhGb250U3Vic2NyaXB0AAAIRm9udFN1cGVyc2NyaXB0AAAIRm9udFVuZGVybGluZQAAAAhTaXplVG9UZXh0V2lkdGgAAQhTaXplVG9UZXh0SGVpZ2h0AAE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PZmZzZXRGcm9tSG9tZQBCAAAAAVgAAAAAAAAAAAABWQAAAAAAAAAAAAFMZW5ndGgAAAAAAAAAAAABTGVuZ3RoU3F1YXJlZAAAAAAAAAAAAAAAAVBsb3RUb0NoYXJ0QXJlYVJhdGlvAAAAAAAAAAAAAlJlbmRlck1vZGUACwAAAEh5YnJpZFRleHQAA0N1c3RvbWl6aW5nRGVzY3JpcHRpb25EYXRhAJEAAAACTmFtZQAXAAAARGVmYXVsdEZsZXhDdXN0b21pemluZwAQVmVyc2lvbgABAAAAEE1pbm9yVmVyc2lvbgAAAAAAAkN1c3RvbWl6aW5nVHlwZQAIAAAARGVmYXVsdAACTWlvQ2RJZAABAAAAAAJGbGV4Q3VzdG9taXppbmdUeXBlAAgAAABEZWZhdWx0AAABTGFzdFNlZW5XaWR0aAAAAACAG/J1QAFMYXN0U2VlbkhlaWdodAAAAAAg8uhhQAhNaWdyYXRpb25Ub1BlcmZvcm1hbmNlTW9kZURvbmUAAQVMYXN0U2VlblNsaWRlQ29sb3JUaGVtZU1kNUhhc2gAEAAAAADCZAk1JOntz300feOG59EeAAJOYW1lABQAAABHbG9iYWxDaGFydFNldHRpbmdzABBWZXJzaW9uAAQAAAAJTGFzdFdyaXRlAGEyrj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AAAAAT//////////wMA1AQAAAAAAAAAAAAA/////3sAewAAAAVfaWQAEAAAAAQB7ohjkilxRpm5omvb+EbbA0RhdGEAHQAAAAhEb05vdFNob3dGdWxsRW1mQWdhaW4AAAACTmFtZQAPAAAAQ29tbW9uU2V0dGluZ3MAEFZlcnNpb24AAAAAAAlMYXN0V3JpdGUALV9PRoABAAAAAQD/////7gbuBgAABV9pZAAQAAAABCkM8WVH4nBJjPtCb1R2rWYDRGF0YQCKBgAAA1dpZ2dsZVNoYXBlRGF0YQB0BgAAAkF1dG9TaGFwZVR5cGUACgAAAFJlY3RhbmdsZQAFTWFuYWdlZElkABAAAAAEqYUxOx6Nn0G2GOy5dd9HsAhIYXNDaGFuZ2VzAAAIVXNlTmFtZUluc3RlYWRPZlRhZ0FzSWQAAQhTaGFwZVByZXZpb3VzbHlDcmVhdGVkAAADRmlsbENvbG9yAFUAAAAQQQAAAAAAEFIA/wAAABBHAP8AAAAQQgD/AAAAAVNjQQAAAAAAAAAAAAFTY1IAAAAAAAAA8D8BU2NHAAAAAAAAAPA/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PA/AVdpZHRoAAAAAAAAAPA/AVRvcAAAAADg/DQlQAFMZWZ0AAAAAOD8NCV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TmFtZQAVAAAARGF0YUNoYXJ0Q29BdXRob3JpbmcAEFZlcnNpb24AAAAAAAlMYXN0V3JpdGUADjKuNZcBAAAAAgD/////kgOSAwAABV9pZAAQAAAABH5b9XJHELtEvn8Uuuf+KH8DRGF0YQAwAwAAA0JvdW5kcw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CElzVmlzaWJsZQAACElzUmV2ZXJzZWQAAAhTaG93R3JpZGxpbmVzAAABTWFudWFsTWFqb3JVbml0AAAAAAAAAAAAAU1hbnVhbE1heGltdW1TY2FsZQAAAAAAAAAAAAFNYW51YWxNaW5pbXVtU2NhbGUAAAAAAAAAAAAIVXNlQXV0b21hdGljTWFqb3JVbml0AAEIVXNlQXV0b21hdGljTWluaW11bVNjYWxlAAEIVXNlQXV0b21hdGljTWF4aW11bVNjYWxlAAEDQWRkaXRpb25hbEF4aXNUaWNrTGFiZWxzRGF0YQC3AAAABEl0ZW1EYXRhAAUAAAAAA0ZvbnRDb2xvcgBVAAAAEEEAAAAAABBSAAAAAAAQRwAAAAAAEEIAAAAAAAFTY0EAAAAAAAAAAAABU2NSAAAAAAAAAAAAAVNjRwAAAAAAAAAAAAFTY0IAAAAAAAAAAAAAEEZvbnRTY2hlbWVDb2xvcgAAAAAAEEZvbnRUaGVtZUNvbG9yAAAAAAABRm9udFRpbnRBbmRTaGFkZQAAAAAAAAAAAAAER3JpZGxpbmVJdGVtRGF0YQAFAAAAAAACTmFtZQATAAAAQWRkaXRpb25hbEF4aXNEYXRhABBWZXJzaW9uAAAAAAAJTGFzdFdyaXRlAFmuXWiJ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UAAAAEVAAAAEsAAAAMAMoIAAAAAAAAAAAAAP////+7ALsAAAAFX2lkABAAAAAEK8hudm55fEafzMnk8NtOzgNEYXRhAEoAAAAIU2hvd05hbWUAAAhTaG93VmFsdWUAAAhTaG93UGVyY2VudGFnZQAAEFBlcmNlbnRhZ2VEZWNpbWFsUGxhY2VzAAAAAAAAAk5hbWUAIgAAAENhdGVnb3J5TGFiZWxTZXR0aW5nc0RhdGFQcm9wZXJ0eQAQVmVyc2lvbgAAAAAACUxhc3RXcml0ZQCG78pydAEAAAABACYAAAAAAAIA/////3MAcwAAAAVfaWQAEAAAAASjIPJ7bjmMTKm9J9CWrVpzA0RhdGEAFwAAAARTZXJpZUxhYmVscwAFAAAAAAACTmFtZQANAAAAU2VyaWVzTGFiZWxzABBWZXJzaW9uAAUAAAAJTGFzdFdyaXRlAPFaT16NAQAAAAMAKQAAAAAABAAsAAAAAAAFAP////+BAIEAAAAFX2lkABAAAAAEqRg4jra+mUGutKI4wqS45QNEYXRhACAAAAADU2VyaWVzTmVnYXRpdmVDb2xvcnMABQAAAAAAAk5hbWUAEgAAAENvbG9yRGF0YVByb3BlcnR5ABBWZXJzaW9uAAAAAAAJTGFzdFdyaXRlANf2749vAQAAAAYA/////+AA4AAAAAVfaWQAEAAAAAQf9niQt0ZHSZ97BJ3ISHfeA0RhdGEAbAAAAARQb2ludE1hcmtlclN0eWxlcwAFAAAAAANTZXJpZXNNYXJrZXJTdHlsZXMABQAAAAAIU3VwcHJlc3NNYXJrZXJzAAAITWFya2Vyc1N1cHByZXNzZWRPblByZXZpb3VzTGF5b3V0AAAAAk5hbWUAJQAAAFBvaW50QW5kU2VyaWVzTWFya2VyU3R5bGVEZWZpbml0aW9ucwAQVmVyc2lvbgAAAAAACUxhc3RXcml0ZQAoX09GgAEAAAAHAP////+nAacBAAAFX2lkABAAAAAEPFGQkx9/PEytCOkQKHEB4ANEYXRhAEoBAAADTnVtYmVyRm9ybWF0VmFsdWVTdHJpbmdzACsBAAACTnVtYmVyRm9ybWF0SWRQcmltYXJ5ACUAAAAwMDAwMDAwMC0wMDAwLTAwMDAtMDAwMC0wMDAwMDAwMDAwMDAAAlBlcmNlbnRGb3JtYXRJZFByaW1hcnkADgAAAFskLTQwN10jLCMjMCUAAk51bWJlckZvcm1hdElkU2Vjb25kYXJ5ACUAAAAwMDAwMDAwMC0wMDAwLTAwMDAtMDAwMC0wMDAwMDAwMDAwMDAAAk51bWJlckZvcm1hdElkUHJpbWFyeUNhdGVnb3J5ACUAAAAwMDAwMDAwMC0wMDAwLTAwMDAtMDAwMC0wMDAwMDAwMDAwMDAAAlBlcmNlbnRGb3JtYXRJZFByaW1hcnlDYXRlZ29yeQAOAAAAWyQtNDA3XSMsIyMwJQAAAAJOYW1lAA4AAABOdW1iZXJGb3JtYXRzABBWZXJzaW9uAAEAAAAJTGFzdFdyaXRlADvVbDWXAQAAAAgAPAAAAAAACQD/////egF6AQAABV9pZAAQAAAABKTaIZ4cHj1FinqkixN8+WsDRGF0YQAMAQAABFBvaW50Q29sb3JzU3R5bGUABQAAAAADU2VyaWVzQ29sb3JzU3R5bGUA3QAAAAMxANUAAAAQU2VyaWVzSW5kZXgAAQAAAANQcmltYXJ5Q29sb3JTdHlsZQCsAAAAAkNvbG9yUHJvcGVydHlUYXJnZXQACAAAAFByaW1hcnkAA0NvbG9yT3JUaGVtZUNvbG9yAHMAAAAQVGhlbWVDb2xvcgAFAAAAAVRpbnRBbmRTaGFkZQAAAAAAAAAAABBUaW50SW5kZXgA/////xBTY2hlbWVDb2xvcgAAAAAAA0NvbG9yACEAAAAQQQD/AAAAEFIAxwAAABBHACoAAAAQQgA0AAAAAAAAAAAAAk5hbWUAHwAAAFBvaW50QW5kU2VyaWVzU3R5bGVEZWZpbml0aW9ucwAQVmVyc2lvbgACAAAACUxhc3RXcml0ZQBsJ281lwEAAAAKAP////+aAJoAAAAFX2lkABAAAAAE3OjMoXN8Tka8RGEC2gCAfANEYXRhADgAAAAIQXJlTmVnYXRpdmVTdW1zQXRPdGhlckVuZAAACEFyZUNvbHVtblN1bXNWaXNpYmxlAAAAAk5hbWUAEwAAAENvbHVtblN1bXNTZXR0aW5ncwAQVmVyc2lvbgAAAAAACUxhc3RXcml0ZQDG+pjYbQEAAAALAP////9zAHMAAAAFX2lkABAAAAAEAdGSqeEO4UOOmuyeny64MgNEYXRhABcAAAAEU2VyaWVMYWJlbHMABQAAAAAAAk5hbWUADQAAAFNlcmllc0xhYmVscwAQVmVyc2lvbgAEAAAACUxhc3RXcml0ZQBLv5nuh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AAAABf////8nAAAA5w8AAAAAAAAAAAAA4ScAAAVfaWQAEAAAAAR2qzR4kcRoSqFpAI6HxA1VA0RhdGEAiScAAARTYXZlZEF4aXNMYWJlbERhdGEAcCcAAAMwAJwNAAACQXhpc1R5cGUACAAAAHhsVmFsdWUAAkF4aXNHcm91cAAKAAAAeGxQcmltYXJ5AAhTY2hlbWVDb2xvckFwcGxpZWQAAAhGb250U3R5bGVVbmRlcmxpbmVkAAAIQXBwbHlPdmVyYWxsRm9udHNpemUAAQhJc1Zpc2libGUAAAhYbEF1dG9tYXRpY0NvbG9ySW5kZXhBcHBsaWVkAAAIVXNlRXhjZWxGb3JtYXRzV2hlbkRhdGVBeGlzAAADQXhpc1RpdGxlRGF0YQB5CAAAA1Bvc2l0aW9uADoAAAACQW5jaG9yAAsAAABBeGlzQ2VudGVyAAFSZWxhdGl2ZUFuY2hvck9mZnNldAAAAAAAAAAAAAAIV2FudFRvQmVWaXNpYmxlAAADVGV4dEJveERhdGEAlAYAAAVNYW5hZ2VkSWQAEAAAAAQY2KeGNydnSJdNfPw7UTBj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NAAAAbXNvQWxpZ25MZWZ0AAJUZXh0VmVydGljYWxBbGlnbm1lbnQADQAAAG1zb0FuY2hvclRvcAADRm9udFN0eWxlAEEBAAAQRm9udEJhY2tncm91bmQAAAAAAAhGb250Qm9sZAAAA0ZvbnRDb2xvcgBVAAAAEEEA/wAAABBSAAAAAAAQRwAAAAAAEEIAAAAAAAFTY0EAAAAAAAAA8D8BU2NSAAAAAAAAAAAAAVNjRwAAAAAAAAAAAAFTY0IAAAAAAAAAAAA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EDVGV4dE1hcmdpbgA/AAAAAUxlZnQAAAAAAAAAAAABVG9wAAAAAAAAAAAAAVJpZ2h0AAAAAAAAAAAAAUJvdHRvbQAAAAAAAAAAAAACRGlzcGxheVRleHQAAQAAAAABSGVpZ2h0AAAAAMCOQANAAVdpZHRoAAAAAKCZmbk/AVRvcAAAAAAAAAAQQAFMZWZ0AAAAAAAAABBACEZsaXBIb3Jpem9udGFsbHkAAAhGbGlwSG9yaXpvbnRhbGx5QXBwbGllZAAACEZsaXBWZXJ0aWNhbGx5AAAIRmxpcFZlcnRpY2FsbHlBcHBsaWVkAAABUm90YXRpb24AAAAAAADgcE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Qb3NzaWJsZUFyZWE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AIVXNlQXV0b21hdGljTWFqb3JVbml0AAEIVXNlQXV0b21hdGljTWluaW11bVNjYWxlAAEIVXNlQXV0b21hdGljTWF4aW11bVNjYWxlAAEDRm9udENvbG9yAFUAAAAQQQD/AAAAEFIAQAAAABBHAEAAAAAQQgBAAAAAAVNjQQAAAAAAAADwPwFTY1IAAAAAwP0/qj8BU2NHAAAAAMD9P6o/AVNjQgAAAADA/T+qPwAQRm9udFNjaGVtZUNvbG9yAAIAAAAQRm9udFRoZW1lQ29sb3IAAAAAAAFGb250VGludEFuZFNoYWRlAAAAAAAAAAAAAkxhYmVsUG9zaXRpb24ABQAAAE5vbmUAA0F4aXNMaW5lU3R5bGUAMwEAAAJfdHlwZQByAAAAbWlvLkNvbW1vbi5Qb3dlclBvaW50Lk1hbmFnZWQuQ29udHJhY3RzLkN1c3RvbWl6aW5nLlN0eWxlcy5BeGlzTGluZVN0eWxlLCBtaW8uQ29tbW9uLlBvd2VyUG9pbnQuTWFuYWdlZC5Db250cmFjdHMAAUxpbmVXZWlnaHQAAAAAAAAA4D8CRGFzaFN0eWxlAAoAAABMaW5lU29saWQACFZpc2libGUAAQNDb2xvcgBzAAAAEFRoZW1lQ29sb3IADQAAAAFUaW50QW5kU2hhZGUAAAAAAAAAAAAQVGludEluZGV4AP////8QU2NoZW1lQ29sb3IAAAAAAANDb2xvcgAhAAAAEEEAAAAAABBSAP8AAAAQRwD/AAAAEEIA/wAAAAAA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DMQAnDAAAAkF4aXNUeXBlAAgAAAB4bFZhbHVlAAJBeGlzR3JvdXAADAAAAHhsU2Vjb25kYXJ5AAhTY2hlbWVDb2xvckFwcGxpZWQAAAhGb250U3R5bGVVbmRlcmxpbmVkAAAIQXBwbHlPdmVyYWxsRm9udHNpemUAAAhJc1Zpc2libGUAAAhYbEF1dG9tYXRpY0NvbG9ySW5kZXhBcHBsaWVkAAAIVXNlRXhjZWxGb3JtYXRzV2hlbkRhdGVBeGlzAAADQXhpc1RpdGxlRGF0YQBHCAAAA1Bvc2l0aW9uADoAAAACQW5jaG9yAAsAAABBeGlzQ2VudGVyAAFSZWxhdGl2ZUFuY2hvck9mZnNldAAAAAAAAAAAAAAIV2FudFRvQmVWaXNpYmxlAAADVGV4dEJveERhdGEAYgYAAAVNYW5hZ2VkSWQAEAAAAAQOkgPpgK/PR7Y+jqGYGPnZCEhhc0NoYW5nZXMAAQhVc2VOYW1lSW5zdGVhZE9mVGFnQXNJZAABCFNoYXBlUHJldmlvdXNseUNyZWF0ZWQAAANGaWxsQ29sb3IAVQAAABBBAAAAAAAQUgAAAAAAEEcAAAAAABBCAAAAAAABU2NBAAAAAAAAAPC/AVNjUgAAAAAAAADwvwFTY0cAAAAAAAAA8L8BU2NCAAAAAAAAAPC/ABBGaWxsVGhlbWVDJwAAAAUmAAAAKAAAAOcPAAAAAAAAAAAAAG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0AAABtc29BbGlnbkxlZnQAAlRleHRWZXJ0aWNhbEFsaWdubWVudAANAAAAbXNvQW5jaG9yVG9wAANGb250U3R5bGUALAEAABBGb250QmFja2dyb3VuZAAAAAAACEZvbnRCb2xkAAADRm9udENvbG9yAFUAAAAQQQD/AAAAEFIAAAAAABBHAAAAAAAQQgAAAAAAAVNjQQAAAAAAAADwPwFTY1IAAAAAAAAAAAABU2NHAAAAAAAAAAAAAVNjQgAAAAAAAAAAAAAQRm9udFRoZW1lQ29sb3IAAAAAAAFGb250VGludEFuZFNoYWRlAAAAAAAAAAAAEEZvbnRTY2hlbWVDb2xvcgACAAAACEZvbnRJdGFsaWMAAAFGb250U2l6ZQAAAAAAAAAoQAhGb250U3RyaWtldGhyb3VnaAAACEZvbnRTdWJzY3JpcHQAAAhGb250U3VwZXJzY3JpcHQAAAhGb250VW5kZXJsaW5lAAAACFNpemVUb1RleHRXaWR0aAABCFNpemVUb1RleHRIZWlnaHQAAQNUZXh0TWFyZ2luAD8AAAABTGVmdAAAAAAAAAAAAAFUb3AAAAAAAAAAAAABUmlnaHQAAAAAAAAAAAABQm90dG9tAAAAAAAAAAAAAAFIZWlnaHQAAAAAAAAAAAABV2lkdGgAAAAAAAAAAAABVG9wAAAAAAAAABBAAUxlZnQAAAAAAAAAEEAIRmxpcEhvcml6b250YWxseQAACEZsaXBIb3Jpem9udGFsbHlBcHBsaWVkAAAIRmxpcFZlcnRpY2FsbHkAAAhGbGlwVmVydGljYWxseUFwcGxpZWQAAAFSb3RhdGlvbgAAAAAAAOBwQ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Bvc3NpYmxlQXJlYQBvAQAAAVgAAAAAAAAAAAABWQAAAAAAAAAAAAFXaWR0aAAAAAAAAAAAAAFIZWlnaHQAAAAAAAAAAAABTGVmdAAAAAAAAAAAAAFUb3AAAAAAAAAAAAABUmlnaHQAAAAAAAAAAAABQm90dG9tAAAAAAAAAAAAA1RvcExlZnQAGwAAAAFYAAAAAAAAAAAAAVkAAAAAAAAAAAAAA1RvcFJpZ2h0ABsAAAABWAAAAAAAAAAAAAFZAAAAAAAAAAAAAANCb3R0b21MZWZ0ABsAAAABWAAAAAAAAAAAAAFZAAAAAAAAAAAAAANCb3R0b21SaWdodAAbAAAAAVgAAAAAAAAAAAABWQAAAAAAAAAAAAADU2l6ZQAuAAAACElzRW1wdHkAAAFXaWR0aAAAAAAAAAAAAAFIZWlnaHQAAAAAAAAAAAAAA0xvY2F0aW9uABsAAAABWAAAAAAAAAAAAAFZAAAAAAAAAAAAAAhJc0VtcHR5AAAAAAhVc2VBdXRvbWF0aWNNYWpvclVuaXQAAQhVc2VBdXRvbWF0aWNNaW5pbXVtU2NhbGUAAQhVc2VBdXRvbWF0aWNNYXhpbXVtU2NhbGUAAQNGb250Q29sb3IAVQAAABBBAP8AAAAQUgAAAAAAEEcAAAAAABBCAAAAAAABU2NBAAAAAAAAAPA/AVNjUgAAAAAAAAAAAAFTY0cAAAAAAAAAAAABU2NCAAAAAAAAAAAAABBGb250U2NoZW1lQ29sb3IAAgAAABBGb250VGhlbWVDb2xvcgAAAAAAAUZvbnRUaW50QW5kU2hhZGUAAAAAAAAAAAACTGFiZWxQb3NpdGlvbgACAAAAMAADTnVtYmVyRm9ybWF0AB8AAAAFX2lkABAAAAAEAAAAAAAAAAAAAAAAAAAA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AAzIAnw0AAAJBeGlzVHlwZQALAAAAeGxDYXRlZ29yeQACQXhpc0dyb3VwAAoAAAB4bFByaW1hcnkACFNjaGVtZUNvbG9yQXBwbGllZAABCEZvbnRTdHlsZVVuZGVybGluZWQAAAhBcHBseU92ZXJhbGxGb250c2l6ZQABCElzVmlzaWJsZQABCFhsQXV0b21hdGljQ29sb3JJbmRleEFwcGxpZWQAAAhVc2VFeGNlbEZvcm1hdHNXaGVuRGF0ZUF4aXMAAQNBeGlzVGl0bGVEYXRhAHkIAAADUG9zaXRpb24AOgAAAAJBbmNob3IACwAAAEF4aXNDZW50ZXIAAVJlbGF0aXZlQW5jaG9yT2Zmc2V0AAAAAAAAAAAAAAhXYW50VG9CZVZpc2libGUAAANUZXh0Qm94RGF0YQCUBgAABU1hbmFnZWRJZAAQAAAABOVyqefXn6NBimnMFzkcVoI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0AAABtc29BbGlnbkxlZnQAAlRleHRWZXJ0aWNhbEFsaWdubWVudAANAAAAbXNvQW5jaG9yVG9wAANGb250U3R5bGUAQQEAABBGb250QmFja2dyb3VuZAAAAAAACEZvbnRCb2xkAAADRm9udENvbG9yAFUAAAAQQQD/AAAAEFIAAAAAABBHAAAAAAAQQgAAAAAAAVNjQQAAAAAAAADwPwFTY1IAAAAAAAAAAAABU2NHAAAAAAAAAAAAAVNjQgAAAAAAAAAAAAAQRm9udFRoZW1lQ29sb3IAAAAAAAFGb250VGludEFuZFNoYWRlAAAAAAAAAAAAEEZvbnRTY2hlbWVDb2xvcgACAAAACEZvbnRJdGFsaWMAAAJGb250TmFtZQAHAAAAK21uLWx0AAFGb250U2l6ZQAAAAAAAAAoQAhGb250U3RyaWtldGhyb3VnaAAACEZvbnRTdWJzY3JpcHQAAAhGb250U3VwZXJzY3JpcHQAAAhGb250VW5kZXJsaW5lAAAACFNpemVUb1RleHRXaWR0aAABCFNpemVUb1RleHRIZWlnaHQAAQNUZXh0TWFyZ2luAD8AAAABTGVmdAAAAAAAAAAAAAFUb3AAAAAAAAAAAAABUmlnaHQAAAAAAAAAAAABQm90dG9tAAAAAAAAAAAAAAJEaXNwbGF5VGV4dAABAAAAAAFIZWlnaHQAAAAAwI5AA0ABV2lkdGgAAAAAoJmZuT8BVG9wAAAAAAAAABBAAUxlZnQAAAAAAAAAEEAIRmxpcEhvcml6b250YWxseQAACEZsaXBIb3Jpem9udGFsbHlBcHBsaSgAAAAFJwAAAP////8TCNQHAAAAAAAAAAB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Qb3NzaWJsZUFyZWEAbwEAAAFYAAAAAAAAAAAAAVkAAAAAAAAAAAABV2lkdGgAAAAAAAAAAAABSGVpZ2h0AAAAAAAAAAAAAUxlZnQAAAAAAAAAAAABVG9wAAAAAAAAAAAAAVJpZ2h0AAAAAAAAAAAAAUJvdHRvbQAAAAAAAAAAAANUb3BMZWZ0ABsAAAABWAAAAAAAAAAAAAFZAAAAAAAAAAAAAANUb3BSaWdodAAbAAAAAVgAAAAAAAAAAAABWQAAAAAAAAAAAAADQm90dG9tTGVmdAAbAAAAAVgAAAAAAAAAAAABWQAAAAAAAAAAAAADQm90dG9tUmlnaHQAGwAAAAFYAAAAAAAAAAAAAVkAAAAAAAAAAAAAA1NpemUALgAAAAhJc0VtcHR5AAABV2lkdGgAAAAAAAAAAAABSGVpZ2h0AAAAAAAAAAAAAANMb2NhdGlvbgAbAAAAAVgAAAAAAAAAAAABWQAAAAAAAAAAAAAISXNFbXB0eQAAAAAIVXNlQXV0b21hdGljTWFqb3JVbml0AAEIVXNlQXV0b21hdGljTWluaW11bVNjYWxlAAEIVXNlQXV0b21hdGljTWF4aW11bVNjYWxlAAEDRm9udENvbG9yAFUAAAAQQQD/AAAAEFIAQAAAABBHAEAAAAAQQgBAAAAAAVNjQQAAAAAAAADwPwFTY1IAAAAAwP0/qj8BU2NHAAAAAMD9P6o/AVNjQgAAAADA/T+qPwAQRm9udFNjaGVtZUNvbG9yAAIAAAAQRm9udFRoZW1lQ29sb3IAAAAAAAFGb250VGludEFuZFNoYWRlAAAAAAAAAAAAAkxhYmVsUG9zaXRpb24ABQAAAE5vbmUAA0F4aXNMaW5lU3R5bGUAMwEAAAJfdHlwZQByAAAAbWlvLkNvbW1vbi5Qb3dlclBvaW50Lk1hbmFnZWQuQ29udHJhY3RzLkN1c3RvbWl6aW5nLlN0eWxlcy5BeGlzTGluZVN0eWxlLCBtaW8uQ29tbW9uLlBvd2VyUG9pbnQuTWFuYWdlZC5Db250cmFjdHMAAUxpbmVXZWlnaHQAAAAAAAAA4D8CRGFzaFN0eWxlAAoAAABMaW5lU29saWQACFZpc2libGUAAQNDb2xvcgBzAAAAEFRoZW1lQ29sb3IADQAAAAFUaW50QW5kU2hhZGUAAAAAAAAAAAAQVGludEluZGV4AP////8QU2NoZW1lQ29sb3IAAAAAAANDb2xvcgAhAAAAEEEAAAAAABBSAP8AAAAQRwD/AAAAEEIA/wAAAAAAAANOdW1iZXJGb3JtYXQAHwAAAAVfaWQAEAAAAAQAAAAAAAAAAAAAAAAAAAA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AAAAJOYW1lAAkAAABBeGVzRGF0YQAQVmVyc2lvbgAFAAAACUxhc3RXcml0ZQD9N2w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pAAAABf////8qAAAA5w8AAAAAAAAAAAAAexUAAAVfaWQAEAAAAARY2xp8GBFsSpFfxhD/VEP0A0RhdGEAIRUAAARJdGVtRGF0YQBgFAAAAzAAWBQAABBJbmRleAABAAAACElzRGVsZXRlZAAAA1RleHRTaGFwZURhdGEAuAYAAAVNYW5hZ2VkSWQAEAAAAATveDZxfZ/pS4nYcyEtGzj+CEhhc0NoYW5nZXMAAQhVc2VOYW1lSW5zdGVhZE9mVGFnQXNJZAABCFNoYXBlUHJldmlvdXNseUNyZWF0ZWQAAQ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BQAAADIwMjUAAlRleHRIb3Jpem9udGFsQWxpZ25tZW50AA4AAABtc29BbmNob3JOb25lAAJQYXJhZ3JhcGhBbGlnbm1lbnQADwAAAG1zb0FsaWduQ2VudGVyAAJUZXh0VmVydGljYWxBbGlnbm1lbnQADQAAAG1zb0FuY2hvclRvcAADRm9udFN0eWxlAEABAAAQRm9udEJhY2tncm91bmQAAAAAAAhGb250Qm9sZAAAA0ZvbnRDb2xvcgBVAAAAEEEA/wAAABBSAEAAAAAQRwBAAAAAEEIAQAAAAAFTY0EAAAAAAAAA8D8BU2NSAAAAAMD9P6o/AVNjRwAAAADA/T+qPwFTY0IAAAAAwP0/qj8AEEZvbnRUaGVtZUNvbG9yAAAAAAABRm9udFRpbnRBbmRTaGFkZQAAAAAAAAAAABBGb250U2NoZW1lQ29sb3IAAgAAAAhGb250SXRhbGljAAACRm9udE5hbWUABgAAAEFyaWFsAAFGb250U2l6ZQAAAAAAAAAkQAhGb250U3RyaWtldGhyb3VnaAAACEZvbnRTdWJzY3JpcHQAAAhGb250U3VwZXJzY3JpcHQAAAhGb250VW5kZXJsaW5lAAAACFNpemVUb1RleHRXaWR0aAABCFNpemVUb1RleHRIZWlnaHQAAQNUZXh0TWFyZ2luAD8AAAABTGVmdAAAAAAAAAAAAAFUb3AAAAAAAAAAAAABUmlnaHQAAAAAAAAAAAABQm90dG9tAAAAAAAAAAAAAAJEaXNwbGF5VGV4dAAFAAAAMjAyNQABSGVpZ2h0AAAAAKCZWShAAVdpZHRoAAAAAEAKVzZAAVRvcAAAAAAAbD5wQAFMZWZ0AAAAACDaGGV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NYXJrZXJTaGFwZURhdGEAdAYAAAJBdXRvU2hhcGVUeXBlAAoAAABSZWN0YW5nbGUABU1hbmFnZWRJZAAQAAAABP3JV4NVM4BFvTgLIFb3sxgISGFzQ2hhbmdlcwABCFVzZU5hbWVJbnN0ZWFkT2ZUYWdBc0lkAAEIU2hhcGVQcmV2aW91c2x5Q3JlYXRlZAAAA0ZpbGxDb2xvcgBVAAAAEEEA/wAAABBSAPsAAAAQRwC6AAAAEEIAuQAAAAFTY0EAAAAAAAAA8D8BU2NSAAAAAMC13u4/AVNjRwAAAADg4mzfPwFTY0IAAAAAYLIM3z8AEEZpbGxUaGVtZUNvbG9yAAcAAAABRmlsbFRpbnRBbmRTaGFkZQAAAAAAAAAAABBGaWxsU2NoZW1lQ29sb3IAAAAAAANQYXR0ZXJuQ29sb3IAVQAAABBBAP8AAAAQUgASAAAAEEcAPwAAABBCAG4AAAABU2NBAAAAAAAAAPA/AVNjUgAAAABAqcZ4PwFTY0cAAAAAoCNzqT8BU2NCAAAAAABm9cM/ABBQYXR0ZXJuVGhlbWVDb2xvcgAF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g3wsXQAFXaWR0aAAAAABg3wsXQAFUb3AAAAAAwLpxcEABTGVmdAAAAAAgewBkQAhGbGlwSG9yaXpvbnRhbGx5AAAIRmxpcEhvcml6b250YWxseUFwcGxpZWQAAAhGbGlwVmVydGljYWxseQAACEZsaXBWZXJ0aWNhbGx5QXBwbGllZAAAAVJvdGF0aW9uAAAAAAAAAAAAAVpPcmRlcgAAAAAAAAAkQANCb3JkZXJDb2xvcgBVAAAAEEEAAAAAABBSAP8AAAAQRwD/AAAAEEIA/wAAAAFTY0EAAAAAAAAAAAABU2NSAAAAAAAAAPA/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luZVNoYXBlRGF0YQDhBgAAA1N0YXJ0ABsAAAABWAAAAAAAAAAAAAFZAAAAAAAAAAAAAANFbmQAGwAAAAFYAAAAAAAAAAAAAVkAAAAAAAAAAAAAAlN0YXJ0QXJyb3dIZWFkABEAAABtc29BcnJvd2hlYWROb25lAAJFbmRBcnJvd0hlYWQAEQAAAG1zb0Fycm93aGVhZE5vbmUABU1hbmFnZWRJZAAQAAAABOUAXAVnbcxMgpZ9WSpo6cM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KgAAAAUpAAAA/////5QFUwoAAAAAAAAAAG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CQWxpZ25tZW50AAcAAABIaWRkZW4ACElzVXNlclBvc2l0aW9uAAADQ3VzdG9tQ2VudGVyUG9zaXRpb24AGwAAAAFYAAAAAAAAAAAAAVkAAAAAAAAAAAAAAkl0ZW1PcmRlcgAKAAAAQXNjZW5kaW5nABBSb3dDb3VudAABAAAAEENvbHVtbkNvdW50AAAAAAACSXRlbUZsb3dEaXJlY3Rpb24ACwAAAEhvcml6b250YWwAAAJOYW1lAAsAAABMZWdlbmREYXRhABBWZXJzaW9uAAIAAAAJTGFzdFdyaXRlACXFbj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AAAAAMQAAAGI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sAAAABf////8tAAAA5w8AAAAAAAAAAAAASkoAAAVfaWQAEAAAAARYYouFJp9BRKpkVPtOAGVnA0RhdGEA8EkAAANEYXRhTGFiZWxzUGVyQXhpcwC5SQAAA1ByaW1hcnkAV0kAAAREYXRhTGFiZWxzABNJAAADMABXGAAAEFBvaW50SW5kZXgAAQAAAAJBbGlnbm1lbnQABwAAAENlbnRlcgAQU2VyaWVzSW5kZXgAAQAAAAhSZXF1aXJlRm9udENvbG9yTWlncmF0aW9uAAAITWFudWFsRGF0YUxhYmVsQmFja2dyb3VuZFZpc2libGUAAAhIYXNXaXNoQ29sb3I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NWYWx1ZUF4aXNOdW1iZXJGb3JtYXQAHwAAAAVfaWQAEAAAAAQAAAAAAAAAAAAAAAAAAAAAAANDYXRlZ29yeUF4aXNOdW1iZXJGb3JtYXQAHwAAAAVfaWQAEAAAAAQAAAAAAAAAAAAAAAAAAAAAAANUZXh0Qm94ALwGAAAFTWFuYWdlZElkABAAAAAE9Qm7rDN3I0eIdZlnX+XVLQhIYXNDaGFuZ2VzAAAIVXNlTmFtZUluc3RlYWRPZlRhZ0FzSWQAAQhTaGFwZVByZXZpb3VzbHlDcmVhdGVkAAEDRmlsbENvbG9yAFUAAAAQQQD/AAAAEFIA+wAAABBHALoAAAAQQgC5AAAAAVNjQQAAAAAAAADwPwFTY1IAAAAAwLXe7j8BU2NHAAAAAODibN8/AVNjQgAAAABgsgzfPwAQRmlsbFRoZW1lQ29sb3IABw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QAAAA0NiUAAlRleHRIb3Jpem9udGFsQWxpZ25tZW50ABAAAABtc29BbmNob3JDZW50ZXI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EAAAANDYlAAFIZWlnaHQAAAAAoCKeKkABV2lkdGgAAAAAQNTxNkABVG9wAAAAAIDvckxAAUxlZnQAAAAAwFqGR0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R8VuMD87yCTqmoyecsq/5L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LQAAAAUsAAAALgAAAOcPAAAAAAAAAAAAAA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Fykqk5+mP5LgGlFumH/8ng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DQz0JNQAFZAAAAAGxrVE9AAAhIYXNMZWFkZXJMaW5lAAAISXNDZW50ZXJBdXRvbWF0aWNBZGp1c3RlZAAACElzVXNlclBvc2l0aW9uAAACU2VwYXJhdG9yAAIAAAAKAAJUZXh0AAQAAAA0NiUACFJlcXVpcmVSZWxhdGl2ZVBvc2l0aW9uVXBncmFkZQAACElzR2VvbWV0cnlPdXRPZkJvdW5kcwAACElzTGVhZGVyTGluZUluQXV0b01vZGUAAQhEZWxldGVkAAAAAzEAVxgAABBQb2ludEluZGV4AAIAAAACQWxpZ25tZW50AAcAAABDZW50ZXIAEFNlcmllc0luZGV4AAEAAAAIUmVxdWlyZUZvbnRDb2xvck1pZ3JhdGlvbgAACE1hbnVhbERhdGFMYWJlbEJhY2tncm91bmRWaXNpYmxlAAAISGFzV2lzaENvbG9y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DVmFsdWVBeGlzTnVtYmVyRm9ybWF0AB8AAAAFX2lkABAAAAAEAAAAAAAAAAAAAAAAAAAAAAADQ2F0ZWdvcnlBeGlzTnVtYmVyRm9ybWF0AB8AAAAFX2lkABAAAAAEAAAAAAAAAAAAAAAAAAAAAAADVGV4dEJveAC8BgAABU1hbmFnZWRJZAAQAAAABK+H0rUzec1JqUJbTo/6myQISGFzQ2hhbmdlcwAACFVzZU5hbWVJbnN0ZWFkT2ZUYWdBc0lkAAEIU2hhcGVQcmV2aW91c2x5Q3JlYXRlZAABA0ZpbGxDb2xvcgBVAAAAEEEA/wAAABBSAPsAAAAQRwC6AAAAEEIAuQAAAAFTY0EAAAAAAAAA8D8BU2NSAAAAAMC13u4/AVNjRwAAAADg4mzfPwFTY0IAAAAAYLIM3z8AEEZpbGxUaGVtZUNvbG9yAAc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EAAAAMjA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AAAADIwJQABSC4AAAAFLQAAAC8AAADnDwAAAAAAAAAAAABlaWdodAAAAACgIp4qQAFXaWR0aAAAAABA1PE2QAFUb3AAAAAA4NHfVUABTGVmdAAAAAAA/oJk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PkPkNY+/FJNmN6T/mvAF3A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Q7wU7m1wQDSLwW8QP2Ljmt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UvAAAABS4AAAAwAAAA5w8AAAAAAAAAAAAAbGVBZnRlcgAACExpbmVSdWxlQmVmb3JlAAAITGluZVJ1bGVXaXRoaW4AAAFSaWdodEluZGVudAAAAAAAAAAAAAFTcGFjZUFmdGVyAAAAAAAAAAAAAVNwYWNlQmVmb3JlAAAAAAAAAAAAAVNwYWNlV2l0aGluAAAAAAAAAAAAAANDZW50ZXIAGwAAAAFYAAAAAEQb8mVAAVkAAAAA1o9QV0AACEhhc0xlYWRlckxpbmUAAAhJc0NlbnRlckF1dG9tYXRpY0FkanVzdGVkAAAISXNVc2VyUG9zaXRpb24AAAJTZXBhcmF0b3IAAgAAAAoAAlRleHQABAAAADIwJQAIUmVxdWlyZVJlbGF0aXZlUG9zaXRpb25VcGdyYWRlAAAISXNHZW9tZXRyeU91dE9mQm91bmRzAAAISXNMZWFkZXJMaW5lSW5BdXRvTW9kZQABCERlbGV0ZWQAAAADMgBXGAAAEFBvaW50SW5kZXgAAwAAAAJBbGlnbm1lbnQABwAAAENlbnRlcgAQU2VyaWVzSW5kZXgAAQAAAAhSZXF1aXJlRm9udENvbG9yTWlncmF0aW9uAAAITWFudWFsRGF0YUxhYmVsQmFja2dyb3VuZFZpc2libGUAAAhIYXNXaXNoQ29sb3IAAANUZXh0RGVmaW5pdGlvbg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NWYWx1ZUF4aXNOdW1iZXJGb3JtYXQAHwAAAAVfaWQAEAAAAAQAAAAAAAAAAAAAAAAAAAAAAANDYXRlZ29yeUF4aXNOdW1iZXJGb3JtYXQAHwAAAAVfaWQAEAAAAAQAAAAAAAAAAAAAAAAAAAAAAANUZXh0Qm94ALwGAAAFTWFuYWdlZElkABAAAAAEgHWz3RQrhUqAfqOV1uWEjAhIYXNDaGFuZ2VzAAAIVXNlTmFtZUluc3RlYWRPZlRhZ0FzSWQAAQhTaGFwZVByZXZpb3VzbHlDcmVhdGVkAAEDRmlsbENvbG9yAFUAAAAQQQD/AAAAEFIA+wAAABBHALoAAAAQQgC5AAAAAVNjQQAAAAAAAADwPwFTY1IAAAAAwLXe7j8BU2NHAAAAAODibN8/AVNjQgAAAABgsgzfPwAQRmlsbFRoZW1lQ29sb3IABw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QAAAAzNSUAAlRleHRIb3Jpem9udGFsQWxpZ25tZW50ABAAAABtc29BbmNob3JDZW50ZXIAAlBhcmFncmFwaEFsaWdubWVudAAPAAAAbXNvQWxpZ25DZW50ZXIAAlRleHRWZXJ0aWNhbEFsaWdubWVudAAQAAAAbXNvQW5jaG9yTWlkZGx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EAAAAMzUlAAFIZWlnaHQAAAAAoCKeKkABV2lkdGgAAAAAQNTxNkABVG9wAAAAACAAdlFAAUxlZnQAAAAAoDKSc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TBGeJrEeGVR7GaV6u0WMuI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MAAAAAUvAAAA/////64KOQUAAAAAAAAAAH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G6eol1rSGVLka87eDAR/So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BCwUlyQAFZAAAAABa+5lJAAAhIYXNMZWFkZXJMaW5lAAAISXNDZW50ZXJBdXRvbWF0aWNBZGp1c3RlZAAACElzVXNlclBvc2l0aW9uAAACU2VwYXJhdG9yAAIAAAAKAAJUZXh0AAQAAAAzNSUACFJlcXVpcmVSZWxhdGl2ZVBvc2l0aW9uVXBncmFkZQAACElzR2VvbWV0cnlPdXRPZkJvdW5kcwAACElzTGVhZGVyTGluZUluQXV0b01vZGUAAQhEZWxldGVkAAAAAAhMYWJlbHNWaXNpYmxlAAEIQXV0b21hdGljTGFiZWxCYWNrZ3JvdW5kc0VuYWJsZWQAAAADU2Vjb25kYXJ5AEkAAAAERGF0YUxhYmVscwAFAAAAAAhMYWJlbHNWaXNpYmxlAAEIQXV0b21hdGljTGFiZWxCYWNrZ3JvdW5kc0VuYWJsZWQAAAAACERpc2FibGVBdXRvbWF0aWNEZWFjdGl2YXRpb24AAAACTmFtZQALAAAARGF0YUxhYmVscwAQVmVyc2lvbgAJAAAACUxhc3RXcml0ZQCBMq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EAAAAAMgAAACs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yAAAAADMAAAAx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wAAAAA0AAAAMg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QAAAAANQAAADM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1AAAAAB4AAAA0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gAAAAA3AAAA/////w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cAAAAAOAAAADY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4AAAAADkAAAA3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OQAAAAA6AAAAOA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oAAAAAOwAAADk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7AAAAAFEAAAA6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PAAAAAX/////PQAAAOcPAAAAAAAAAAAAAIlHAAAFX2lkABAAAAAES4WRnTQGy0uTl/gv8Xz25wNEYXRhAC9HAAADRGF0YUxhYmVsc1BlckF4aXMA+EYAAANQcmltYXJ5ALlEAAAERGF0YUxhYmVscwCYQgAAAzAALhYAABBQb2ludEluZGV4AAEAAAACQWxpZ25tZW50AAcAAABDZW50ZXIAEFNlcmllc0luZGV4AAEAAAAIUmVxdWlyZUZvbnRDb2xvck1pZ3JhdGlvbgAACE1hbnVhbERhdGFMYWJlbEJhY2tncm91bmRWaXNpYmxlAAAISGFzV2lzaENvbG9yAAADVGV4dEJveAC8BgAABU1hbmFnZWRJZAAQAAAABPUJu6wzdyNHiHWZZ1/l1S0ISGFzQ2hhbmdlcwAACFVzZU5hbWVJbnN0ZWFkT2ZUYWdBc0lkAAEIU2hhcGVQcmV2aW91c2x5Q3JlYXRlZAABA0ZpbGxDb2xvcgBVAAAAEEEA/wAAABBSAPsAAAAQRwC6AAAAEEIAuQAAAAFTY0EAAAAAAAAA8D8BU2NSAAAAAMC13u4/AVNjRwAAAADg4mzfPwFTY0IAAAAAYLIM3z8AEEZpbGxUaGVtZUNvbG9yAAc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EAAAANDY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AAAADQ2JQABSGVpZ2h0AAAAAKAinipAAVdpZHRoAAAAAEDU8TZAAVRvcAAAAACA73JMQAFMZWZ0AAAAAMBahkd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AAAAAAAAVkAAAAAAAAAAAAAA0VuZAAbAAAAAVgAAAAAAAAAAAABWQAAAAAAAAAAAAACU3RhcnRBcnJvd0hlYWQAEQAAAG1zb0Fycm93aGVhZE5vbmUAAkVuZEFycm93SGVhZAARAAAAbXNvQXJyb3doZWFkTm9uZQAFTWFuYWdlZElkABAAAAAEfFbjA/O8gk6pqMnnLKv+Sw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ZWFkZXJMaW5lRG9ja2luZwDhBgAAA1N0YXJ0ABsAAAABWAAAAAAAAAAAAAFZAAAAAAAAAAAAAANFbmQAGwAAAAFYAAAAAAAAAAAAAVkAAAAAAAAAAAAAAlN0YXJ0QXJyb3dIZWFkABEAAABtc29BcnJvd2hlYWROb25lAAJFbmRBcnJvd0hlYWQAEQAAAG1zb0Fycm93aGVhZE5vbmUABU1hbmFnZWRJZAAQAAAABFykqk5+mP5LgGlFumH/8ngISGFzQ2hhbmdlcwABCFVzZU5hbWVJbnN0ZWFkT2ZUYWdBc0lkAAEIU2hhcGVQcmV2aW91c2x5Q3JlYXRlZAAAA0ZpbGxDb2xvcgBVAAAAEEEAAAAAABBSAAAAAAAQRwAAAAAAEEIAAAAAAAFTY0EAAAAAAAAA8L8BU2NSAAAAAAAAAPC/AVNjRwAAAD0AAAAFPAAAAD4AAADnDwAAAAAAAAA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0M9CTUABWQAAAABsa1RPQAAISGFzTGVhZGVyTGluZQAACElzQ2VudGVyQXV0b21hdGljQWRqdXN0ZWQAAAhJc1VzZXJQb3NpdGlvbgAACEFkZFByZWZpeFNwYWNlAAAIQWRkUG9zdGZpeFNwYWNlAAACU2VwYXJhdG9yAAIAAAAKAAJUZXh0AAQAAAA0NiUACFJlcXVpcmVSZWxhdGl2ZVBvc2l0aW9uVXBncmFkZQAACElzR2VvbWV0cnlPdXRPZkJvdW5kcwAACElzTGVhZGVyTGluZUluQXV0b01vZGUAAQhEZWxldGVkAAAAAzEALhYAABBQb2ludEluZGV4AAIAAAACQWxpZ25tZW50AAcAAABDZW50ZXIAEFNlcmllc0luZGV4AAEAAAAIUmVxdWlyZUZvbnRDb2xvck1pZ3JhdGlvbgAACE1hbnVhbERhdGFMYWJlbEJhY2tncm91bmRWaXNpYmxlAAAISGFzV2lzaENvbG9yAAADVGV4dEJveAC8BgAABU1hbmFnZWRJZAAQAAAABK+H0rUzec1JqUJbTo/6myQISGFzQ2hhbmdlcwAACFVzZU5hbWVJbnN0ZWFkT2ZUYWdBc0lkAAEIU2hhcGVQcmV2aW91c2x5Q3JlYXRlZAABA0ZpbGxDb2xvcgBVAAAAEEEA/wAAABBSAPsAAAAQRwC6AAAAEEIAuQAAAAFTY0EAAAAAAAAA8D8BU2NSAAAAAMC13u4/AVNjRwAAAADg4mzfPwFTY0IAAAAAYLIM3z8AEEZpbGxUaGVtZUNvbG9yAAc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EAAAAMjAlAAJUZXh0SG9yaXpvbnRhbEFsaWdubWVudAAQAAAAbXNvQW5jaG9yQ2VudGVyAAJQYXJhZ3JhcGhBbGlnbm1lbnQADwAAAG1zb0FsaWduQ2VudGVyAAJUZXh0VmVydGljYWxBbGlnbm1lbnQAEAAAAG1zb0FuY2hvck1pZGRsZQADRm9udFN0eWxlAEEBAAAQRm9udEJhY2tncm91bmQAAAAAAAhGb250Qm9sZAAAA0ZvbnRDb2xvcgBVAAAAEEEA/wAAABBSAP8AAAAQRwD/AAAAEEIA/wAAAAFTY0EAAAAAAAAA8D8BU2NSAAAAAAAAAPA/AVNjRwAAAAAAAADwPwFTY0IAAAAAAAAA8D8AEEZvbnRUaGVtZUNvbG9yAAAAAAABRm9udFRpbnRBbmRTaGFkZQAAAAAAAAAAABBGb250U2NoZW1lQ29sb3IAAQAAAAhGb250SXRhbGljAAACRm9udE5hbWUABwAAACttbi1sdAABRm9udFNpemUAAAAAAAAAJEAIRm9udFN0cmlrZXRocm91Z2gAAAhGb250U3Vic2NyaXB0AAAIRm9udFN1cGVyc2NyaXB0AAAIRm9udFVuZGVybGluZQAAAAhTaXplVG9UZXh0V2lkdGgAAQhTaXplVG9UZXh0SGVpZ2h0AAEDVGV4dE1hcmdpbgA/AAAAAUxlZnQAAAAAwFqt9j8BVG9wAAAAAKBIJOI/AVJpZ2h0AAAAAMBarfY/AUJvdHRvbQAAAACgSCTiPwACRGlzcGxheVRleHQABAAAADIwJQABSGVpZ2h0AAAAAKAinipAAVdpZHRoAAAAAEDU8TZAAVRvcAAAAADg0d9VQAFMZWZ0AAAAAAD+gmR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VBvc2l0aW9uaW5nSGVpZ2h0AAAAAGDfCydAAANMZWFkZXJMaW5lAOEGAAADU3RhcnQAGwAAAAFYAAAAAAAAAAAAAVkAAAAAAAAAAAAAA0VuZAAbAAAAAVgAAAAAAAAAAAABWQAAAAAAAAAAAAACU3RhcnRBcnJvd0hlYWQAEQAAAG1zb0Fycm93aGVhZE5vbmUAAkVuZEFycm93SGVhZAARAAAAbXNvQXJyb3doZWFkTm9uZQAFTWFuYWdlZElkABAAAAAE+Q+Q1j78Uk2Y3pP+a8AXcA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ABT0AAAA/AAAA5w8AAAA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Q7wU7m1wQDSLwW8QP2Ljmt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lbnRlcgAbAAAAAVgAAAAARBvyZUABWQAAAADWj1BXQAAISGFzTGVhZGVyTGluZQAACElzQ2VudGVyQXV0b21hdGljQWRqdXN0ZWQAAAhJc1VzZXJQb3NpdGlvbgAACEFkZFByZWZpeFNwYWNlAAAIQWRkUG9zdGZpeFNwYWNlAAACU2VwYXJhdG9yAAIAAAAKAAJUZXh0AAQAAAAyMCUACFJlcXVpcmVSZWxhdGl2ZVBvc2l0aW9uVXBncmFkZQAACElzR2VvbWV0cnlPdXRPZkJvdW5kcwAACElzTGVhZGVyTGluZUluQXV0b01vZGUAAQhEZWxldGVkAAAAAzIALhYAABBQb2ludEluZGV4AAMAAAACQWxpZ25tZW50AAcAAABDZW50ZXIAEFNlcmllc0luZGV4AAEAAAAIUmVxdWlyZUZvbnRDb2xvck1pZ3JhdGlvbgAACE1hbnVhbERhdGFMYWJlbEJhY2tncm91bmRWaXNpYmxlAAAISGFzV2lzaENvbG9yAAADVGV4dEJveAC8BgAABU1hbmFnZWRJZAAQAAAABIB1s90UK4VKgH6jldblhIwISGFzQ2hhbmdlcwAACFVzZU5hbWVJbnN0ZWFkT2ZUYWdBc0lkAAEIU2hhcGVQcmV2aW91c2x5Q3JlYXRlZAABA0ZpbGxDb2xvcgBVAAAAEEEA/wAAABBSAPsAAAAQRwC6AAAAEEIAuQAAAAFTY0EAAAAAAAAA8D8BU2NSAAAAAMC13u4/AVNjRwAAAADg4mzfPwFTY0IAAAAAYLIM3z8AEEZpbGxUaGVtZUNvbG9yAAc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EAAAAMzUlAAJUZXh0SG9yaXpvbnRhbEFsaWdubWVudAAQAAAAbXNvQW5jaG9yQ2VudGVyAAJQYXJhZ3JhcGhBbGlnbm1lbnQADwAAAG1zb0FsaWduQ2VudGVyAAJUZXh0VmVydGljYWxBbGlnbm1lbnQAEAAAAG1zb0FuY2hvck1pZGRsPwAAAAU+AAAAQAAAAOcPAAAAAAAAAAAAA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QAAAAzNSUAAUhlaWdodAAAAACgIp4qQAFXaWR0aAAAAABA1PE2QAFUb3AAAAAAIAB2UUABTGVmdAAAAACgMpJx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MEZ4msR4ZVHsZpXq7RYy4g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RunqJda0hlS5GvO3gwEf0q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EAAAAAFPwAAAP/////tB/oHAAAAAAAA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ELBSXJAAVkAAAAAFr7mUkAACEhhc0xlYWRlckxpbmUAAAhJc0NlbnRlckF1dG9tYXRpY0FkanVzdGVkAAAISXNVc2VyUG9zaXRpb24AAAhBZGRQcmVmaXhTcGFjZQAACEFkZFBvc3RmaXhTcGFjZQAAAlNlcGFyYXRvcgACAAAACgACVGV4dAAEAAAAMzUlAAhSZXF1aXJlUmVsYXRpdmVQb3NpdGlvblVwZ3JhZGUAAAhJc0dlb21ldHJ5T3V0T2ZCb3VuZHMAAAhJc0xlYWRlckxpbmVJbkF1dG9Nb2RlAAEIRGVsZXRlZAAA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TGFiZWxzVmlzaWJsZQABCEF1dG9tYXRpY0xhYmVsQmFja2dyb3VuZHNFbmFibGVkAAAAA1NlY29uZGFyeQAmAgAABERhdGFMYWJlbHMABQAAAAADVGV4dERlZmluaXRpb24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TGFiZWxzVmlzaWJsZQABCEF1dG9tYXRpY0xhYmVsQmFja2dyb3VuZHNFbmFibGVkAAAAAAhEaXNhYmxlQXV0b21hdGljRGVhY3RpdmF0aW9uAAAAAk5hbWUACwAAAERhdGFMYWJlbHMAEFZlcnNpb24ABwAAAAlMYXN0V3JpdGUAcTKu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BAAAAAEIAAAAP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gAAAABDAAAAQQ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MAAAAARAAAAEI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EAAAAAFoAAABD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QAAAABGAAAAFQ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YAAAAARwAAAEU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HAAAAAEgAAABG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SAAAAABJAAAARw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kAAAAASgAAAEg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KAAAAAF4AAABJ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SwAAAAQlAAAA/////woAbggAAAAAAAAAAAAAYwAAAAAAAQBMAAAAAAACAP////+1ALUAAAAFX2lkABAAAAAE0qiPuHZQK0SiZgYjXQlDUANEYXRhAFcAAAABTGVmdAAAAAAAAAAAAAFUb3AAAAAAAAAAAAABUmlnaHQAAAAAAAAAAAABQm90dG9tAAAAAAAAAAAAAU1hcmdpblRvTGVnZW5kAAAAAAAAAAAAAAJOYW1lAA8AAABQbG90QXJlYUJvcmRlcgAQVmVyc2lvbgAAAAAACUxhc3RXcml0ZQBZYL/3YgEAAAADAE8AAAAAAAQA/////3UAdQAAAAVfaWQAEAAAAATeQG7BAxWHSoNDj6o+6+LyA0RhdGEAEgAAAARCcmVha3MABQAAAAAAAk5hbWUAFAAAAEJyZWFrTWFuYWdlbWVudERhdGEAEFZlcnNpb24AAAAAAAlMYXN0V3JpdGUA+eXDQ2IBAAAABQD/////egF6AQAABV9pZAAQAAAABIjjhdBU3ktPkEbCUb2YJbsDRGF0YQAMAQAABFBvaW50Q29sb3JzU3R5bGUABQAAAAADU2VyaWVzQ29sb3JzU3R5bGUA3QAAAAMxANUAAAAQU2VyaWVzSW5kZXgAAQAAAANQcmltYXJ5Q29sb3JTdHlsZQCsAAAAAkNvbG9yUHJvcGVydHlUYXJnZXQACAAAAFByaW1hcnkAA0NvbG9yT3JUaGVtZUNvbG9yAHMAAAAQVGhlbWVDb2xvcgAFAAAAAVRpbnRBbmRTaGFkZQAAAAAAAAAAABBUaW50SW5kZXgA/////xBTY2hlbWVDb2xvcgAAAAAAA0NvbG9yACEAAAAQQQD/AAAAEFIAxwAAABBHACoAAAAQQgA0AAAAAAAAAAAAAk5hbWUAHwAAAFBvaW50QW5kU2VyaWVzU3R5bGVEZWZpbml0aW9ucwAQVmVyc2lvbgABAAAACUxhc3RXcml0ZQBsJ281lwEAAAAGAP////+yALIAAAAFX2lkABAAAAAE4qre0qllika870JsDs1+KANEYXRhAFcAAAADU2V0dGluZ3NQZXJBeGlzAEEAAAADUHJpbWFyeQAUAAAACElzSW5BdXRvTW9kZQABAANTZWNvbmRhcnkAFAAAAAhJc0luQXV0b01vZGUAAQAAAAJOYW1lAAwAAABMZWFkZXJMaW5lcwAQVmVyc2lvbgAAAAAACUxhc3RXcml0ZQC79T9pjQEAAAAHAP////9zAHMAAAAFX2lkABAAAAAEbOAV1XQR6UyRR83A52nzAwNEYXRhAAUAAAAAAk5hbWUAHwAAAEF6dXJlSW5mb3JtYXRpb25Qcm90ZWN0aW9uRGF0YQAQVmVyc2lvbgAAAAAACUxhc3RXcml0ZQAsX09GgAEAAAAIAP////9zAHMAAAAFX2lkABAAAAAEDoHv2XPMtEO3Si6jW0CduANEYXRhABcAAAAEU2VyaWVMYWJlbHMABQAAAAAAAk5hbWUADQAAAFNlcmllc0xhYmVscwAQVmVyc2lvbgADAAAACUxhc3RXcml0ZQAvG3PThAEAAAAJAP/////tAu0CAAAFX2lkABAAAAAEBv723Y+mD0O//fin+wdB+ANEYXRhAHYCAAAEUG9pbnRBZGRpdGlvbmFsU3R5bGVzAGoBAAADMAB0AAAAA1BvaW50QWRkcmVzcwAzAAAAEFNlcmllc0luZGV4AAEAAAAQUG9pbnRJbmRleAABAAAACElzUG9pbnRTdW0AAAADQWRkaXRpb25hbFN0eWxlcwAcAAAAAkZpbGxQYXR0ZXJuAAYAAABVbnNldAAAAAMxAHQAAAADUG9pbnRBZGRyZXNzADMAAAAQU2VyaWVzSW5kZXgAAQAAABBQb2ludEluZGV4AAIAAAAISXNQb2ludFN1bQAAAANBZGRpdGlvbmFsU3R5bGVzABwAAAACRmlsbFBhdHRlcm4ABgAAAFVuc2V0AAAAAzIAdAAAAANQb2ludEFkZHJlc3MAMwAAABBTZXJpZXNJbmRleAABAAAAEFBvaW50SW5kZXgAAwAAAAhJc1BvaW50U3VtAAAAA0FkZGl0aW9uYWxTdHlsZXMAHAAAAAJGaWxsUGF0dGVybgAGAAAAVW5zZXQAAAAAA1Nlcmllc0FkZGl0aW9uYWxTdHlsZXMA2AAAAAMxANAAAAAQU2VyaWVzSW5kZXgAAQAAAANBZGRpdGlvbmFsU3R5bGVzAKgAAAACRmlsbFBhdHRlcm4ACAAAAERlZmF1bHQAA0ZpbGxDb2xvck9yVGhlbWVDb2xvcgBzAAAAEFRoZW1lQ29sb3IAAAAAAAFUaW50QW5kU2hhZGUAAAAAAAAAAAAQVGludEluZGV4AP////8QU2NoZW1lQ29sb3IAAAAAAANDb2xvcgAhAAAAEEEA/wAAABBSAAAAAAAQRwAAAAAAEEIAAAAAAAAAAAAAAAJOYW1lACgAAABQb2ludEFuZFNlcmllc0FkZGl0aW9uU3R5bGVzRGVmaW5pdGlvbnMAEFZlcnNpb24AAAAAAAlMYXN0V3JpdGUA2G1u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wAAAAF/////00AAADnDwAAAAAAAAAAAAA/KwAABV9pZAAQAAAABMN2I7V51LFFmW5ZR1eqaDcDRGF0YQDkKgAABURhdGEA1CoAAABQSwMEFAAGAAgAAAAhADcxvZF7AQAAhAUAABMACAJbQ29udGVudF9UeXBlc10ueG1s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xUS2/CMAy+T9p/qHKdaGCHaZooHPY4bkiwHxAat41okyg2DP793PDQNAEVgkujJvH3sB0Px+umTlYQ0DibiUHaFwnY3Gljy0x8zz56zyJBUlar2lnIxAZQjEf3d8PZxgMmHG0xExWRf5ES8woahanzYPmkcKFRxL+hlF7lC1WCfOz3n2TuLIGlHrUYYjR8g0Ita0re17y9VTI3ViSv23stVSaU97XJFbFQubL6H0nPFYXJQbt82TB0ij6A0lgBUFOnPhhmDFMgYmMo5FHOADVeRrpzlXJkFIaV8fjA1k8wtCenXe3ivrgcwWhIJirQp2rYu1zX8seFxdy5RXoe5NLUxBSljTJ2r/sMf7yMMi6DGwtp/UXgDh3EPQYyfq+XEGE6CJE2NeCt0x5Bu5grFUBPibu3vLmAv9hdKVdzzoCkdrl12SPoOX5+0pPgPPLUCHB5FfZPtI3ueQaCQAYOj/RYsx8YeeRcXXZoZ5oGfYRbxhk6+gUAAP//AwBQSwMEFAAGAAgAAAAhALVVMCP0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k1PwzAMhu9I/IfI99XdkBBCS3dBSLshVH6ASdwPtY2jJBvdvyccEFQagwNHf71+/Mrb3TyN6sgh9uI0rIsSFDsjtnethpf6cXUHKiZylkZxrOHEEXbV9dX2mUdKeSh2vY8qq7iooUvJ3yNG0/FEsRDPLlcaCROlHIYWPZmBWsZNWd5i+K4B1UJT7a2GsLc3oOqTz5t/15am6Q0/iDlM7NKZFchzYmfZrnzIbCH1+RpVU2g5abBinnI6InlfZGzA80SbvxP9fC1OnMhSIjQS+DLPR8cloPV/WrQ08cudecQ3CcOryPDJgosfqN4BAAD//wMAUEsDBBQABgAIAAAAIQB2MX5aLQQAABsKAAAPAAAAeGwvd29ya2Jvb2sueG1srFZdb+I4FH1faf9DJuprGucTiJqOgARtpXZUUaZ9QULGcRqriZ11nEJ3NP99rxOgtB2N2JlF4OCv43PvPfc6F5+3VWk8U9kwwWPTOUemQTkRGeOPsfl1MbOGptEozDNcCk5j84U25ufLP/+42Aj5tBbiyQAA3sRmoVQd2XZDClrh5lzUlMNMLmSFFXTlo93UkuKsKShVVWm7CIV2hRk3e4RInoIh8pwRmgjSVpSrHkTSEiug3xSsbvZoFTkFrsLyqa0tIqoaINasZOqlAzWNikRXj1xIvC7B7K0TGFsJ3xB+DoLG3Z8EUx+OqhiRohG5Ogdouyf9wX4H2Y7zxgXbjz44Dcm3JX1mOoYHVjL8RVbhASt8BXPQb6M5IK1OKxE47xfRggM317y8yFlJ73vpGriuv+BKR6o0jRI3Ks2YollsDqArNvR1AKySbT1pWQmz7jB0PdO+PMj5VhqgftpjJYw2dCzXlKmmghOoXgnCGJeKSo4VnQquQIc7u35Xcx32tBCgcGNO/26ZpJBYoC+wFVpMIrxubrEqjFaWsTmNll8bMH9JCskaxTg+h+xrKWQc58txXSdY4eW1ILhcLmhVL11vmCGMBsQJcz/wvWFOMMmp64QIE5qPlkeSxh/z5z+IGhPtKRtc1ZvT/3/vNrBKRnvh3ippwP+r5BqCd4efIZQgmGyX6VcQK8dbcSIjZ/UNJcMwHAxn1mwwmFk+cpE1RhPfSkfpCHnuZOymg+9gjAwjInCrip1KNHRs+iCJD1M3eLufcVDUsuyVxje0+1j6+a7Zz33XBut6eM/opnnVk+4aTSE2d7ruLSCAnV3bB8YzsYlNy3VHKDCNl8OAr7ubbvqBZaqIzVGIwBX90F+UPRZgRODrMYXXc137gHqgs1W6mnpsvqGc9JRn8LF084ayfcS5K83AvXsavEunK163Cq4Azb4LAmRPpI+QV5nTBXm/K6M54zTTmQMYR70dUsXEihRYqmYFtEu6ktqS1VooJSqdpKDTzkn6GLCtYFlG9Z1kXnYkPp0lZ+6FfQT8o1Mkf9SRm4vNYZsXnXmn7NM5AjcJJHXZVvywPY3O0nfbj0mArUCc6LoBj85FIwe5I+0bUdI79g8FXeexOXaipCs1umzNKRFw677ANtCn2HW13bCNbtV1o7onZDqDcDo+Gg/QyLdQ6gWWPxy51tD3XGvqJ24aDNIknQRa8Poqjv6PC6krONH+jtfG6cgtJCZP8GYwp/kEN5ChvQKA7zHZSTCcIA8o+jMHstMZIWsyCX0rSGZeMHCSaRrMXslqr4F33r0+nFZrhna3m2LVQqnUVbLrR7qd7UYPg3k/cFDj0Q0dzRPt993uny28A+vL7ho4YfHs/kTU6Zebxc2Ja6/Txephduri8c0kGe/W2z/0jt1FT7ed5ux9zC//BQAA//8DAFBLAwQUAAYACAAAACEAgT6Ul/MAAAC6Ag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FJNS8QwEL0L/ocwd5t2FRHZdC8i7FXrDwjJtCnbJiEzfvTfGyq6XVjWSy8Db4Z5783Hdvc1DuIDE/XBK6iKEgR6E2zvOwVvzfPNAwhi7a0egkcFExLs6uur7QsOmnMTuT6SyCyeFDjm+CglGYejpiJE9LnShjRqzjB1Mmpz0B3KTVney7TkgPqEU+ytgrS3tyCaKWbl/7lD2/YGn4J5H9HzGQlJPA15ANHo1CEr+MFF9gjyvPxmTXnOa8Gj+gzlHKtLHqo1PXyGdCCHyEcffymSc+WimbtV7+F0QvvKKb/b8izL9O9m5MnH1d8AAAD//wMAUEsDBBQABgAIAAAAIQDiszeCkgMAALcHAAAYAAAAeGwvd29ya3NoZWV0cy9zaGVldDEueG1snJTbjtowEIbvK/UdLN+TEyyFiLCqFq3KTVV1t+21cSbEwofUdlhQ1XfvOIGwFVWFNgLH2P6/+cces7g/KEn2YJ0wuqBplFACmptS6G1Bvz0/jmaUOM90yaTRUNAjOHq/fP9u8WLsztUAniBBu4LW3jd5HDteg2IuMg1onKmMVczjT7uNXWOBlZ1IyThLkmmsmNC0J+T2FoapKsFhZXirQPseYkEyj/5dLRp3pil+C04xu2ubETeqQcRGSOGPHZQSxfP1VhvLNhLzPqQTxsnB4ifD7/gcphu/iqQEt8aZykdIjnvP1+nP43nM+EC6zv8mTDqJLexFOMALKnubpfRuYGUX2PiNsOkAC9tl81aUBf2VnJ4RvtPQJJfmPPebLhddnXyxBIsRPjOFZ/AUym2tm9bTeLkoBVZAyJpYqAr6Mc1XWRjvdN8FvLhXfeLZ5gkkcA/oIaUklO/GmF1YuMahJETsFgQi417s4QGkLOgKzbufXQzsYoB4iPC6f4722BU8+t4wBw9G/hClrzEkXqwSKtZKfxmcR9ndMPzVvHwCsa09Lp5Gs/lfDyW8dd6oYQVuaKjIvDyuwHG8CphC1NnjRqIXbIkS4UpjJbNDn/PJyiRc6WOoajzknnt2GfIbpDjbSae4Xb10HqXB8UmNG/Mf9YeTGt+D+mYx/uv0rqfjGdr9NyCcRZftHwAAAP//AAAA//+Uke0KgyBNAAAABUwAAABOAAAA5w8AAAAAAAAAAAAAFIZvJbyALLMGYcI2GbsNcbL2ow/Ste3ud9RRWL/2Rw/veXjhUWZara2QVnI2Da9kalCOEjPK3sBUU5h9op7GDt1lmDppfdDCRQANi6t+3F0CwTunUtW3j9BG6R6yLC0QZ8pVH113g6AVcgPpzDOGZ86w+hGnQMC5EHlMnPcEiQmxJ4qFwGC5qJJY1RtU6eFfK1cDr+F9SEbKjVJYl0E3pdXGJ15vXeJtsXYHEbz+3xcAAP//AAAA//90jzsOwjAMhq8S+QCUQqGASBemDkhIPUFKTRsBceS4IDg9KQ/Bgif/D8mf174jh2L3O1YHclI2GjJQcvOowdGG3AU5WHKQFGtvWtwabq0L6oQH0TAe5aDYtt1nF/JPd5Fn43SWZ8vXzEHVJELnP2GHpkEewilEDpKPeF+tUHqvvPHIlb1HtCUoYotOjEQ4DZ5Y2FiJNCsbf+CySQdkMfUJd4YlqD31LmKm8ON+25OhnXzrUVyJj6FDlOIBAAD//wMAUEsDBBQABgAIAAAAIQDvD2UUcQQAAKQPAAATAAAAeGwvdGhlbWUvdGhlbWUxLnhtbMxXW4+jNhR+r9T/YPHOhDthNJkVgaBWalWps6s+e8BcdgxE2JlLV/Pfe2wTLiHT3U6z0iYvYD4ff+fi79g3H55rih5Jx6q22WjmlaEh0qRtVjXFRvv0MdHXGmIcNxmmbUM22gth2ofbn3+6wde8JDVBML9h13ijlZzvr1crlsIwZlftnjTwLW+7GnN47YpV1uEnsFvTlWUY3qrGVaOhBtdg9o88r1KCPgqT2u3R+I7Ca8OZGEhpdydMk9kMic0eTIFgXXEf0Q49YrrRDPnTVrc3K3zdAyhf4hL563E9IHuwFvYcx3W8cLAnAZQvcTt/5+28wZ4E4DQFL5ZrO45vRU6PnYDU4xnbsR/b5gw/sW8vOIeu+M/wEqTsOwt8kkQQtRleghTeXeDdbbCN5/YlSOG9Bd43wtjxZ/YlqKRV87DMoOvZ0dHbAZK39Jez8MB1Et/qjY8oyP5QOWKJvG34rI62pDnwv0mXkbxqKtJxZMqiqvHntksALWZRzKsG8Zc9yXEK5XpHipagT7+K5fA1wZNPaihlJ0PAY2axrppLmx8twmKjn9Lreu602m7Sz7yi9I6/UPIbk66yllZZAoMyIXLHDZtqX8JjH+IZruiwnIO6lv9V8fKuxHsIk4pkwXrTBUP7lsHelAtLoSAntmWwD/Xvbaa2sWmKfaxiyjAfxw13GIfUcIX2/LF+B/NSAQqpIUcCYu5/ITFZbE7CPkPCPw5CFv6NhPTsIiyCMyzWwvwxVccsDqEAakNWYDchLNTedZRmIpZiSjKRJyWfx+yK5Fw0028Fk04rwIBm0VfAmOlAcH3TPeGdKrVvyPSMxKTc5iQmZVjijPTVOW0yl8x1MKZ0Rk+E4rgbRhr++nvkWojIiTbQZqoUtEFPG82zXTgzpHi/0XKQSXis91A7rCk0hGkBh4qUd2rDv0dZ9h3jMWalCrgUHaUGdcVJh2hVbzTh/lANtJEaIrmZFgjCD0suAFn50chB0udJJnlOUj5N+2RENj8JAIVXWnH2q5z+frCY2R4g3Xdl9oTu6aH7E0OJub4pAphVjEOrUdHMqm4iZGP9nTSmXnbPHBjFWpjuS9x3lKmYK7gU0YGOfFNOyy4HAZyFYP7eN8L7QjTY/911v96qhTcT0Rx75kxVRNc8L6bfr8lPWI1NdMZKSbc8YLFR64Kj1kGhnu0SX+m639AQJtTGxWbUBOOlDAvN7kfn1C54IJhEwnsjbkOPOBuJ93Z+mHdataJBHM+VchvIC+H0ztbefwbxiOHQfKCcqbPyM+8wHPrUGVzJBmyZZ95vDXhCh67aaF8MN3Qiy410Y+3udMd2DH3thrYeuq5t7lzTiLfWKzQWXtamqy6jCa4r+tJfSeX44lpaV2nXsjbnV2lbr1p57VxJ4vJaalpvX0tRBaLzxbOSwA62nh7YYaI78XatB5G31WMv8uMkjtx1kLxq6FGCndCOHG+31j0zinTHMwT9daD7jmWFjh+ud0742h9jwHMlJn0sILyS1+0/AAAA//8DAFBLAwQUAAYACAAAACEAamZXyDsFAAAjFwAADQAAAHhsL3N0eWxlcy54bWzsWG1v4jgQ/n7S/Qcr32leSFKCElZtaaRKq7vTlpXuqwkOWHXsyDEt7Gn/+46dhIRuWSjbvdNJhYrGb0/G45nxMxN/2BQMPRJZUcETy71wLER4JhaULxPr8ywdjCxUKcwXmAlOEmtLKuvD5Pff4kptGblfEaIQQPAqsVZKlWPbrrIVKXB1IUrCYSQXssAKmnJpV6UkeFHpRQWzPccJ7QJTbtUI4yI7BaTA8mFdDjJRlFjROWVUbQ2WhYpsfLfkQuI5A1E3ro8ztHFD6aGNhL+ofZEZ+e5dBc2kqESuLgDbFnlOM/K9yJEd2TjrkAD9PCQ3sB1vb/8beSaSb0vySPUR7uSS0ZlY4Q4rsiZxLriqUCbWXCVWAOhap+MHLp54qofAZJpZk7j6gh4xgx7XsidxJpiQSIEtwFGYHo4LUs+4J0tB0Oc7PS/HBWXbut/THcZ+mokFhdPUnbYWpBZnEs/1rJNfdiUpZi++6SRQuZwnVpo65qNhum2ciPzmoraAo31xztaq0UMF2qWM7Q7b1+cKHZMY3EwRyVNooOZ5ti3hVDlEhPpwzLwjs5cSb10vOH1BJRhdaCmWN8aWmpO4CvVXw8ybAcoXZEMWiRX6Br0nsLacU4Q78K6p+bz2XeaVoM+5kAuIrK37aE+puyYxI7mCHUi6XOn/SpR6P0IpiDyTeEHxUnDMtOG3K5oHgM0IY/c6+v6d72FvcsTXRVqoO1AFxHHtMu0j6KB5rPHqhsbvo9XYPdgQRH49LNrkO/xDq12QrxHKs1BfqN1qhMuSbXWY0QGkacGarnXF6JIXpJ4wiXHbRCsh6RdYqMOR0bGl7zhFM92RwQJSR5VNfnh/PQmHv1ZCbQxnCAhStSqE0z5Zhf+W0n7xsb5GaXDxt85wstL+WBdzIlPDXnr2t2eNb6JK44Hgcz3H3nPrnYMiffMk1r1hY3IBl3HjZmi+pkxR/oJTA+pi0wsTDjg0dOxu0vredXSEo73nSkn60NzBZnBdD7YR/w2vtNc5LVJkoz4JBcxP81Ww+yeJyxl0mka1kpQ/zERK67amm8Bk/9RxWE/QAc9s/10H73ag3aBvB/+dDxxhTi05aflOQ4Q6cmK/xHhedqwDYfNN/aqlLDWfgfQRuEpiqRVkes/ygpqv1fP6XOfdR/tx6gR94rUSTZoFRFHTyHPUWedsfawm7XqeB3Tcu7HFm1R/D7LvdgctCfuRTUBMh7sM4vfAufCjKAp8Dz7D4HIUOiaPtFuUSdzxvJ9D7HDOV1uT6taXzAG97edPB/za9YZpePsmugx7uvRAmW7oXPpONIp890xdHkc8TZfnm1p6qb9H1XM8+Bw3tNaT/odmq2kOkD+lS2EmWexxSrQgOV4zNdsNJhYpSvFEJMpWWKrKaqf8RR+FMusTq3v+qNNWVyeHHX7DTp/jlBrAcLOmiOQDb5XReE0hSf2nrqo4zsBxXBd+4CmFj/lpx77uveaWQUGJK6RMBeJpJRgx2wCJazocacvoxNqfvwI+SOQn8bSbbmooh6bnVFYKig/rAgprDb6xvEMLGK7UDNgpu4EcfbfEFCvsbg3EmN65TGJgrx8rqG7Bf7SWFPRye30ZTW9TbzByrkcDf0iCQRRcTweBf3M9naaR4zk3X3vVzJ+oZZoCLGTBrj+uGFQ8ZWMtjY3cd32QenSN2gSMF4LYfdkjL3SuAhdOcui4Az/Eo8EoHAaDNHC9aehf3wZp0JM9OLNO6diuW1dPtfDBWNGCMMpbY29NvN+bWDNo/mATdnsSdlfdnnwDAAD//wMAUEsDBBQABgAIAAAAIQBFoWnG+AAAAGgBAAAUAAAAeGwvc2hhcmVkU3RyaW5ncy54bWxckN1qwzAMhe8Hewej+9VpGWOUJKUUcrHB2MX2AE6iJgZbziwnrHv6yQ2jMGMJzqcfjl0evr1TC0a2gSrYbgpQSF3oLQ0VfH40D8+gOBnqjQuEFVyQ4VDf35XMSckscQVjStNea+5G9IY3YUKSyjlEb5LIOGieIpqeR8Tknd4VxZP2xhKoLsyUKngENZP9mvH0p+uSbV1Gue+SWi36Ry3GicctiOqCC1HFoa2gaYrryTg2gdLad4zWuMzOxlt3WeEuA33debW/58l08izxxxgXhFqVOuUWiewgR6pfzEpv5A0t/WevwlAdaTAt3mpafqr+BQAA//8DAFBLAwQUAAYACAAAACEAQb/4YNkAAADKAQAAIwAAAHhsL3dvcmtzaGVldHMvX3JlbHMvc2hlZXQxLnhtbC5yZWxzrJHBTsMwDEDvSPxD5DtJuwNCaOkuCGlXGB/gpW4b0TpRbBD7e4J2odMkLpws2/Lzk73dfS2z+aQiMbGH1jZgiEPqI48e3g7Pdw9gRJF7nBOThxMJ7Lrbm+0Lzah1SKaYxVQKi4dJNT86J2GiBcWmTFw7QyoLak3L6DKGdxzJbZrm3pXfDOhWTLPvPZR9vwFzOOW6+W92GoYY6CmFj4VYr6xwiseZKhDLSOrB2nNFzqG1VRbcdY/2Pz1yiaxUXkm1HlpWRhc9d5G39hj5R9KtPtB9AwAA//8DAFBLAwQUAAYACAAAACEA+kCEzLcBAADsBAAAJwAAAHhsL3ByaW50ZXJTZXR0aW5ncy9wcmludGVyU2V0dGluZ3MxLmJpbuxTsW7UQBB9zkWIiIKjT4HoT0rIQUh5PtvRReezZfsQ7SY3BOs2u9bajgiInk+I+BF+hhYJJEp6eDZpiBAIKQUFK3l23r43Mx6vJ4fCGWq0MDjFfcSYY4SHeIJH2CHOIXAoaWuiFFPyj+lNodEtb3Nw6wOGm9P32PCwhXd3xrdX8HAXz4g92gFVE4x79c0Y7ypNt2/wuUfnG9fhLP+pTDBbLB/g0vs62MaXz58+/q76sOvlmuA6vsEW/qf6B7/A39z3JcV5XBx1bQzx1nuNA0TY5dSMsY+Q+4iezxmKem+X3DE9n8w+52uEPc7RhKcH1AREe0QB5+4NM85M1TZ+aTBZFgmyMA/mcyxN6aTuvMSVYhrVlNYgTbIim8wKTK3WqhEkUYRYVqUqLipB6krTiAvkuWp1gyN7nMm5uFqCttLyslfzsLBGXK7Of4TzIF+Xla+VWafqVOpelkltddsXXVh3pjRSVTGqfCWYh0URZrhKukgWIUkGpuRfiDTss8OJW4lD5KxpCuurkzV8a9eafPfWncK3vaSDbMi62K4Eh05d1CdKy59/mm1Kno6D+Fd3+R0AAP//AwBQSwMEFAAGAAgAAAAhAHt7OrnSAQAAdwQAABQAAAB4bC90YWJsTgAAAAVNAAAA/////3ELdgQAAAAAAAAAAGVzL3RhYmxlMS54bWycVMtO6zAQ3V+Jf7C8b500BV0iUnQpqlQJsaDwAW4yaazrR2S7kArx74yT0ELaRYUXTnLiOWfOzCQ3t42S5BWsE0ZnNB5HlIDOTSH0JqMvz4vRX0qc57rg0mjI6A4cvZ1d/LnxfC2BYLR2Ga28r1PGXF6B4m5satD4pjRWcY+PdsNcbYEXrgLwSrJJFF0xxYWmHUOq8nNIFLf/t/UoN6rmXqyFFH7XclGi8nS50caGrDLaWNLY5Iu8sUfkSuTWOFP6MZIxU5Yih6Mc4ymz8CpCaQ5UyS+5rvZcmJcosNbIadNtuH2P+jXC6zxs0WiBq92+3n1QorlCc898DVLChJJCuFry3eMAtlBm9F+c3uORCqsO9sm8zc1W+4xif73xXDqEVpV5w6YjtD9135RLTOgST4VK3hmL0T04pbOu63Mjt0o7kneUA/xgLjl2F0edu9Zi6yzu/O3drWouPWBxhjkllP3Qb3XQITb6HB0cubAGOt8r1NucnNIJs3SeTnJSB+OHfuJTOtOzdaYndTB+qBMFHda2s29cX8aV30lY6tIc5kpCCz6ITeWv8cPHAVkI63wX2I5KwB74ERTGyVtRA/4NsHnhVBe0R7/lMfsEAAD//wMAUEsDBBQABgAIAAAAIQDKtFlYjQEAAOw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8kk1P3DAQhu9I/Q+Rz83aSViErN0glZYTSEgsourNtYesS/wheyDk3+Mku2FTVb15Zt55NPOON1fvps3eIETt7JYUK0YysNIpbZstedzd5JckiyisEq2zsCU9RHJVfznbSM+lC3AfnIeAGmKWSDZy6bdkj+g5pVHuwYi4Sgqbis8uGIEpDA31Qr6IBmjJ2AU1gEIJFHQA5n4mkgNSyRnpX0M7ApSk0IIBi5EWq4J+ahGCif9sGCsnSqOx92mnw7inbCWn4qx+j3oWdl236qpxjDR/QX/e3T6Mq+baDl5JIPVGSY4aW6g39POZXvH19x+QOKXnIBVkAIEu1Ea7seUYD06/QN+5oGLqWkSpTUGUQXtM95uYi0RStyLiXTroswb1ra9/2KbV6TJfs+t90BG1FSP0L1maf7RrGgtUlgzgk13HylN1/X13Q+qSFed5wfKK7Rjj5SU/L38NGyz6B0OmhDnM8l9iuc7ZRc6qXcH4es2r6oR4BNTjHxQIjQv95IxcRov/WX8AAAD//wMAUEsDBBQABgAIAAAAIQD2KVHU4gEAABAE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xTwW7bMAy9D9g/GL43ctqiGAJZRZtu6IAWCxq3d0amHWGyJEhMlux79if7scn24jhoN2C7kXwU9fj0xK93jU626IOyJk+nkyxN0EhbKlPn6XPx6exDmgQCU4K2BvN0jyG9Fu/f8YW3Dj0pDEkcYUKeroncjLEg19hAmETYRKSyvgGKqa+ZrSol8c7KTYOG2HmWXTHcEZoSyzM3DEz7ibMt/e/Q0sqWX3gp9i4SFrzAxmkgFJwdw8IS6EI1KLJYHhJ+45xWEihKIh6V9DbYipKPO4maszHI4ypLlBuvaN/OGKd8KUHjPLIQFeiAnB0L/B6hVXgBygfBtzTboiTrk6C+R40v02QFAVvueboFr8BQ3KFt65Mu1i6QFzd+hYrCSv/8QYSes9jVI104PjCO1aWYdg0x+GtjP+sWDRhDmNyiRxUf+B/uOX/7npZov3UkcKpHoUhj+FItwNMb8lyM5en49eL0VD8bt6ExvUEQb+oHCPRkv/0JPlhjbvWmMa927N6oddApv0cwUKOPwBDNbePA7EUDJSbKJL3xOTvU+YMyX8OzK+xda8rfBjkt8uUaPJbRU4OBhgK/j97wuh0yX4OpsTz0vAZaO7/0H1xMrybZRRadOqpxdvzK4hcAAAD//wMAUEsBAi0AFAAGAAgAAAAhADcxvZF7AQAAhAUAABMAAAAAAAAAAAAAAAAAAAAAAFtDb250ZW50X1R5cGVzXS54bWxQSwECLQAUAAYACAAAACEAtVUwI/QAAABMAgAACwAAAAAAAAAAAAAAAAC0AwAAX3JlbHMvLnJlbHNQSwECLQAUAAYACAAAACEAdjF+Wi0EAAAbCgAADwAAAAAAAAAAAAAAAADZBgAAeGwvd29ya2Jvb2sueG1sUEsBAi0AFAAGAAgAAAAhAIE+lJfzAAAAugIAABoAAAAAAAAAAAAAAAAAMwsAAHhsL19yZWxzL3dvcmtib29rLnhtbC5yZWxzUEsBAi0AFAAGAAgAAAAhAOKzN4KSAwAAtwcAABgAAAAAAAAAAAAAAAAAZg0AAHhsL3dvcmtzaGVldHMvc2hlZXQxLnhtbFBLAQItABQABgAIAAAAIQDvD2UUcQQAAKQPAAATAAAAAAAAAAAAAAAAAC4RAAB4bC90aGVtZS90aGVtZTEueG1sUEsBAi0AFAAGAAgAAAAhAGpmV8g7BQAAIxcAAA0AAAAAAAAAAAAAAAAA0BUAAHhsL3N0eWxlcy54bWxQSwECLQAUAAYACAAAACEARaFpxvgAAABoAQAAFAAAAAAAAAAAAAAAAAA2GwAAeGwvc2hhcmVkU3RyaW5ncy54bWxQSwECLQAUAAYACAAAACEAQb/4YNkAAADKAQAAIwAAAAAAAAAAAAAAAABgHAAAeGwvd29ya3NoZWV0cy9fcmVscy9zaGVldDEueG1sLnJlbHNQSwECLQAUAAYACAAAACEA+kCEzLcBAADsBAAAJwAAAAAAAAAAAAAAAAB6HQAAeGwvcHJpbnRlclNldHRpbmdzL3ByaW50ZXJTZXR0aW5nczEuYmluUEsBAi0AFAAGAAgAAAAhAHt7OrnSAQAAdwQAABQAAAAAAAAAAAAAAAAAdh8AAHhsL3RhYmxlcy90YWJsZTEueG1sUEsBAi0AFAAGAAgAAAAhAMq0WViNAQAA7AIAABEAAAAAAAAAAAAAAAAAeiEAAGRvY1Byb3BzL2NvcmUueG1sUEsBAi0AFAAGAAgAAAAhAPYpUdTiAQAAEAQAABAAAAAAAAAAAAAAAAAAPiQAAGRvY1Byb3BzL2FwcC54bWxQSwUGAAAAAA0ADQBoAwAAVicAAAAAAAJOYW1lAAwAAABFeGNlbE1pcnJvcgAQVmVyc2lvbgABAAAACUxhc3RXcml0ZQARp24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8AAAAF/////1AAAADnDwAAAAAAAAAAAACXFQAABV9pZAAQAAAABADzvLi9yU9ImhtkhDTHqM0DRGF0YQAvFQAABENhdGVnb3J5QXhpc0xhYmVsRGF0YQDhFAAAAzAA6QYAAANUZXh0Qm94RGF0YQCaBgAABU1hbmFnZWRJZAAQAAAABPiGTW3Qi9FGuuLbs6AaeBUISGFzQ2hhbmdlcwAACFVzZU5hbWVJbnN0ZWFkT2ZUYWdBc0lkAAEIU2hhcGVQcmV2aW91c2x5Q3JlYXRlZAAB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DAAAASmEAAlRleHRIb3Jpem9udGFsQWxpZ25tZW50AA4AAABtc29BbmNob3JOb25lAAJQYXJhZ3JhcGhBbGlnbm1lbnQADwAAAG1zb0FsaWduQ2VudGVyAAJUZXh0VmVydGljYWxBbGlnbm1lbnQADQAAAG1zb0FuY2hvclRvcAADRm9udFN0eWxlAEEBAAAQRm9udEJhY2tncm91bmQAAAAAAAhGb250Qm9sZAABA0ZvbnRDb2xvcgBVAAAAEEEA/wAAABBSAEAAAAAQRwBAAAAAEEIAQAAAAAFTY0EAAAAAAAAA8D8BU2NSAAAAAMD9P6o/AVNjRwAAAADA/T+qPwFTY0IAAAAAwP0/qj8AEEZvbnRUaGVtZUNvbG9yAAAAAAABRm9udFRpbnRBbmRTaGFkZQAAAAAAAAAAABBGb250U2NoZW1lQ29sb3IAAgAAAAhGb250SXRhbGljAAACRm9udE5hbWUABwAAACttbi1sdAABRm9udFNpemUAAAAAAAAAKEAIRm9udFN0cmlrZXRocm91Z2gAAAhGb250U3Vic2NyaXB0AAAIRm9udFN1cGVyc2NyaXB0AAAIRm9udFVuZGVybGluZQAAAAhTaXplVG9UZXh0V2lkdGgAAQhTaXplVG9UZXh0SGVpZ2h0AAADVGV4dE1hcmdpbgA/AAAAAUxlZnQAAAAAAAAAAAABVG9wAAAAAAAAAAAAAVJpZ2h0AAAAAAAAAAAAAUJvdHRvbQAAAAAAAAAAAAACRGlzcGxheVRleHQAAwAAAEphAAFIZWlnaHQAAAAAgBQuLUABV2lkdGgAAAAAgLHkKkABVG9wAAAAAEAh7F9AAUxlZnQAAAAAgAbzS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k9yaWVudGF0aW9uAAUAAABOb25lAAhMYWJlbFZpc2libGUAAQJUZXh0QWxpZ25tZW50AAUAAABMZWZ0AAADMQDtBgAAA1RleHRCb3hEYXRhAJ4GAAAFTWFuYWdlZElkABAAAAAEGo6A39uV80Ot46TOiGumpA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UAAABOZWluAAJUZXh0SG9yaXpvbnRhbEFsaWdubWVudAAOAAAAbXNvQW5jaG9yTm9uZQACUGFyYWdyYXBoQWxpZ25tZW50AA8AAABtc29BbGlnbkNlbnRlcgACVGV4dFZlcnRpY2FsQWxpZ25tZW50AA0AAABtc29BbmNob3JUb3AAA0ZvbnRTdHlsZQBBAQAAEEZvbnRCYWNrZ3JvdW5kAAAAAAAIRm9udEJvbGQAAQ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AA1RleHRNYXJnaW4APwAAAAFMZWZ0AAAAAAAAAAAAAVRvcAAAAAAAAAAAAAFSaWdodAAAAAAAAAAAAAFCb3R0b20AAAAAAAAAAAAAAkRpc3BsYXlUZXh0AAUAAABOZWluAAFIZWlnaHQAAAAAgBQuLUABV2lkdGgAAAAAIHQaOkABVG9wAAAAAEAh7F9AAUxlZnQAAAAAQKdTZE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k9yaWVudGF0aW9uAAUAAABOb25lAAhMYWJlbFZpc2libGUAAQJUZXh0QWxpZ25tZW50AAUAAABMZWZ0AAADMgD9BgAAA1RleHRCb3hEYXRhAK4GAAAFTWFuYWdlZElkABAAAAAEie9ghOIj7ku9FiU1tVFDnwhIYXNDaGFuZ2VzAAAIVXNlTmFtZUluc3RlYWRPZlRhZ0FzSWQAAQhTaGFwZVByZXZpb3VzbHlDcmVhdGVkAAE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VQAAAABU8AAAD/////sAU3CgAAAAAAAAAAAAECRmlsbFBhdHRlcm4AEAAAAG1zb1BhdHRlcm5NaXhlZAACVGV4dAANAAAAS2VpbmUgQW5nYWJlAAJUZXh0SG9yaXpvbnRhbEFsaWdubWVudAAOAAAAbXNvQW5jaG9yTm9uZQACUGFyYWdyYXBoQWxpZ25tZW50AA8AAABtc29BbGlnbkNlbnRlcgACVGV4dFZlcnRpY2FsQWxpZ25tZW50AA0AAABtc29BbmNob3JUb3AAA0ZvbnRTdHlsZQBBAQAAEEZvbnRCYWNrZ3JvdW5kAAAAAAAIRm9udEJvbGQAAQNGb250Q29sb3IAVQAAABBBAP8AAAAQUgBAAAAAEEcAQAAAABBCAEAAAAABU2NBAAAAAAAAAPA/AVNjUgAAAADA/T+qPwFTY0cAAAAAwP0/qj8BU2NCAAAAAMD9P6o/ABBGb250VGhlbWVDb2xvcgAAAAAAAUZvbnRUaW50QW5kU2hhZGUAAAAAAAAAAAAQRm9udFNjaGVtZUNvbG9yAAIAAAAIRm9udEl0YWxpYwAAAkZvbnROYW1lAAcAAAArbW4tbHQAAUZvbnRTaXplAAAAAAAAAChACEZvbnRTdHJpa2V0aHJvdWdoAAAIRm9udFN1YnNjcmlwdAAACEZvbnRTdXBlcnNjcmlwdAAACEZvbnRVbmRlcmxpbmUAAAAIU2l6ZVRvVGV4dFdpZHRoAAEIU2l6ZVRvVGV4dEhlaWdodAAAA1RleHRNYXJnaW4APwAAAAFMZWZ0AAAAAAAAAAAAAVRvcAAAAAAAAAAAAAFSaWdodAAAAAAAAAAAAAFCb3R0b20AAAAAAAAAAAAAAkRpc3BsYXlUZXh0AA0AAABLZWluZSBBbmdhYmUAAUhlaWdodAAAAACAFC4tQAFXaWR0aAAAAABA4epTQAFUb3AAAAAAQCHsX0ABTGVmdAAAAABg/Ztv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CT3JpZW50YXRpb24ABQAAAE5vbmUACExhYmVsVmlzaWJsZQABAlRleHRBbGlnbm1lbnQABQAAAExlZnQAAAAIV2FudHNUb0JlVmlzaWJsZQABAkxhYmVsVGV4dEFsaWdubWVudAAHAAAAQ2VudGVyAAACTmFtZQAZAAAAQ2F0ZWdvcnlBeGlzRGF0YVByb3BlcnR5ABBWZXJzaW9uAAEAAAAJTGFzdFdyaXRlAEAyrj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UQAAAAAQAAAAOw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IAAAADAAAAAP////8HAFAOAAAAAAAAAAAAAAEA////////ZgAAAAIAEAALDoHv2XPMtEO3Si6jW0CduEsAAAAIAAMAAAAyAFIAAAABAAEAAQD///////9mAAAAAwAQAAsG/vbdj6YPQ7/9+Kf7B0H4SwAAAAkAUgAAAAAAUgAAAAIAAgACAP///////2YAAAAEABAAC1qXTOJt2uRBmt9N9YttfmhUAAAAAABSAAAAAQBSAAAAAwADAAAAMgBSAAAAAwADAAIA////////ZgAAAAUAEAALvN/j6MUcxESIiyHhSSYYuVQAAAABAFIAAAACAFIAAAAEAFIAAAACAFIAAAAEAAQAAgD///////9mAAAABgAQAAvCoVvptFnMSqlfNfKJTClMVAAAAAIAUgAAAAMAUgAAAAUAUgAAAAMA////////BQABAP///////2YAAAAHABAACxN9me8m8r5Fk8eEfdWIFEFUAAAAAwBSAAAABABSAAAABgAGAAEA////////ZgAAAAgAEAALJ9788GKvRUK8+w9gHgYrEGQAAAAAAFIAAAAF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TAAAAAwAAAAD/////BgB6DgAAAAAAAAAAAAABAQUAAAA0AP///////ycABlBvaW50QW5kU2VyaWVzQWRkaXRpb25TdHlsZXNEZWZpbml0aW9uc0sAAAAJAAQAAAAaAAQAAAAlAAEAAgEFAAAANQD///////8MAAZMaW5rRGF0YUxpc3RUAAAAAAAEAAAAEQAEAAAABwAEAAAAIgAEAAAAFgACAAEBBQAAADYA////////CgAGUGVyc29uYWxJZFQAAAABAFMAAAAFAAQAAAAtAAMABAEFAAAANwD///////8QAAZHcmlkbGluZVNldHRpbmdzVAAAAAIABAAAABkABAAAADEABAAAABsABAAAACIABAAAABsABAAAACIABAAAAB8ABAAAABYABAABAQUAAAA4AP///////woABkRhdGFMYWJlbHNUAAAAAwAEAAAAJwAEAAAACgAFAAEBBQAAADkA////////CAAGT3ZlcmxheXNkAAAAAAAEAAAAFgBTAA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VAAAAAQbAAAAJQAAAAQA5gkAAAAAAAAAAAAA/////2EAYQAAAAVfaWQAEAAAAARal0zibdrkQZrfTfWLbX5oBERhdGEABQAAAAACTmFtZQANAAAATGlua0RhdGFMaXN0ABBWZXJzaW9uAAAAAAAJTGFzdFdyaXRlAGlpkTF5AQAAAAEA/////3AAcAAAAAVfaWQAEAAAAAS83+PoxRzERIiLIeFJJhi5A0RhdGEAFgAAAAJQZXJzb25hbElkAAEAAAAAAAJOYW1lAAsAAABQZXJzb25hbElkABBWZXJzaW9uAAAAAAAJTGFzdFdyaXRlALSG1Bp3AQAAAAIA/////xAFEAUAAAVfaWQAEAAAAATCoVvptFnMSqlfNfKJTClMA0RhdGEAsAQAAANHcmlkTGluZVN0eWxlc0RhdGEAlwQAAANQcmltYXJ5VmFsdWVBeGlzR3JpZExpbmVTdHlsZQAdAgAAA01ham9yVW5pdExpbmVTdHlsZQD4AAAAA0NvbG9yAFUAAAAQQQD/AAAAEFIAiQAAABBHAIkAAAAQQgCJAAAAAVNjQQAAAAAAAADwPwFTY1IAAAAAAJgC0D8BU2NHAAAAAACYAtA/AVNjQgAAAAAAmALQPwACU2NoZW1lQ29sb3JJbmRleAARAAAAcHBOb3RTY2hlbWVDb2xvcgAQVGhlbWVDb2xvckluZGV4AAAAAAABVGludEFuZFNoYWRlAAAAAAAAANA/AUxpbmVXZWlnaHQAAAAAAAAA4D8CRGFzaFN0eWxlAAoAAABMaW5lU29saWQACFZpc2libGUAAQhJc0F1dG9tYXRpYwABAANNaW5vclVuaXRMaW5lU3R5bGUA+AAAAANDb2xvcgBVAAAAEEEA/wAAABBSALwAAAAQRwC8AAAAEEIAvAAAAAFTY0EAAAAAAAAA8D8BU2NSAAAAAGClF+A/AVNjRwAAAABgpRfgPwFTY0IAAAAAYKUX4D8AAlNjaGVtZUNvbG9ySW5kZXgAEQAAAHBwTm90U2NoZW1lQ29sb3IAEFRoZW1lQ29sb3JJbmRleAAAAAAAAVRpbnRBbmRTaGFkZQAAAAAAAADgPwFMaW5lV2VpZ2h0AAAAAAAAAOA/AkRhc2hTdHlsZQAKAAAATGluZVNvbGlkAAhWaXNpYmxlAAAISXNBdXRvbWF0aWMAAAAAA1ByaW1hcnlDYXRlZ29yeUF4aXNHcmlkTGluZVN0eWxlAB0CAAADTWFqb3JVbml0TGluZVN0eWxlAPgAAAADQ29sb3IAVQAAABBBAP8AAAAQUgCJAAAAEEcAiQAAABBCAIkAAAABU2NBAAAAAAAAAPA/AVNjUgAAAAAAmALQPwFTY0cAAAAAAJgC0D8BU2NCAAAAAACYAtA/AAJTY2hlbWVDb2xvckluZGV4ABEAAABwcE5vdFNjaGVtZUNvbG9yABBUaGVtZUNvbG9ySW5kZXgAAAAAAAFUaW50QW5kU2hhZGUAAAAAAAAA0D8BTGluZVdlaWdodAAAAAAAAADgPwJEYXNoU3R5bGUACgAAAExpbmVTb2xpZAAIVmlzaWJsZQABCElzQXV0b21hdGljAAAAA01pbm9yVW5pdExpbmVTdHlsZQD4AAAAA0NvbG9yAFUAAAAQQQD/AAAAEFIAvAAAABBHALwAAAAQQgC8AAAAAVNjQQAAAAAAAADwPwFTY1IAAAAAYKUX4D8BU2NHAAAAAGClF+A/AVNjQgAAAABgpRfgPwACU2NoZW1lQ29sb3JJbmRleAARAAAAcHBOb3RTY2hlbWVDb2xvcgAQVGhlbWVDb2xvckluZGV4AAAAAAABVGludEFuZFNoYWRlAAAAAAAAAOA/AUxpbmVXZWlnaHQAAAAAAAAA4D8CRGFzaFN0eWxlAAoAAABMaW5lU29saWQACFZpc2libGUAAAhJc0F1dG9tYXRpYwAAAAAIU2hvd0dyaWRsaW5lc0RlZmF1bHQAAQAAAk5hbWUAEQAAAEdyaWRsaW5lU2V0dGluZ3MAEFZlcnNpb24AAAAAAAlMYXN0V3JpdGUAQYBZXo0BAAAAAwBV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UAAAAF/////1YAAADnDwAAAAAAAAAAAACJRwAABV9pZAAQAAAABBN9me8m8r5Fk8eEfdWIFEEDRGF0YQAvRwAAA0RhdGFMYWJlbHNQZXJBeGlzAPhGAAADUHJpbWFyeQC5RAAABERhdGFMYWJlbHMAmEIAAAMwAC4WAAAQUG9pbnRJbmRleAABAAAAAkFsaWdubWVudAAHAAAAQ2VudGVyABBTZXJpZXNJbmRleAABAAAACFJlcXVpcmVGb250Q29sb3JNaWdyYXRpb24AAAhNYW51YWxEYXRhTGFiZWxCYWNrZ3JvdW5kVmlzaWJsZQAACEhhc1dpc2hDb2xvcgAAA1RleHRCb3gAvAYAAAVNYW5hZ2VkSWQAEAAAAAT1CbusM3cjR4h1mWdf5dUtCEhhc0NoYW5nZXMAAAhVc2VOYW1lSW5zdGVhZE9mVGFnQXNJZAABCFNoYXBlUHJldmlvdXNseUNyZWF0ZWQAAQNGaWxsQ29sb3IAVQAAABBBAP8AAAAQUgD7AAAAEEcAugAAABBCALkAAAABU2NBAAAAAAAAAPA/AVNjUgAAAADAtd7uPwFTY0cAAAAA4OJs3z8BU2NCAAAAAGCyDN8/ABBGaWxsVGhlbWVDb2xvcgAH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AAAADQ2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QAAAA0NiUAAUhlaWdodAAAAACgIp4qQAFXaWR0aAAAAABA1PE2QAFUb3AAAAAAgO9yTEABTGVmdAAAAADAWoZH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HxW4wPzvIJOqajJ5yyr/ks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VhZGVyTGluZURvY2tpbmcA4QYAAANTdGFydAAbAAAAAVgAAAAAAAAAAAABWQAAAAAAAAAAAAADRW5kABsAAAABWAAAAAAAAAAAAAFZAAAAAAAAAAAAAAJTdGFydEFycm93SGVhZAARAAAAbXNvQXJyb3doZWFkTm9uZQACRW5kQXJyb3dIZWFkABEAAABtc29BcnJvd2hlYWROb25lAAVNYW5hZ2VkSWQAEAAAAARcpKpOfpj+S4BpRbph//J4CEhhc0NoYW5nZXMAAQhVc2VOYW1lSW5zdGVhZE9mVGFnQXNJZAABCFNoYXBlUHJldmlvdXNseUNyZWF0ZWQAAANGaWxsQ29sb3IAVQAAABBBAAAAAAAQUgAAAAAAEEcAAAAAABBCAAAAAAABU2NBAAAAAAAAAPC/AVNjUgAAAAAAAADwvwFTY0cAAABWAAAABVUAAABXAAAA5w8AAAAAAAAA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NDPQk1AAVkAAAAAbGtUT0AACEhhc0xlYWRlckxpbmUAAAhJc0NlbnRlckF1dG9tYXRpY0FkanVzdGVkAAAISXNVc2VyUG9zaXRpb24AAAhBZGRQcmVmaXhTcGFjZQAACEFkZFBvc3RmaXhTcGFjZQAAAlNlcGFyYXRvcgACAAAACgACVGV4dAAEAAAANDYlAAhSZXF1aXJlUmVsYXRpdmVQb3NpdGlvblVwZ3JhZGUAAAhJc0dlb21ldHJ5T3V0T2ZCb3VuZHMAAAhJc0xlYWRlckxpbmVJbkF1dG9Nb2RlAAEIRGVsZXRlZAAAAAMxAC4WAAAQUG9pbnRJbmRleAACAAAAAkFsaWdubWVudAAHAAAAQ2VudGVyABBTZXJpZXNJbmRleAABAAAACFJlcXVpcmVGb250Q29sb3JNaWdyYXRpb24AAAhNYW51YWxEYXRhTGFiZWxCYWNrZ3JvdW5kVmlzaWJsZQAACEhhc1dpc2hDb2xvcgAAA1RleHRCb3gAvAYAAAVNYW5hZ2VkSWQAEAAAAASvh9K1M3nNSalCW06P+pskCEhhc0NoYW5nZXMAAAhVc2VOYW1lSW5zdGVhZE9mVGFnQXNJZAABCFNoYXBlUHJldmlvdXNseUNyZWF0ZWQAAQNGaWxsQ29sb3IAVQAAABBBAP8AAAAQUgD7AAAAEEcAugAAABBCALkAAAABU2NBAAAAAAAAAPA/AVNjUgAAAADAtd7uPwFTY0cAAAAA4OJs3z8BU2NCAAAAAGCyDN8/ABBGaWxsVGhlbWVDb2xvcgAH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AAAADIwJQACVGV4dEhvcml6b250YWxBbGlnbm1lbnQAEAAAAG1zb0FuY2hvckNlbnRlcgACUGFyYWdyYXBoQWxpZ25tZW50AA8AAABtc29BbGlnbkNlbnRlcgACVGV4dFZlcnRpY2FsQWxpZ25tZW50ABAAAABtc29BbmNob3JNaWRkbGUAA0ZvbnRTdHlsZQBBAQAAEEZvbnRCYWNrZ3JvdW5kAAAAAAAIRm9udEJvbGQAAANGb250Q29sb3IAVQAAABBBAP8AAAAQUgD/AAAAEEcA/wAAABBCAP8AAAABU2NBAAAAAAAAAPA/AVNjUgAAAAAAAADwPwFTY0cAAAAAAAAA8D8BU2NCAAAAAAAAAPA/ABBGb250VGhlbWVDb2xvcgAAAAAAAUZvbnRUaW50QW5kU2hhZGUAAAAAAAAAAAAQRm9udFNjaGVtZUNvbG9yAAEAAAAIRm9udEl0YWxpYwAAAkZvbnROYW1lAAcAAAArbW4tbHQAAUZvbnRTaXplAAAAAAAAACRACEZvbnRTdHJpa2V0aHJvdWdoAAAIRm9udFN1YnNjcmlwdAAACEZvbnRTdXBlcnNjcmlwdAAACEZvbnRVbmRlcmxpbmUAAAAIU2l6ZVRvVGV4dFdpZHRoAAEIU2l6ZVRvVGV4dEhlaWdodAABA1RleHRNYXJnaW4APwAAAAFMZWZ0AAAAAMBarfY/AVRvcAAAAACgSCTiPwFSaWdodAAAAADAWq32PwFCb3R0b20AAAAAoEgk4j8AAkRpc3BsYXlUZXh0AAQAAAAyMCUAAUhlaWdodAAAAACgIp4qQAFXaWR0aAAAAABA1PE2QAFUb3AAAAAA4NHfVUABTGVmdAAAAAAA/oJk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FQb3NpdGlvbmluZ0hlaWdodAAAAABg3wsnQAADTGVhZGVyTGluZQDhBgAAA1N0YXJ0ABsAAAABWAAAAAAAAAAAAAFZAAAAAAAAAAAAAANFbmQAGwAAAAFYAAAAAAAAAAAAAVkAAAAAAAAAAAAAAlN0YXJ0QXJyb3dIZWFkABEAAABtc29BcnJvd2hlYWROb25lAAJFbmRBcnJvd0hlYWQAEQAAAG1zb0Fycm93aGVhZE5vbmUABU1hbmFnZWRJZAAQAAAABPkPkNY+/FJNmN6T/mvAF3AISGFzQ2hhbmdlcwABCFVzZU5hbWVJbnN0ZWFkT2ZUYWdBc0lkAAEIU2hhcGVQcmV2aW91c2x5Q3JlYXRlZAAAA0ZpbGxDb2xvcgBVAAAAEEEAAAAAABBSAAAAAAAQRwAAAAAAEEIAAAAAAAFTY0EAAAAAAAAA8L8BU2NSAAAAAAAAAPC/AVNjRwAAAAAAAADwvwFTY0IAAAAAAAAA8L8AEEZpbGxUaGVtZUNvbG9yAAAAAAABRmlsbFRpbnRBbmRTaGFkZQAAAAAAAAAAABBGaWxsU2NoZW1lQ29sb3IAAAAAAANQYXR0ZXJuQ29sb3IAVQAAABBBAAAAAAAQUgAAAAAAEEcAAAAAABBCAAAAAAABU2NBAAAAAAAAAAAAAVNjUgAAAAAAAAAAAAFTY0cAAAAAAAAAVwAAAAVWAAAAWAAAAOcPAAAA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AAAAAAAVkAAAAAAAAAAAAAA0VuZAAbAAAAAVgAAAAAAAAAAAABWQAAAAAAAAAAAAACU3RhcnRBcnJvd0hlYWQAEQAAAG1zb0Fycm93aGVhZE5vbmUAAkVuZEFycm93SGVhZAARAAAAbXNvQXJyb3doZWFkTm9uZQAFTWFuYWdlZElkABAAAAAEO8FO5tcEA0i8FvED9i45rQ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AAAAAAAAAAAVRvcAAAAAAAAAAAAAFMZWZ0AAAAAAAAAAAACEZsaXBIb3Jpem9udGFsbHkAAAhGbGlwSG9yaXpvbnRhbGx5QXBwbGllZAAACEZsaXBWZXJ0aWNhbGx5AAAIRmxpcFZlcnRpY2FsbHlBcHBsaWVkAAABUm90YXRpb24AAAAAAAAAAAABWk9yZGVyAAAAAAAAAAAAA0JvcmRlckNvbG9yAFUAAAAQQQD/AAAAEFIAAAAAABBHAAAAAAAQQgAAAAAAAVNjQQAAAAAAAADwPwFTY1IAAAAAAAAAAAABU2NHAAAAAAAAAAAAAVNjQgAAAAAAAAAAAA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ZW50ZXIAGwAAAAFYAAAAAEQb8mVAAVkAAAAA1o9QV0AACEhhc0xlYWRlckxpbmUAAAhJc0NlbnRlckF1dG9tYXRpY0FkanVzdGVkAAAISXNVc2VyUG9zaXRpb24AAAhBZGRQcmVmaXhTcGFjZQAACEFkZFBvc3RmaXhTcGFjZQAAAlNlcGFyYXRvcgACAAAACgACVGV4dAAEAAAAMjAlAAhSZXF1aXJlUmVsYXRpdmVQb3NpdGlvblVwZ3JhZGUAAAhJc0dlb21ldHJ5T3V0T2ZCb3VuZHMAAAhJc0xlYWRlckxpbmVJbkF1dG9Nb2RlAAEIRGVsZXRlZAAAAAMyAC4WAAAQUG9pbnRJbmRleAADAAAAAkFsaWdubWVudAAHAAAAQ2VudGVyABBTZXJpZXNJbmRleAABAAAACFJlcXVpcmVGb250Q29sb3JNaWdyYXRpb24AAAhNYW51YWxEYXRhTGFiZWxCYWNrZ3JvdW5kVmlzaWJsZQAACEhhc1dpc2hDb2xvcgAAA1RleHRCb3gAvAYAAAVNYW5hZ2VkSWQAEAAAAASAdbPdFCuFSoB+o5XW5YSMCEhhc0NoYW5nZXMAAAhVc2VOYW1lSW5zdGVhZE9mVGFnQXNJZAABCFNoYXBlUHJldmlvdXNseUNyZWF0ZWQAAQNGaWxsQ29sb3IAVQAAABBBAP8AAAAQUgD7AAAAEEcAugAAABBCALkAAAABU2NBAAAAAAAAAPA/AVNjUgAAAADAtd7uPwFTY0cAAAAA4OJs3z8BU2NCAAAAAGCyDN8/ABBGaWxsVGhlbWVDb2xvcgAH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AAAADM1JQACVGV4dEhvcml6b250YWxBbGlnbm1lbnQAEAAAAG1zb0FuY2hvckNlbnRlcgACUGFyYWdyYXBoQWxpZ25tZW50AA8AAABtc29BbGlnbkNlbnRlcgACVGV4dFZlcnRpY2FsQWxpZ25tZW50ABAAAABtc29BbmNob3JNaWRkbFgAAAAFVwAAAFkAAADnDwAAAAAAAAAAAABlAANGb250U3R5bGUAQQEAABBGb250QmFja2dyb3VuZAAAAAAACEZvbnRCb2xkAAADRm9udENvbG9yAFUAAAAQQQD/AAAAEFIA/wAAABBHAP8AAAAQQgD/AAAAAVNjQQAAAAAAAADwPwFTY1IAAAAAAAAA8D8BU2NHAAAAAAAAAPA/AVNjQgAAAAAAAADwPwAQRm9udFRoZW1lQ29sb3IAAAAAAAFGb250VGludEFuZFNoYWRlAAAAAAAAAAAAEEZvbnRTY2hlbWVDb2xvcgABAAAACEZvbnRJdGFsaWMAAAJGb250TmFtZQAHAAAAK21uLWx0AAFGb250U2l6ZQAAAAAAAAAkQAhGb250U3RyaWtldGhyb3VnaAAACEZvbnRTdWJzY3JpcHQAAAhGb250U3VwZXJzY3JpcHQAAAhGb250VW5kZXJsaW5lAAAACFNpemVUb1RleHRXaWR0aAABCFNpemVUb1RleHRIZWlnaHQAAQNUZXh0TWFyZ2luAD8AAAABTGVmdAAAAADAWq32PwFUb3AAAAAAoEgk4j8BUmlnaHQAAAAAwFqt9j8BQm90dG9tAAAAAKBIJOI/AAJEaXNwbGF5VGV4dAAEAAAAMzUlAAFIZWlnaHQAAAAAoCKeKkABV2lkdGgAAAAAQNTxNkABVG9wAAAAACAAdlFAAUxlZnQAAAAAoDKSc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BUG9zaXRpb25pbmdIZWlnaHQAAAAAYN8LJ0AAA0xlYWRlckxpbmUA4QYAAANTdGFydAAbAAAAAVgAAAAAAAAAAAABWQAAAAAAAAAAAAADRW5kABsAAAABWAAAAAAAAAAAAAFZAAAAAAAAAAAAAAJTdGFydEFycm93SGVhZAARAAAAbXNvQXJyb3doZWFkTm9uZQACRW5kQXJyb3dIZWFkABEAAABtc29BcnJvd2hlYWROb25lAAVNYW5hZ2VkSWQAEAAAAATBGeJrEeGVR7GaV6u0WMuICEhhc0NoYW5nZXMAAQhVc2VOYW1lSW5zdGVhZE9mVGFnQXNJZAABCFNoYXBlUHJldmlvdXNseUNyZWF0ZWQAAANGaWxsQ29sb3IAVQAAABBBAAAAAAAQUgAAAAAAEEcAAAAAABBCAAAAAAABU2NBAAAAAAAAAPC/AVNjUgAAAAAAAADwvwFTY0cAAAAAAAAA8L8BU2NCAAAAAAAAAPC/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AAAAAAUxlZnQAAAAAAAAAAAAIRmxpcEhvcml6b250YWxseQAACEZsaXBIb3Jpem9udGFsbHlBcHBsaWVkAAAIRmxpcFZlcnRpY2FsbHkAAAhGbGlwVmVydGljYWxseUFwcGxpZWQAAAFSb3RhdGlvbgAAAAAAAAAAAAFaT3JkZXIAAAAAAAAAAAADQm9yZGVyQ29sb3IAVQAAABBBAP8AAAAQUgAAAAAAEEcAAAAAABBCAAAAAAABU2NBAAAAAAAAAPA/AVNjUgAAAAAAAAAAAAFTY0cAAAAAAAAAAAABU2NCAAAAAAAAAAAAABBCb3JkZXJUaGVtZUNvbG9yAAAAAAABQm9yZGVyVGludEFuZFNoYWRlAAAAAAAAAAAAEEJvcmRlclNjaGVtZUNvbG9yAAAAAAABQm9yZGVyVGhpY2tuZXNzAAAAAAAAAN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lYWRlckxpbmVEb2NraW5nAOEGAAADU3RhcnQAGwAAAAFYAAAAAAAAAAAAAVkAAAAAAAAAAAAAA0VuZAAbAAAAAVgAAAAAAAAAAAABWQAAAAAAAAAAAAACU3RhcnRBcnJvd0hlYWQAEQAAAG1zb0Fycm93aGVhZE5vbmUAAkVuZEFycm93SGVhZAARAAAAbXNvQXJyb3doZWFkTm9uZQAFTWFuYWdlZElkABAAAAAEbp6iXWtIZUuRrzt4MBH9KghIYXNDaGFuZ2VzAAEIVXNlTmFtZUluc3RlYWRPZlRhZ0FzSWQAAQhTaGFwZVByZXZpb3VzbHlDcmVhdGVkAAADRmlsbENvbG9yAFUAAAAQQQAAAAAAEFIAAAAAABBHAAAAAAAQQgAAAAAAAVNjQQAAAAAAAADwvwFTY1IAAAAAAAAA8L8BU2NHAAAAAAAAAPC/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AAAAAUxlZnQAAAAAAAAAAAABVG9wAAAAAAAAAAAAAVJpZ2h0AAAAAAAAAAAAAUJvdHRvbQAAAAAAAAAAAAABSGVpZ2h0AAAAAAAAAAAAAVdpZHRoAABZAAAABVgAAAD/////7Qf6BwAAAAAAAAAAAAAAAAAAAAFUb3AAAAAAAAAAAAABTGVmdAAAAAAAAAAAAAhGbGlwSG9yaXpvbnRhbGx5AAAIRmxpcEhvcml6b250YWxseUFwcGxpZWQAAAhGbGlwVmVydGljYWxseQAACEZsaXBWZXJ0aWNhbGx5QXBwbGllZAAAAVJvdGF0aW9uAAAAAAAAAAAAAVpPcmRlcgAAAAAAAAAAAANCb3JkZXJDb2xvcgBVAAAAEEEA/wAAABBSAAAAAAAQRwAAAAAAEEIAAAAAAAFTY0EAAAAAAAAA8D8BU2NSAAAAAAAAAAAAAVNjRwAAAAAAAAAAAAFTY0IAAAAAAAAAAAA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VudGVyABsAAAABWAAAAABCwUlyQAFZAAAAABa+5lJAAAhIYXNMZWFkZXJMaW5lAAAISXNDZW50ZXJBdXRvbWF0aWNBZGp1c3RlZAAACElzVXNlclBvc2l0aW9uAAAIQWRkUHJlZml4U3BhY2UAAAhBZGRQb3N0Zml4U3BhY2UAAAJTZXBhcmF0b3IAAgAAAAoAAlRleHQABAAAADM1JQAIUmVxdWlyZVJlbGF0aXZlUG9zaXRpb25VcGdyYWRlAAAISXNHZW9tZXRyeU91dE9mQm91bmRzAAAISXNMZWFkZXJMaW5lSW5BdXRvTW9kZQABCERlbGV0ZWQ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xhYmVsc1Zpc2libGUAAQhBdXRvbWF0aWNMYWJlbEJhY2tncm91bmRzRW5hYmxlZAAAAANTZWNvbmRhcnkAJgIAAAREYXRhTGFiZWxzAAUAAAAAA1RleHREZWZpbml0aW9u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xhYmVsc1Zpc2libGUAAAhBdXRvbWF0aWNMYWJlbEJhY2tncm91bmRzRW5hYmxlZAAAAAAIRGlzYWJsZUF1dG9tYXRpY0RlYWN0aXZhdGlvbgAAAAJOYW1lAAsAAABEYXRhTGFiZWxzABBWZXJzaW9uAAYAAAAJTGFzdFdyaXRlAHEyrj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gAAAABbAAAARA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sAAAAAXAAAAFo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cAAAAAF0AAABb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XQAAAAAAAAAAXA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4AAAAAXwAAAEo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fAAAAAGAAAABe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YAAAAABhAAAAXwAAAAAA5w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AAAAAYgAAAGAAAAAAAOcP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iAAAAACsAAABhAAAAAADnD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YwAAAAX//////////0EHpggAAAAAAAAAAEEHAAAFX2lkABAAAAAER5tzrjfIwkS9tDSSNdW2zQNEYXRhANcGAAAIRXhjZWxDb2xvck1vZGVBY3RpdmUAAAhDb2xvckNhY2hlUmVwYWlyZWRGb3JMaW5rZWRDaGFydHMAAARDb2xvckNhY2hlAIsGAAADMACIAAAAA0NlbGxBZGRyZXNzABoAAAAQUm93AAAAAAAQQ29sdW1uAAAAAAAAA0NvbG9yAFUAAAAQQQD/AAAAEFIApgAAABBHAKYAAAAQQgCmAAAAAVNjQQAAAAAAAADwPwFTY1IAAAAAYKVn2D8BU2NHAAAAAGClZ9g/AVNjQgAAAABgpWfYPwAAAzEAiAAAAANDZWxsQWRkcmVzcwAaAAAAEFJvdwAAAAAAEENvbHVtbgABAAAAAANDb2xvcgBVAAAAEEEA/wAAABBSAKYAAAAQRwCmAAAAEEIApgAAAAFTY0EAAAAAAAAA8D8BU2NSAAAAAGClZ9g/AVNjRwAAAABgpWfYPwFTY0IAAAAAYKVn2D8AAAMyAIgAAAADQ2VsbEFkZHJlc3MAGgAAABBSb3cAAAAAABBDb2x1bW4AAgAAAAADQ29sb3IAVQAAABBBAP8AAAAQUgCmAAAAEEcApgAAABBCAKYAAAABU2NBAAAAAAAAAPA/AVNjUgAAAABgpWfYPwFTY0cAAAAAYKVn2D8BU2NCAAAAAGClZ9g/AAADMwCIAAAAA0NlbGxBZGRyZXNzABoAAAAQUm93AAAAAAAQQ29sdW1uAAMAAAAAA0NvbG9yAFUAAAAQQQD/AAAAEFIApgAAABBHAKYAAAAQQgCmAAAAAVNjQQAAAAAAAADwPwFTY1IAAAAAYKVn2D8BU2NHAAAAAGClZ9g/AVNjQgAAAABgpWfYPwAAAzQAiAAAAANDZWxsQWRkcmVzcwAaAAAAEFJvdwABAAAAEENvbHVtbgAAAAAAAANDb2xvcgBVAAAAEEEA/wAAABBSAN0AAAAQRwDdAAAAEEIA3QAAAAFTY0EAAAAAAAAA8D8BU2NSAAAAAIBEI+c/AVNjRwAAAACARCPnPwFTY0IAAAAAgEQj5z8AAAM1AIgAAAADQ2VsbEFkZHJlc3MAGgAAABBSb3cAAQAAABBDb2x1bW4AAQAAAAADQ29sb3IAVQAAABBBAAAAAAAQUgD/AAAAEEcA/wAAABBCAP8AAAABU2NBAAAAAAAAAAAAAVNjUgAAAAAAAADwPwFTY0cAAAAAAAAA8D8BU2NCAAAAAAAAAPA/AAADNgCIAAAAA0NlbGxBZGRyZXNzABoAAAAQUm93AAEAAAAQQ29sdW1uAAIAAAAAA0NvbG9yAFUAAAAQQQAAAAAAEFIA/wAAABBHAP8AAAAQQgD/AAAAAVNjQQAAAAAAAAAAAAFTY1IAAAAAAAAA8D8BU2NHAAAAAAAAAPA/AVNjQgAAAAAAAADwPwAAAzcAiAAAAANDZWxsQWRkcmVzcwAaAAAAEFJvdwABAAAAEENvbHVtbgADAAAAAANDb2xvcgBVAAAAEEEAAAAAABBSAP8AAAAQRwD/AAAAEEIA/wAAAAFTY0EAAAAAAAAAAAABU2NSAAAAAAAAAPA/AVNjRwAAAAAAAADwPwFTY0IAAAAAAAAA8D8AAAM4AIgAAAADQ2VsbEFkZHJlc3MAGgAAABBSb3cAAgAAABBDb2x1bW4AAAAAAAADQ29sb3IAVQAAABBBAP8AAAAQUgDdAAAAEEcA3QAAABBCAN0AAAABU2NBAAAAAAAAAPA/AVNjUgAAAACARCPnPwFTY0cAAAAAgEQj5z8BU2NCAAAAAIBEI+c/AAADOQCIAAAAA0NlbGxBZGRyZXNzABoAAAAQUm93AAIAAAAQQ29sdW1uAAEAAAAAA0NvbG9yAFUAAAAQQQAAAAAAEFIA/wAAABBHAP8AAAAQQgD/AAAAAVNjQQAAAAAAAAAAAAFTY1IAAAAAAAAA8D8BU2NHAAAAAAAAAPA/AVNjQgAAAAAAAADwPwAAAzEwAIgAAAADQ2VsbEFkZHJlc3MAGgAAABBSb3cAAgAAABBDb2x1bW4AAgAAAAADQ29sb3IAVQAAABBBAAAAAAAQUgD/AAAAEEcA/wAAABBCAP8AAAABU2NBAAAAAAAAAAAAAVNjUgAAAAAAAADwPwFTY0cAAAAAAAAA8D8BU2NCAAAAAAAAAPA/AAADMTEAiAAAAANDZWxsQWRkcmVzcwAaAAAAEFJvdwACAAAAEENvbHVtbgADAAAAAANDb2xvcgBVAAAAEEEAAAAAABBSAP8AAAAQRwD/AAAAEEIA/wAAAAFTY0EAAAAAAAAAAAABU2NSAAAAAAAAAPA/AVNjRwAAAAAAAADwPwFTY0IAAAAAAAAA8D8AAAAAAk5hbWUAGwAAAEV4Y2VsQ29sb3JNb2RlRGF0YVByb3BlcnR5ABBWZXJzaW9uAAIAAAAJTGFzdFdyaXRlAABzbDWX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AAAAE//////////8BAPUAAAAAAAAAAAAAAP/////qDuoOAAAFX2lkABAAAAAEJ9788GKvRUK8+w9gHgYrEAREYXRhAJIOAAADMADmAgAABV9pZAAQAAAABL3puJx8DbZNkXKUTu7H7qcCX3R5cGUAVwAAAGVtcG93ZXIuQ2hhcnRzLkRhdGEuRGF0YUNoYXJ0cy5PdmVybGF5cy5EYXRhLkNvbHVtblN1bU92ZXJsYXlEYXRhLCBlbXBvd2VyLkNoYXJ0cy5EYXRhABBDb2x1bW4AAQAAABBTZXJpZXMA/////wJDb2x1bW5TdW1Qb3NpdGlvbgAMAAAARGVmYXVsdERvY2sACERlbGV0ZWQAAQNOdW1iZXJGb3JtYXQAHwAAAAVfaWQAEAAAAAQAAAAAAAAAAAAAAAAAAAAAAANUZXh0Rm9ybWF0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lzTmV3AAEBRm9udFNpemUAAAAAAAAA+P8AAzEA5gIAAAVfaWQAEAAAAASu9FizX92eTLKOSFr+BKY2Al90eXBlAFcAAABlbXBvd2VyLkNoYXJ0cy5EYXRhLkRhdGFDaGFydHMuT3ZlcmxheXMuRGF0YS5Db2x1bW5TdW1PdmVybGF5RGF0YSwgZW1wb3dlci5DaGFydHMuRGF0YQAQQ29sdW1uAAIAAAAQU2VyaWVzAP////8CQ29sdW1uU3VtUG9zaXRpb24ADAAAAERlZmF1bHREb2NrAAhEZWxldGVkAAEDTnVtYmVyRm9ybWF0AB8AAAAFX2lkABAAAAAEAAAAAAAAAAAAAAAAAAAAAAADVGV4dEZvcm1hdA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Jc05ldwABAUZvbnRTaXplAAAAAAAAAPj/AAMyAOYCAAAFX2lkABAAAAAEid4ZrliuEkCK1z3J8YW2iAJfdHlwZQBXAAAAZW1wb3dlci5DaGFydHMuRGF0YS5EYXRhQ2hhcnRzLk92ZXJsYXlzLkRhdGEuQ29sdW1uU3VtT3ZlcmxheURhdGEsIGVtcG93ZXIuQ2hhcnRzLkRhdGEAEENvbHVtbgADAAAAEFNlcmllcwD/////AkNvbHVtblN1bVBvc2l0aW9uAAwAAABEZWZhdWx0RG9jawAIRGVsZXRlZAABA051bWJlckZvcm1hdAAfAAAABV9pZAAQAAAABAAAAAAAAAAAAAAAAAAAAAAAA1RleHRGb3JtYXQAzQEAAANSb290RWxlbWVudAC7AQAAAl90eXBlAIUAAABtaW8uQ29tbW9uLlBvd2VyUG9pbnQuTWFuYWdlZC5EYXRhLkRhdGFDaGFydHMuRGF0YUxhYmVscy5EYXRhLkJ1aWxkZXIuVGV4dFVuaXQuU2VwYXJhdG9yVW5pdERhdGEsIG1pby5Db21tb24uUG93ZXJQb2ludC5NYW5hZ2VkLkRhdGEAAlNlcGFyYXRvcgABAAAAAARDaGlsZHJlbgDkAAAAAzAA3AAAAAJfdHlwZQCBAAAAbWlvLkNvbW1vbi5Qb3dlclBvaW50Lk1hbmFnZWQuRGF0YS5EYXRhQ2hhcnRzLkRhdGFMYWJlbHMuRGF0YS5CdWlsZGVyLlRleHRVbml0LlZhbHVlVW5pdERhdGEsIG1pby5Db21tb24uUG93ZXJQb2ludC5NYW5hZ2VkLkRhdGEACFNob3dBYnNvbHV0ZVZhbHVlAAAEQ2hpbGRyZW4ABQAAAAACQnJhY2tldFR5cGUABgAAAFJvdW5kAAhXcmFwSW5CcmFja2V0cwAAAAACQnJhY2tldFR5cGUABgAAAFJvdW5kAAhXcmFwSW5CcmFja2V0cwAAAAAISXNOZXcAAQFGb250U2l6ZQAAAAAAAAD4/wADMwDmAgAABV9pZAAQAAAABGt9z2e/UAdGuxV8ooKdhdACX3R5cGUAVwAAAGVtcG93ZXIuQ2hhcnRzLkRhdGEuRGF0YUNoYXJ0cy5PdmVybGF5cy5EYXRhLkNvbHVtblN1bU92ZXJsYXlEYXRhLCBlbXBvd2VyLkNoYXJ0cy5EYXRhABBDb2x1bW4ABAAAABBTZXJpZXMA/////wJDb2x1bW5TdW1Qb3NpdGlvbgAMAAAARGVmYXVsdERvY2sACERlbGV0ZWQAAQNOdW1iZXJGb3JtYXQAHwAAAAVfaWQAEAAAAAQAAAAAAAAAAAAAAAAAAAAAAANUZXh0Rm9ybWF0AM0BAAADUm9vdEVsZW1lbnQAuwEAAAJfdHlwZQCFAAAAbWlvLkNvbW1vbi5Qb3dlclBvaW50Lk1hbmFnZWQuRGF0YS5EYXRhQ2hhcnRzLkRhdGFMYWJlbHMuRGF0YS5CdWlsZGVyLlRleHRVbml0LlNlcGFyYXRvclVuaXREYXRhLCBtaW8uQ29tbW9uLlBvd2VyUG9pbnQuTWFuYWdlZC5EYXRhAAJTZXBhcmF0b3IAAQAAAAAEQ2hpbGRyZW4A5AAAAAMwANwAAAACX3R5cGUAgQAAAG1pby5Db21tb24uUG93ZXJQb2ludC5NYW5hZ2VkLkRhdGEuRGF0YUNoYXJ0cy5EYXRhTGFiZWxzLkRhdGEuQnVpbGRlci5UZXh0VW5pdC5WYWx1ZVVuaXREYXRhLCBtaW8uQ29tbW9uLlBvd2VyUG9pbnQuTWFuYWdlZC5EYXRhAAhTaG93QWJzb2x1dGVWYWx1ZQAABENoaWxkcmVuAAUAAAAAAkJyYWNrZXRUeXBlAAYAAABSb3VuZAAIV3JhcEluQnJhY2tldHMAAAAAAkJyYWNrZXRUeXBlAAYAAABSb3VuZAAIV3JhcEluQnJhY2tldHMAAAAACElzTmV3AAEBRm9udFNpemUAAAAAAAAA+P8AAzQA5gIAAAVfaWQAEAAAAAQnqZOqLHCvSJD+9R0PGux4Al90eXBlAFcAAABlbXBvd2VyLkNoYXJ0cy5EYXRhLkRhdGFDaGFydHMuT3ZlcmxheXMuRGF0YS5Db2x1bW5TdW1PdmVybGF5RGF0YSwgZW1wb3dlci5DaGFydHMuRGF0YQAQQ29sdW1uAAUAAAAQU2VyaWVzAP////8CQ29sdW1uU3VtUG9zaXRpb24ADAAAAERlZmF1bHREb2NrAAhEZWxldGVkAAEDTnVtYmVyRm9ybWF0AB8AAAAFX2lkABAAAAAEAAAAAAAAAAAAAAAAAAAAAAADVGV4dEZvcm1hdADNAQAAA1Jvb3RFbGVtZW50ALsBAAACX3R5cGUAhQAAAG1pby5Db21tb24uUG93ZXJQb2ludC5NYW5hZ2VkLkRhdGEuRGF0YUNoYXJ0cy5EYXRhTGFiZWxzLkRhdGEuQnVpbGRlci5UZXh0VW5pdC5TZXBhcmF0b3JVbml0RGF0YSwgbWlvLkNvbW1vbi5Qb3dlclBvaW50Lk1hbmFnZWQuRGF0YQACU2VwYXJhdG9yAAEAAAAABENoaWxkcmVuAOQAAAADMADcAAAAAl90eXBlAIEAAABtaW8uQ29tbW9uLlBvd2VyUG9pbnQuTWFuYWdlZC5EYXRhLkRhdGFDaGFydHMuRGF0YUxhYmVscy5EYXRhLkJ1aWxkZXIuVGV4dFVuaXQuVmFsdWVVbml0RGF0YSwgbWlvLkNvbW1vbi5Qb3dlclBvaW50Lk1hbmFnZWQuRGF0YQAIU2hvd0Fic29sdXRlVmFsdWUAAARDaGlsZHJlbgAFAAAAAAJCcmFja2V0VHlwZQAGAAAAUm91bmQACFdyYXBJbkJyYWNrZXRzAAAAAAJCcmFja2V0VHlwZQAGAAAAUm91bmQACFdyYXBJbkJyYWNrZXRzAAAAAAhJc05ldwABAUZvbnRTaXplAAAAAAAAAPj/AAACTmFtZQAJAAAAT3ZlcmxheXMAEFZlcnNpb24ACAAAAAlMYXN0V3JpdGUAz3JsNZ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lAAAAA///////////MQA1AAAAAAAAAAAAAAAgA////////////////wAAAP///////////////2UAAAAeAP///////2UAAAATAP///////2UAAAAEAP///////2UAAAAOAP///////////////////////////////////////////////////////////////////////////////////////////////////////////////////////////////////////////////////////////////////////////////////////////////////////////////////////////////////////////////////////////////////////////////////////////////////////////////////////////////////////////////////////////////////////////////////////////////////////////////////////////////////////////////////////////////wEAIAP///////////////8AAA7///////9lAAAAEgD///////////////////////////////////////////////////////////////////////////////////////////////////////////////////////////////////////////////////////////////////////////////////////////////////////////////////////////////////////////////////////////////////////////////////////////////////////////////////////////////////////////////////////////////////////////////////////////////////////////////////////////////////////////////////////////////////////////////////////////////////////////////////////8CAAIDAwAAAAIABQAAAAIAIAAGUG9pbnRBbmRTZXJpZXNTdHlsZURlZmluaXRpb25zXzAGAAAAAABlAAAAJQBlAAAAMABmAAAAAwBlAAAAKAADAAIDAwAAAAMABQAAAAMADwAGTnVtYmVyRm9ybWF0c18yBgAAAAEAZQAAACYAZQAAAA0AZQAAAAcAZQAAABYABAADAwMAAAAEAAUAAAAEABwABkF1dG9tYXRpY0JyZWFrU2V0dGluZ3NEYXRhXzAGAAAAAgBlAAAAEwBlAAAAGABlAAAAEwBlAAAAGABlAAAAAABlAAAAHwAFAAIDAwAAAAUABQAAAAUAHAAGRXhjZWxDb2xvck1vZGVEYXRhUHJvcGVydHlfMQYAAAADAGUAAAAKAGUAAAArAGUAAAAKAGUAAAAPAAYAAQMDAAAABgAFAAAABgAMAAZEYXRhTGFiZWxzXzgGAAAABABlAAAAJwBlAAAAIwAHAAMDAwAAAAcABQAAAAcADQAGTWFya2Vyc0RhdGFfMQYAAAAFAGUAAAARAGUAAAAmAGUAAAARAGUAAAADAGUAAAARAGUAAAAWAAgAAgMDAAAACAAFAAAACAAKAAZPdmVybGF5c183BgAAAAYAZQAAABYAZgAAAAgAZQAAABYAZgAAAAgACQAEAwMAAAAJAAUAAAAJABsABlNoYXBlQ29uc3RydWN0ZWRDaGFydERhdGFfMBgAAAAAAGUAAAAhAGUAAAALAGUAAAAhAGUAAAALAGYAAAACAGUAAAALAGYAAAADAGUAAAALAAoAAgMDAAAACgAFAAAACgAKAAZEYXRhTGlua18xGAAAAAEAZQAAACMAZQAAAAUAZQAAACcAZQAAAAUACwAEAwMAAAALAAUAAAALAAsABldhdGVyZmFsbF8wGAAAAAIAZQAAAAkAZQAAABIAZQAAAAkAZQAAABIAZQAAAAkA////////ZQAAAAkA////////DAABAwMAAAAMAAUAAAAMABUABkdsb2JhbENoYXJ0U2V0dGluZ3NfNRgAAAADAGUAAAAbAGYAAAAGAA0AAQMDAAAADQAFAAAADQAKAAZPdmVybGF5c181GQAAAAAAZQAAAAMAZQAAABYADgAEAwMAAAAOAAUAAAAOAA4ABkNvbG9ySW5kaWNlc18yGgAAAAAAZQAAACQAZQAAACkAZQAAACQAZQAAABwAZQAAAB8AZQAAAB0AZQAAAAAAZQAAAB0ADwACAwMAAAAPAAUAAAAPABYABkdlbmVyYWxFeGNlbFNldHRpbmdzXzAZAAAAAQBlAAAALABlAAAAGwBlAAAABQBlAAAAGwAQAAIDAwAAABAABQAAABAAHgAGQ2hhcnRTdHlsZVN0YXR1c0luZm9ybWF0aW9uc18xGQAAAAIAZQAAABcAZQAAACQAZQAAAB8AZQAAACQAEQAEAwMAAAARAAUAAAARAA4ABkxpbmtEYXRhTGlzdF8xGQAAAAMAZgAAAAQAZQAAAAcAZgAAAAQAZQAAAAcAZQAAACcAZQAAAAcAZQAAAB0AZQAAABYAEgACAwMAAAASAAUAAAASAAsABldhdGVyZmFsbF8xGwAAAAAAZQAAAAsAZQAAAAEAZQAAAAsA////////EwACAwMAAAATAAUAAAATABQABkFkZGl0aW9uYWxBeGlzRGF0YV8xGwAAAAEAZQAAAB4AZQAAAAQAZQAAAAAAZQAAAAQAFAABAwMAAAAUAAUAAAAUAAwABkxlZ2VuZERhdGFfMRsAAAACAGYAAAAAAGUAAAAiABUAAwMDAAAAFQAFAAAAFQAMAAZTZXJpZXNEYXRhXzAbAAAAAwBlAAAAKABmAAAAAgBlAAAAKABmAAAAAgBmAAAAAwBmAAAAAgAWAAQDAwAAABYABQAAABYACgAGT3ZlcmxheXNfNhsAAAAEAGUAAAANAGUAAAAIAGUAAAADAGUAAAAIAGUAAAAHAGYAAAADAGUAAAARAGYAAAADABcAAQMDAAAAFwAFAAAAFwAeAAZDaGFydFN0eWxlU3RhdHVzSW5mb3JtYXRpb25zXzAfAAAAAABlAAAAHwBlAAAAEAAYAAIDAwAAABgABQAAABgACgAGQXhlc0RhdGFfNB8AAAABAGUAAAAEAGUAAAAgAGUAAAAEAGUAAAAgABkAAgMDAAAAGQAFAAAAGQASAAZHcmlkbGluZVNldHRpbmdzXzEfAAAAAgBmAAAABgBmAAAAAABmAAAABgBmAAAAAAAaAAEDAwAAABoABQAAABoAKQAGUG9pbnRBbmRTZXJpZXNBZGRpdGlvblN0eWxlc0RlZmluaXRpb25zXzEfAAAAAwBmAAAAAwBlAAAAJQAbAAIDAwAAABsABQAAABsAFQAGR2xvYmFsQ2hhcnRTZXR0aW5nc180IwAAAAAAZQAAAA8AZQAAAAwAZQAAAA8AZgAAAAYAHAACAwMAAAAcAAUAAAAcABAABkNvbW1vblNldHRpbmdzXzAkAAAAAABlAAAAKQBlAAAAHQBlAAAADgBlAAAAHQAdAAQDAwAAAB0ABQAAAB0AFgAGRGF0YUNoYXJ0Q29BdXRob3JpbmdfMCQAAAABAGUAAAAcAGYAAAAHAGUAAAAcAGYAAAAHAGUAAAAOAGUAAAAnAGUAAAAOAGUAAAARAB4AAQMDAAAAHgAFAAAAHgAUAAZBZGRpdGlvbmFsQXhpc0RhdGFfMCQAAAACAGUAAAAAAGUAAAATAB8AAwMDAAAAHwAFAAAAHwAjAAZDYXRlZ29yeUxhYmVsU2V0dGluZ3NEYXRhUHJvcGVydHlfMCUAAAAAAGUAAAAuAGUAAAAXAGUAAAAvAGUAAAAQAGUAAAAEAGUAAAAOACAAAgMDAAAAIAAFAAAAIAAKAAZBeGVzRGF0YV81JQAAAAEAZQAAABgAZgAAAAEAZQAAABgAZQAAAC8AIQACAwMAAAAhAAUAAAAhAA4ABlNlcmllc0xhYmVsc181JQAAAAIAZQAAACoAZQAAAAkAZgAAAAIAZQAAAAkAIgABAwMAAAAiAAUAAAAiAAwABkxlZ2VuZERhdGFfMiUAAAADAGUAAAAUAGYAAAAEACMAAQMDAAAAIwAFAAAAIwAMAAZEYXRhTGFiZWxzXzklAAAABABlAAAABgBlAAAACgAkAAIDAwAAACQABQAAACQAEwAGQ29sb3JEYXRhUHJvcGVydHlfMCUAAAAFAGUAAAAQAGUAAAAOAGUAAAAQAGUAAAAOACUAAQMDAAAAJQAFAAAAJQAmAAZQb2ludEFuZFNlcmllc01hcmtlclN0eWxlRGVmaW5pdGlvbnNfMCUAAAAGAGUAAAAaAGUAAAACACYAAQMDAAAAJgAFAAAAJgAPAAZOdW1iZXJGb3JtYXRzXzElAAAABwBlAAAABwBlAAAAAwAnAAMDAwAAACcABQAAACcADAAGRGF0YUxhYmVsc183JQAAAAgAZgAAAAcAZQAAAAYAZgAAAAcAZQAAAAoAZQAAAB0AZQAAABEAKAACAwMAAAAoAAUAAAAoACAABlBvaW50QW5kU2VyaWVzU3R5bGVEZWZpbml0aW9uc18yJQAAAAkAZQAAADAAZQAAABUAZQAAAAIAZQAAABUAKQABAwMAAAApAAUAAAApABQABkNvbHVtblN1bXNTZXR0aW5nc18wJQAAAAoAZQAAAA4AZQAAABwAKgABAwMAAAAqAAUAAAAqAA4ABlNlcmllc0xhYmVsc180JQAAAAsAZgAAAAIAZQAAACEAKwABAwMAAAArAAUAAAArABwABkV4Y2VsQ29sb3JNb2RlRGF0YVByb3BlcnR5XzJLAAAAAABlAAAABQBlAAAALAAsAAEDAwAAACwABQAAACwADQAGRXhjZWxNaXJyb3JfMUsAAAABAGUAAAArAGUAAAAPAC0AAQMDAAAALQAFAAAALQAQAAZQbG90QXJlYUJvcmRlcl8wSwAAAAIAZgAAAAUAZgAAAAMALgABAwMAAAAuAAUAAAAuABoABkNhdGVnb3J5QXhpc0RhdGFQcm9wZXJ0eV8xSwAAAAMAZQAAAC8AZQAAAB8ALwACAwMAAAAvAAUAAAAvABUABkJyZWFrTWFuYWdlbWVudERhdGFfMEsAAAAEAGYAAAABAGUAAAAuAGUAAAAgAGUAAAAfADAAAQMDAAAAMAAFAAAAMAAgAAZQb2ludEFuZFNlcmllc1N0eWxlRGVmaW5pdGlvbnNfMUsAAAAFAGUAAAACAGUAAAAoAAAAAAAAAAAAAAAAAAAAAAAAAAAAAAAAAAAAAAAAAAAAAAAAAAAAAAAAAAAAAAAAAAAAAAAAZgAAAAMAAAAA/////wkAcA0AAAAAAAAAAAAAAgMDAAAAMQAFAAAAMQANAAZMZWFkZXJMaW5lc18wSwAAAAYAZQAAABkAZQAAABQAZQAAABkAZgAAAAQAAQABAwMAAAAyAAUAAAAyACAABkF6dXJlSW5mb3JtYXRpb25Qcm90ZWN0aW9uRGF0YV8wSwAAAAcAZQAAACAAZQAAAC8AAgADA1IAAAAAAAUAAAAzAA4ABlNlcmllc0xhYmVsc18zSwAAAAgAZQAAABUAZQAAACoAZQAAABUAZQAAACEAZQAAABUAZQAAAAkAAwAEA1IAAAABAAUAAAA0ACkABlBvaW50QW5kU2VyaWVzQWRkaXRpb25TdHlsZXNEZWZpbml0aW9uc18wSwAAAAkAZQAAAC0AZQAAABoAZgAAAAUAZQAAAAIAZQAAABYAZQAAABUAZQAAABYAZQAAAAkABAACA1IAAAACAAUAAAA1AA4ABkxpbmtEYXRhTGlzdF8wVAAAAAAAZQAAACIAZQAAABEAZgAAAAAAZQAAABEABQACA1IAAAADAAUAAAA2AAwABlBlcnNvbmFsSWRfMFQAAAABAGYAAAAIAGUAAAAtAGYAAAAIAGYAAAADAAYAAgNSAAAABAAFAAAANwASAAZHcmlkbGluZVNldHRpbmdzXzBUAAAAAgBlAAAADABlAAAAGQBlAAAAGwBlAAAAGQAHAAIDUgAAAAUABQAAADgADAAGRGF0YUxhYmVsc182VAAAAAMAZQAAAB0AZQAAACcAZQAAAB0AZQAAACcACAACA1IAAAAGAAUAAAA5AAoABk92ZXJsYXlzXzhkAAAAAABlAAAACABmAAAABQBlAAAACABm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845490981315075"/>
  <p:tag name="EMPOWERCHARTSPROPERTIES_A_LENGTH" val="421888"/>
</p:tagLst>
</file>

<file path=ppt/tags/tag87.xml><?xml version="1.0" encoding="utf-8"?>
<p:tagLst xmlns:a="http://schemas.openxmlformats.org/drawingml/2006/main" xmlns:r="http://schemas.openxmlformats.org/officeDocument/2006/relationships" xmlns:p="http://schemas.openxmlformats.org/presentationml/2006/main">
  <p:tag name="MIO_SHAPETYPES_TEXTELEMENT" val="MIO_FOOTNOTE"/>
  <p:tag name="MIO_GUID" val="a157cc83-2741-44ad-8ec9-61ce4e2c7685"/>
  <p:tag name="MIO_EK" val="652"/>
  <p:tag name="MIO_EKGUID" val="8b0b4110-6ccd-4223-a904-7c58940fb73f"/>
  <p:tag name="MIO_UPDATE" val="True"/>
  <p:tag name="MIO_VERSION" val="08.02.2021 13:37:34"/>
  <p:tag name="MIO_DBID" val="F71ED0A2-672B-4E8B-BF42-C978919BF8E2"/>
  <p:tag name="MIO_LASTDOWNLOADED" val="12.04.2023 15:50:42.919"/>
  <p:tag name="MIO_OBJECTNAME" val="Fußnote_Quelle"/>
  <p:tag name="MIO_LASTEDITORNAME" val="Daniela Heisig"/>
</p:tagLst>
</file>

<file path=ppt/tags/tag8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qgsAAAAAAAAAAAAAIAD///////////////8AAAD///////////////8DAAAAAgD///////8DAAAAAgD///////8DAAAAAwD///////8DAAAAAwD///////8DAAAAAwD///////////////////////////////////////////////////////////////////////////////////////////////////////////////////////////////////////////////////////////////////////////////////////////////////////////////////////////////////////////////////////////////////////////////////////////////////////////////////////////////////////////////////////////////////////////////////////////////////////////////////////////////////////////////8BACAA////////////////AAAO////////AwAAAAQA////////////////////////////////////////////////////////////////////////////////////////////////////////////////////////////////////////////////////////////////////////////////////////////////////////////////////////////////////////////////////////////////////////////////////////////////////////////////////////////////////////////////////////////////////////////////////////////////////////////////////////////////////////////////////////////////////////////////////////////////////////////////////////AgACAP///////wUAAAACABAAC+X5cDzlN+dGifBKK2NzzVEEAAAAAAADAAAAAAADAAAAAwADAAAAAAADAAAAAwADAAUA////////BQAAAAMAEAAL9bqDdH7cwkWJ/MjiAoGK/QQAAAABAAMAAAACAAMAAAAEAAMAAAACAAMAAAAEAAMAAAAAAAMAAAAEAAMAAAAAAAMAAAAEAAMAAAAAAAMAAAAEAAQABQD///////8FAAAABAAQAAvz0bLjPC7SQ6TR6VaHjwRQBAAAAAIAAwAAAAMAAwAAAAEAAwAAAAMA////////AwAAAAM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5flwPOU350aJ8EorY3PNUQREYXRhAAUAAAAAAk5hbWUADQAAAExpbmtEYXRhTGlzdAAQVmVyc2lvbgABAAAACUxhc3RXcml0ZQBxwKE1lwEAAAABAP////9hAGEAAAAFX2lkABAAAAAE9bqDdH7cwkWJ/MjiAoGK/QREYXRhAAUAAAAAAk5hbWUADQAAAExpbmtEYXRhTGlzdAAQVmVyc2lvbgAAAAAACUxhc3RXcml0ZQBxwKE1lwEAAAACAP////9wAHAAAAAFX2lkABAAAAAE89Gy4zwu0kOk0elWh48EUANEYXRhABYAAAACUGVyc29uYWxJZAABAAAAAAACTmFtZQALAAAAUGVyc29uYWxJZAAQVmVyc2lvbgAAAAAACUxhc3RXcml0ZQCRwKE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UAAAADAP///////////////////////////////////////////////////////////////////////////////////////////////////////////////////////////////////////////////////////////////////////////////////////////////////////////////////////////////////////////////////////////////////////////////////////////////////////////////////////////////////////////////////////////////////////////////////////////////////////////////////////////////////////////////wEAIAH///////////////8AAA7///////8FAAAABAD///////////////////////////////////////////////////////////////////////////////////////////////////////////////////////////////////////////////////////////////////////////////////////////////////////////////////////////////////////////////////////////////////////////////////////////////////////////////////////////////////////////////////////////////////////////////////////////////////////////////////////////////////////////////////////////////////////////////////////////////////////////////////////8CAAIBAwAAAAIA////////DgAGTGlua0RhdGFMaXN0XzEEAAAAAAAFAAAAAwAFAAAABAAFAAAAAwD///////8DAAUBAwAAAAMA////////DgAGTGlua0RhdGFMaXN0XzAEAAAAAQAFAAAAAAAFAAAAAg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82825309097"/>
  <p:tag name="EMPOWERCHARTSPROPERTIES_B_LENGTH" val="24576"/>
  <p:tag name="DOWN_MIGRATION_INITIAL_LAYOUT_REQUIRED" val="9.2.99"/>
  <p:tag name="RUNTIME_ID" val="aa757304-a160-40cd-98d7-51f217a5e0fd"/>
</p:tagLst>
</file>

<file path=ppt/tags/tag89.xml><?xml version="1.0" encoding="utf-8"?>
<p:tagLst xmlns:a="http://schemas.openxmlformats.org/drawingml/2006/main" xmlns:r="http://schemas.openxmlformats.org/officeDocument/2006/relationships" xmlns:p="http://schemas.openxmlformats.org/presentationml/2006/main">
  <p:tag name="MIO_GUID" val="364de5f9-7294-4197-8dd5-fa4e50037d3c"/>
  <p:tag name="MIO_EKGUID" val="6942188f-3d13-4455-b352-24a2d9666838"/>
  <p:tag name="MIO_UPDATE" val="True"/>
  <p:tag name="MIO_VERSION" val="03.11.2020 10:14:14"/>
  <p:tag name="MIO_DBID" val="F71ED0A2-672B-4E8B-BF42-C978919BF8E2"/>
  <p:tag name="MIO_LASTDOWNLOADED" val="03.11.2020 20:29:04.748"/>
  <p:tag name="MIO_OBJECTNAME" val="Master_Neu"/>
  <p:tag name="MIO_LASTEDITORNAME" val="Janine Euler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S77tk6Sr4di2oHQ2xy7Fg"/>
</p:tagLst>
</file>

<file path=ppt/tags/tag92.xml><?xml version="1.0" encoding="utf-8"?>
<p:tagLst xmlns:a="http://schemas.openxmlformats.org/drawingml/2006/main" xmlns:r="http://schemas.openxmlformats.org/officeDocument/2006/relationships" xmlns:p="http://schemas.openxmlformats.org/presentationml/2006/main">
  <p:tag name="MIO_EKGUID" val="51cd090e-7e7a-4a63-9315-57c2d236bb09"/>
  <p:tag name="MIO_GUID" val="14fdd2a8-5ca2-4640-8154-79eb34bd836f"/>
  <p:tag name="MIO_UPDATE" val="True"/>
  <p:tag name="MIO_VERSION" val="04.12.2020 14:25:50"/>
  <p:tag name="MIO_DBID" val="F71ED0A2-672B-4E8B-BF42-C978919BF8E2"/>
  <p:tag name="MIO_LASTDOWNLOADED" val="07.08.2023 16:27:58.969"/>
  <p:tag name="MIO_OBJECTNAME" val="Textbox 2_rosa"/>
  <p:tag name="MIO_LASTEDITORNAME" val="Janine Eulert"/>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BAD///////8DAAAABAD///////////////////////////////////////////////////////////////////////////////////////////////////////////////////////////////////////////////////////////////////////////////////////////////////////////////////////////////////////////////////////////////////////////////////////////////////////////////////////////////////////////////////////////////////////////////////////////////////////////////////////////////////////////////////////////////////////////////8BACAA////////////////AAAO////////AwAAAAMA////////////////////////////////////////////////////////////////////////////////////////////////////////////////////////////////////////////////////////////////////////////////////////////////////////////////////////////////////////////////////////////////////////////////////////////////////////////////////////////////////////////////////////////////////////////////////////////////////////////////////////////////////////////////////////////////////////////////////////////////////////////////////////AgABAP///////wUAAAACABAAC2LFYUwM8TVIqXl1No0X920EAAAAAAADAAAAAAADAAAABAADAAEA////////BQAAAAMAEAALHR3t6qN4Ak+8ZoiFoNd2MgQAAAABAAMAAAAEAAMAAAABAAQAAwD///////8FAAAABAAQAAvaWXXKsbYGQ5H+IOHo6dHnBAAAAAIAAwAAAAI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sVhTAzxNUipeXU2jRf3bQREYXRhAAUAAAAAAk5hbWUADQAAAExpbmtEYXRhTGlzdAAQVmVyc2lvbgAAAAAACUxhc3RXcml0ZQB1n3c1lwEAAAABAP////9hAGEAAAAFX2lkABAAAAAEHR3t6qN4Ak+8ZoiFoNd2MgREYXRhAAUAAAAAAk5hbWUADQAAAExpbmtEYXRhTGlzdAAQVmVyc2lvbgABAAAACUxhc3RXcml0ZQB1n3c1lwEAAAACAP////9wAHAAAAAFX2lkABAAAAAE2ll1yrG2BkOR/iDh6OnR5wNEYXRhABYAAAACUGVyc29uYWxJZAABAAAAAAACTmFtZQALAAAAUGVyc29uYWxJZAAQVmVyc2lvbgAAAAAACUxhc3RXcml0ZQCZn3c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55215766341"/>
  <p:tag name="EMPOWERCHARTSPROPERTIES_B_LENGTH" val="24576"/>
  <p:tag name="DOWN_MIGRATION_INITIAL_LAYOUT_REQUIRED" val="9.2.99"/>
  <p:tag name="RUNTIME_ID" val="0ff3e238-986c-4400-9edd-882007a6204d"/>
</p:tagLst>
</file>

<file path=ppt/tags/tag93.xml><?xml version="1.0" encoding="utf-8"?>
<p:tagLst xmlns:a="http://schemas.openxmlformats.org/drawingml/2006/main" xmlns:r="http://schemas.openxmlformats.org/officeDocument/2006/relationships" xmlns:p="http://schemas.openxmlformats.org/presentationml/2006/main">
  <p:tag name="MIO_EKGUID" val="51cd090e-7e7a-4a63-9315-57c2d236bb09"/>
  <p:tag name="MIO_GUID" val="14fdd2a8-5ca2-4640-8154-79eb34bd836f"/>
  <p:tag name="MIO_UPDATE" val="True"/>
  <p:tag name="MIO_VERSION" val="04.12.2020 14:25:50"/>
  <p:tag name="MIO_DBID" val="F71ED0A2-672B-4E8B-BF42-C978919BF8E2"/>
  <p:tag name="MIO_LASTDOWNLOADED" val="07.08.2023 16:27:58.969"/>
  <p:tag name="MIO_OBJECTNAME" val="Textbox 2_rosa"/>
  <p:tag name="MIO_LASTEDITORNAME" val="Janine Eulert"/>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2gsAAAAAAAAAAAAAIAD///////////////8AAAD///////////////8DAAAAAgD///////8DAAAAAgD///////8DAAAAAwD///////8DAAAAAwD///////////////////////////////////////////////////////////////////////////////////////////////////////////////////////////////////////////////////////////////////////////////////////////////////////////////////////////////////////////////////////////////////////////////////////////////////////////////////////////////////////////////////////////////////////////////////////////////////////////////////////////////////////////////////////////////8BACAA////////////////AAAO////////AwAAAAQA////////////////////////////////////////////////////////////////////////////////////////////////////////////////////////////////////////////////////////////////////////////////////////////////////////////////////////////////////////////////////////////////////////////////////////////////////////////////////////////////////////////////////////////////////////////////////////////////////////////////////////////////////////////////////////////////////////////////////////////////////////////////////////AgACAP///////wUAAAACABAAC1PZZl3nv+5GmoZfygztAJYEAAAAAAADAAAAAAADAAAAAwADAAAAAAADAAAAAwADAAQA////////BQAAAAMAEAAL4IDwXj3wGUaKj3S8Msm/rgQAAAABAAMAAAACAAMAAAAEAAMAAAACAAMAAAAEAAMAAAAAAP///////wMAAAAAAP///////wQAAgD///////8FAAAABAAQAAu4VESsC6PPRaHUPN6ogaQ6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9lmXee/7kaahl/KDO0AlgREYXRhAAUAAAAAAk5hbWUADQAAAExpbmtEYXRhTGlzdAAQVmVyc2lvbgABAAAACUxhc3RXcml0ZQBDpXc1lwEAAAABAP////9hAGEAAAAFX2lkABAAAAAE4IDwXj3wGUaKj3S8Msm/rgREYXRhAAUAAAAAAk5hbWUADQAAAExpbmtEYXRhTGlzdAAQVmVyc2lvbgAAAAAACUxhc3RXcml0ZQBDpXc1lwEAAAACAP////9wAHAAAAAFX2lkABAAAAAEuFRErAujz0Wh1DzeqIGkOgNEYXRhABYAAAACUGVyc29uYWxJZAABAAAAAAACTmFtZQALAAAAUGVyc29uYWxJZAAQVmVyc2lvbgAAAAAACUxhc3RXcml0ZQBTpXc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DAP///////wUAAAADAP///////////////////////////////////////////////////////////////////////////////////////////////////////////////////////////////////////////////////////////////////////////////////////////////////////////////////////////////////////////////////////////////////////////////////////////////////////////////////////////////////////////////////////////////////////////////////////////////////////////////////////////////////////////////////////////////wEAIAH///////////////8AAA7///////8FAAAABAD///////////////////////////////////////////////////////////////////////////////////////////////////////////////////////////////////////////////////////////////////////////////////////////////////////////////////////////////////////////////////////////////////////////////////////////////////////////////////////////////////////////////////////////////////////////////////////////////////////////////////////////////////////////////////////////////////////////////////////////////////////////////////////8CAAIBAwAAAAIA////////DgAGTGlua0RhdGFMaXN0XzEEAAAAAAAFAAAAAwAFAAAABAAFAAAAAwAFAAAABAADAAQBAwAAAAMA////////DgAGTGlua0RhdGFMaXN0XzAEAAAAAQAFAAAAAAAFAAAAAgAFAAAAAAAFAAAAAgAFAAAAAAAFAAAABAAFAAAAAAD///////8EAAMBAwAAAAQA////////DAAGUGVyc29uYWxJZF8wBAAAAAIABQAAAAIABQAAAAE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55230526744"/>
  <p:tag name="EMPOWERCHARTSPROPERTIES_B_LENGTH" val="24576"/>
  <p:tag name="DOWN_MIGRATION_INITIAL_LAYOUT_REQUIRED" val="9.2.99"/>
  <p:tag name="RUNTIME_ID" val="113caa83-619b-4ef2-b03c-5d83303eac3f"/>
</p:tagLst>
</file>

<file path=ppt/tags/tag94.xml><?xml version="1.0" encoding="utf-8"?>
<p:tagLst xmlns:a="http://schemas.openxmlformats.org/drawingml/2006/main" xmlns:r="http://schemas.openxmlformats.org/officeDocument/2006/relationships" xmlns:p="http://schemas.openxmlformats.org/presentationml/2006/main">
  <p:tag name="MIO_EKGUID" val="51cd090e-7e7a-4a63-9315-57c2d236bb09"/>
  <p:tag name="MIO_GUID" val="14fdd2a8-5ca2-4640-8154-79eb34bd836f"/>
  <p:tag name="MIO_UPDATE" val="True"/>
  <p:tag name="MIO_VERSION" val="04.12.2020 14:25:50"/>
  <p:tag name="MIO_DBID" val="F71ED0A2-672B-4E8B-BF42-C978919BF8E2"/>
  <p:tag name="MIO_LASTDOWNLOADED" val="07.08.2023 16:27:58.969"/>
  <p:tag name="MIO_OBJECTNAME" val="Textbox 2_rosa"/>
  <p:tag name="MIO_LASTEDITORNAME" val="Janine Eulert"/>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wgsAAAAAAAAAAAAAIAD///////////////8AAAD///////////////8DAAAAAgD///////8DAAAAAgD///////8DAAAABAD///////8DAAAABAD///////8DAAAABAD///////8DAAAABAD///////8DAAAABAD///////////////////////////////////////////////////////////////////////////////////////////////////////////////////////////////////////////////////////////////////////////////////////////////////////////////////////////////////////////////////////////////////////////////////////////////////////////////////////////////////////////////////////////////////////////////////////////////////////////////8BACAA////////////////AAAO////////AwAAAAQA////////////////////////////////////////////////////////////////////////////////////////////////////////////////////////////////////////////////////////////////////////////////////////////////////////////////////////////////////////////////////////////////////////////////////////////////////////////////////////////////////////////////////////////////////////////////////////////////////////////////////////////////////////////////////////////////////////////////////////////////////////////////////////AgACAP///////wUAAAACABAAC3A2Yw5ETHRLiMyjDIwpKawEAAAAAAADAAAAAAADAAAAAwADAAAAAAADAAAABAADAAEA////////BQAAAAMAEAALur1KFcUIbEKdaJSE7cBjyAQAAAABAAMAAAACAAMAAAAEAAQABwD///////8FAAAABAAQAAvSTEw9JA8MT7KXSRWKfbJkBAAAAAIAAwAAAAMAAwAAAAE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DZjDkRMdEuIzKMMjCkprAREYXRhAAUAAAAAAk5hbWUADQAAAExpbmtEYXRhTGlzdAAQVmVyc2lvbgAAAAAACUxhc3RXcml0ZQDHn3c1lwEAAAABAP////9hAGEAAAAFX2lkABAAAAAEur1KFcUIbEKdaJSE7cBjyAREYXRhAAUAAAAAAk5hbWUADQAAAExpbmtEYXRhTGlzdAAQVmVyc2lvbgABAAAACUxhc3RXcml0ZQDHn3c1lwEAAAACAP////9wAHAAAAAFX2lkABAAAAAE0kxMPSQPDE+yl0kVin2yZANEYXRhABYAAAACUGVyc29uYWxJZAABAAAAAAACTmFtZQALAAAAUGVyc29uYWxJZAAQVmVyc2lvbgAAAAAACUxhc3RXcml0ZQDln3c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55216621102"/>
  <p:tag name="EMPOWERCHARTSPROPERTIES_B_LENGTH" val="24576"/>
  <p:tag name="DOWN_MIGRATION_INITIAL_LAYOUT_REQUIRED" val="9.2.99"/>
  <p:tag name="RUNTIME_ID" val="fbeb3a66-0324-4a9f-afee-cdc7a6617fe6"/>
</p:tagLst>
</file>

<file path=ppt/tags/tag95.xml><?xml version="1.0" encoding="utf-8"?>
<p:tagLst xmlns:a="http://schemas.openxmlformats.org/drawingml/2006/main" xmlns:r="http://schemas.openxmlformats.org/officeDocument/2006/relationships" xmlns:p="http://schemas.openxmlformats.org/presentationml/2006/main">
  <p:tag name="MIO_EKGUID" val="51cd090e-7e7a-4a63-9315-57c2d236bb09"/>
  <p:tag name="MIO_GUID" val="14fdd2a8-5ca2-4640-8154-79eb34bd836f"/>
  <p:tag name="MIO_UPDATE" val="True"/>
  <p:tag name="MIO_VERSION" val="04.12.2020 14:25:50"/>
  <p:tag name="MIO_DBID" val="F71ED0A2-672B-4E8B-BF42-C978919BF8E2"/>
  <p:tag name="MIO_LASTDOWNLOADED" val="07.08.2023 16:27:58.969"/>
  <p:tag name="MIO_OBJECTNAME" val="Textbox 2_rosa"/>
  <p:tag name="MIO_LASTEDITORNAME" val="Janine Eulert"/>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3b0assUGeFOjaJUo+Fq/IwEAAAAAAADAAAABAADAAAAAwADAAEA////////BQAAAAMAEAAL4YRR9pdBmk+iB6tzHmb4fgQAAAABAAMAAAACAAMAAAABAAQAAQD///////8FAAAABAAQAAu7HsQnrFUQQq9wlp24UPzM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vRqyxQZ4U6NolSj4Wr8jAREYXRhAAUAAAAAAk5hbWUADQAAAExpbmtEYXRhTGlzdAAQVmVyc2lvbgABAAAACUxhc3RXcml0ZQDronc1lwEAAAABAP////9hAGEAAAAFX2lkABAAAAAE4YRR9pdBmk+iB6tzHmb4fgREYXRhAAUAAAAAAk5hbWUADQAAAExpbmtEYXRhTGlzdAAQVmVyc2lvbgAAAAAACUxhc3RXcml0ZQDronc1lwEAAAACAP////9wAHAAAAAFX2lkABAAAAAEux7EJ6xVEEKvcJaduFD8zANEYXRhABYAAAACUGVyc29uYWxJZAABAAAAAAACTmFtZQALAAAAUGVyc29uYWxJZAAQVmVyc2lvbgAAAAAACUxhc3RXcml0ZQAKo3c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55224582273"/>
  <p:tag name="EMPOWERCHARTSPROPERTIES_B_LENGTH" val="24576"/>
  <p:tag name="DOWN_MIGRATION_INITIAL_LAYOUT_REQUIRED" val="9.2.99"/>
  <p:tag name="RUNTIME_ID" val="6fa1a18b-8331-4e83-9574-d1ea27bab5a3"/>
</p:tagLst>
</file>

<file path=ppt/tags/tag96.xml><?xml version="1.0" encoding="utf-8"?>
<p:tagLst xmlns:a="http://schemas.openxmlformats.org/drawingml/2006/main" xmlns:r="http://schemas.openxmlformats.org/officeDocument/2006/relationships" xmlns:p="http://schemas.openxmlformats.org/presentationml/2006/main">
  <p:tag name="MIO_EKGUID" val="51cd090e-7e7a-4a63-9315-57c2d236bb09"/>
  <p:tag name="MIO_GUID" val="14fdd2a8-5ca2-4640-8154-79eb34bd836f"/>
  <p:tag name="MIO_UPDATE" val="True"/>
  <p:tag name="MIO_VERSION" val="04.12.2020 14:25:50"/>
  <p:tag name="MIO_DBID" val="F71ED0A2-672B-4E8B-BF42-C978919BF8E2"/>
  <p:tag name="MIO_LASTDOWNLOADED" val="07.08.2023 16:27:58.969"/>
  <p:tag name="MIO_OBJECTNAME" val="Textbox 2_rosa"/>
  <p:tag name="MIO_LASTEDITORNAME" val="Janine Eulert"/>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wUA5gsAAAAAAAAAAAAAIAD///////////////8AAAD///////////////8DAAAAAgD///////8DAAAABAD///////8DAAAABAD///////8DAAAABAD///////////////////////////////////////////////////////////////////////////////////////////////////////////////////////////////////////////////////////////////////////////////////////////////////////////////////////////////////////////////////////////////////////////////////////////////////////////////////////////////////////////////////////////////////////////////////////////////////////////////////////////////////////////////////////////////8BACAA////////////////AAAO////////AwAAAAMA////////////////////////////////////////////////////////////////////////////////////////////////////////////////////////////////////////////////////////////////////////////////////////////////////////////////////////////////////////////////////////////////////////////////////////////////////////////////////////////////////////////////////////////////////////////////////////////////////////////////////////////////////////////////////////////////////////////////////////////////////////////////////////AgABAP///////wUAAAACABAAC0a2NXFgOmlCk5FOtydB0pgEAAAAAAADAAAAAAADAAAABAADAAIA////////BQAAAAMAEAALrTbf+W3Z8EiEdCjq2RKTXwQAAAABAAMAAAAEAAMAAAABAAMAAAAEAP///////wQABAD///////8FAAAABAAQAAs/sk2QC22BQ7kYfrl7mPJxBAAAAAIAAwAAAAIAAwAAAAMAAwAAAAA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rY1cWA6aUKTkU63J0HSmAREYXRhAAUAAAAAAk5hbWUADQAAAExpbmtEYXRhTGlzdAAQVmVyc2lvbgAAAAAACUxhc3RXcml0ZQAArXc1lwEAAAABAP////9hAGEAAAAFX2lkABAAAAAErTbf+W3Z8EiEdCjq2RKTXwREYXRhAAUAAAAAAk5hbWUADQAAAExpbmtEYXRhTGlzdAAQVmVyc2lvbgABAAAACUxhc3RXcml0ZQAArXc1lwEAAAACAP////9wAHAAAAAFX2lkABAAAAAEP7JNkAttgUO5GH65e5jycQNEYXRhABYAAAACUGVyc29uYWxJZAABAAAAAAACTmFtZQALAAAAUGVyc29uYWxJZAAQVmVyc2lvbgAAAAAACUxhc3RXcml0ZQATrXc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EAP///////////////////////////////////////////////////////////////////////////////////////////////////////////////////////////////////////////////////////////////////////////////////////////////////////////////////////////////////////////////////////////////////////////////////////////////////////////////////////////////////////////////////////////////////////////////////////////////////////////////////////////////////////////////////////////////////////////////wEAIAH///////////////8AAA7///////8FAAAABAD///////////////////////////////////////////////////////////////////////////////////////////////////////////////////////////////////////////////////////////////////////////////////////////////////////////////////////////////////////////////////////////////////////////////////////////////////////////////////////////////////////////////////////////////////////////////////////////////////////////////////////////////////////////////////////////////////////////////////////////////////////////////////////8CAAEBAwAAAAIA////////DgAGTGlua0RhdGFMaXN0XzAEAAAAAAAFAAAAAAAFAAAAAwADAAIBAwAAAAMA////////DgAGTGlua0RhdGFMaXN0XzEEAAAAAQAFAAAAAgAFAAAABAAFAAAAAAAFAAAABAAEAAMBAwAAAAQA////////DAAGUGVyc29uYWxJZF8wBAAAAAIABQAAAAM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55250296486"/>
  <p:tag name="EMPOWERCHARTSPROPERTIES_B_LENGTH" val="24576"/>
  <p:tag name="DOWN_MIGRATION_INITIAL_LAYOUT_REQUIRED" val="9.2.99"/>
  <p:tag name="RUNTIME_ID" val="7d81bab7-a8ba-42b9-b58f-9ddb6b32367e"/>
</p:tagLst>
</file>

<file path=ppt/tags/tag97.xml><?xml version="1.0" encoding="utf-8"?>
<p:tagLst xmlns:a="http://schemas.openxmlformats.org/drawingml/2006/main" xmlns:r="http://schemas.openxmlformats.org/officeDocument/2006/relationships" xmlns:p="http://schemas.openxmlformats.org/presentationml/2006/main">
  <p:tag name="MIO_EKGUID" val="51cd090e-7e7a-4a63-9315-57c2d236bb09"/>
  <p:tag name="MIO_GUID" val="14fdd2a8-5ca2-4640-8154-79eb34bd836f"/>
  <p:tag name="MIO_UPDATE" val="True"/>
  <p:tag name="MIO_VERSION" val="04.12.2020 14:25:50"/>
  <p:tag name="MIO_DBID" val="F71ED0A2-672B-4E8B-BF42-C978919BF8E2"/>
  <p:tag name="MIO_LASTDOWNLOADED" val="07.08.2023 16:27:58.969"/>
  <p:tag name="MIO_OBJECTNAME" val="Textbox 2_rosa"/>
  <p:tag name="MIO_LASTEDITORNAME" val="Janine Eulert"/>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wUAFgwAAAAAAAAAAAAAIAD///////////////8AAAD///////////////8DAAAABAD///////////////////////////////////////////////////////////////////////////////////////////////////////////////////////////////////////////////////////////////////////////////////////////////////////////////////////////////////////////////////////////////////////////////////////////////////////////////////////////////////////////////////////////////////////////////////////////////////////////////////////////////////////////////////////////////////////////////////////////////////////////////8BACAA////////////////AAAO////////AwAAAAMA////////////////////////////////////////////////////////////////////////////////////////////////////////////////////////////////////////////////////////////////////////////////////////////////////////////////////////////////////////////////////////////////////////////////////////////////////////////////////////////////////////////////////////////////////////////////////////////////////////////////////////////////////////////////////////////////////////////////////////////////////////////////////////AgABAP///////wUAAAACABAACx8Rnz0tOY5JogJ2bGD7cPsEAAAAAAADAAAABAADAAAAAwADAAEA////////BQAAAAMAEAALySd6cUCfXEeydSVOIGjf9wQAAAABAAMAAAACAAMAAAABAAQAAQD///////8FAAAABAAQAAvCdvQBnAgjTKASrGC6tF61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xGfPS05jkmiAnZsYPtw+wREYXRhAAUAAAAAAk5hbWUADQAAAExpbmtEYXRhTGlzdAAQVmVyc2lvbgABAAAACUxhc3RXcml0ZQBsr3c1lwEAAAABAP////9hAGEAAAAFX2lkABAAAAAEySd6cUCfXEeydSVOIGjf9wREYXRhAAUAAAAAAk5hbWUADQAAAExpbmtEYXRhTGlzdAAQVmVyc2lvbgAAAAAACUxhc3RXcml0ZQBsr3c1lwEAAAACAP////9wAHAAAAAFX2lkABAAAAAEwnb0AZwII0ygEqxgurRetQNEYXRhABYAAAACUGVyc29uYWxJZAABAAAAAAACTmFtZQALAAAAUGVyc29uYWxJZAAQVmVyc2lvbgAAAAAACUxhc3RXcml0ZQCPr3c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55256628291"/>
  <p:tag name="EMPOWERCHARTSPROPERTIES_B_LENGTH" val="24576"/>
  <p:tag name="DOWN_MIGRATION_INITIAL_LAYOUT_REQUIRED" val="9.2.99"/>
  <p:tag name="RUNTIME_ID" val="8a12b7e1-bf5e-4582-bae0-a41022bf0623"/>
</p:tagLst>
</file>

<file path=ppt/tags/tag9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wD///////8DAAAAAwD///////8DAAAAAwD///////////////////////////////////////////////////////////////////////////////////////////////////////////////////////////////////////////////////////////////////////////////////////////////////////////////////////////////////////////////////////////////////////////////////////////////////////////////////////////////////////////////////////////////////////////////////////////////////////////////////////////////////////////////////////////////8BACAA////////////////AAAO////////AwAAAAQA////////////////////////////////////////////////////////////////////////////////////////////////////////////////////////////////////////////////////////////////////////////////////////////////////////////////////////////////////////////////////////////////////////////////////////////////////////////////////////////////////////////////////////////////////////////////////////////////////////////////////////////////////////////////////////////////////////////////////////////////////////////////////////AgABAP///////wUAAAACABAAC/6baBKV4CdNkOtVHsFcU80EAAAAAAADAAAAAAADAAAAAwADAAQA////////BQAAAAMAEAAL2hnPSSarf0WpF79CUorYkwQAAAABAAMAAAACAAMAAAAEAAMAAAAAAP///////wMAAAAAAP///////wMAAAAAAP///////wQAAQD///////8FAAAABAAQAAszIDnr8PD9T5ZXIedOIfu6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toEpXgJ02Q61UewVxTzQREYXRhAAUAAAAAAk5hbWUADQAAAExpbmtEYXRhTGlzdAAQVmVyc2lvbgAAAAAACUxhc3RXcml0ZQBk0nY1lwEAAAABAP////9hAGEAAAAFX2lkABAAAAAE2hnPSSarf0WpF79CUorYkwREYXRhAAUAAAAAAk5hbWUADQAAAExpbmtEYXRhTGlzdAAQVmVyc2lvbgABAAAACUxhc3RXcml0ZQBk0nY1lwEAAAACAP////9wAHAAAAAFX2lkABAAAAAEMyA56/Dw/U+WVyHnTiH7ugNEYXRhABYAAAACUGVyc29uYWxJZAABAAAAAAACTmFtZQALAAAAUGVyc29uYWxJZAAQVmVyc2lvbgAAAAAACUxhc3RXcml0ZQCF0nY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DAP///////wUAAAADAP///////wUAAAADAP///////////////////////////////////////////////////////////////////////////////////////////////////////////////////////////////////////////////////////////////////////////////////////////////////////////////////////////////////////////////////////////////////////////////////////////////////////////////////////////////////////////////////////////////////////////////////////////////////////////////////////////////////////////////////////////////wEAIAH///////////////8AAA7///////8FAAAABAD///////////////////////////////////////////////////////////////////////////////////////////////////////////////////////////////////////////////////////////////////////////////////////////////////////////////////////////////////////////////////////////////////////////////////////////////////////////////////////////////////////////////////////////////////////////////////////////////////////////////////////////////////////////////////////////////////////////////////////////////////////////////////////8CAAEBAwAAAAIA////////DgAGTGlua0RhdGFMaXN0XzAEAAAAAAAFAAAAAAAFAAAAAwADAAQBAwAAAAMA////////DgAGTGlua0RhdGFMaXN0XzEEAAAAAQAFAAAAAgAFAAAABAAFAAAAAAAFAAAABAAFAAAAAAD///////8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54690770813"/>
  <p:tag name="EMPOWERCHARTSPROPERTIES_B_LENGTH" val="24576"/>
  <p:tag name="DOWN_MIGRATION_INITIAL_LAYOUT_REQUIRED" val="9.2.99"/>
  <p:tag name="RUNTIME_ID" val="428a975e-2d80-44ed-ac19-2188335a6ffb"/>
</p:tagLst>
</file>

<file path=ppt/tags/tag9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wgsAAAAAAAAAAAAAIAD///////////////8AAAD///////////////8DAAAABAD///////8DAAAABAD///////8DAAAABAD///////8DAAAABAD///////8DAAAABAD///////8DAAAABAD///////8DAAAABAD///////////////////////////////////////////////////////////////////////////////////////////////////////////////////////////////////////////////////////////////////////////////////////////////////////////////////////////////////////////////////////////////////////////////////////////////////////////////////////////////////////////////////////////////////////////////////////////////////////////////8BACAA////////////////AAAO////////AwAAAAMA////////////////////////////////////////////////////////////////////////////////////////////////////////////////////////////////////////////////////////////////////////////////////////////////////////////////////////////////////////////////////////////////////////////////////////////////////////////////////////////////////////////////////////////////////////////////////////////////////////////////////////////////////////////////////////////////////////////////////////////////////////////////////////AgACAP///////wUAAAACABAACwGH4YGgPxhGuQr/MW5bz2UEAAAAAAADAAAABAADAAAAAwADAAAABAD///////8DAAEA////////BQAAAAMAEAALUvsayRpOPUKow4/6LXuxBQQAAAABAAMAAAACAAMAAAABAAQABwD///////8FAAAABAAQAAuV3yQ6OrGnR4/IlAnXcNa8BAAAAAIAAwAAAAAAAwAAAAIAAwAAAAA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YfhgaA/GEa5Cv8xblvPZQREYXRhAAUAAAAAAk5hbWUADQAAAExpbmtEYXRhTGlzdAAQVmVyc2lvbgABAAAACUxhc3RXcml0ZQCk0nY1lwEAAAABAP////9hAGEAAAAFX2lkABAAAAAEUvsayRpOPUKow4/6LXuxBQREYXRhAAUAAAAAAk5hbWUADQAAAExpbmtEYXRhTGlzdAAQVmVyc2lvbgAAAAAACUxhc3RXcml0ZQCk0nY1lwEAAAACAP////9wAHAAAAAFX2lkABAAAAAEld8kOjqxp0ePyJQJ13DWvANEYXRhABYAAAACUGVyc29uYWxJZAABAAAAAAACTmFtZQALAAAAUGVyc29uYWxJZAAQVmVyc2lvbgAAAAAACUxhc3RXcml0ZQDE0nY1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5454691397037"/>
  <p:tag name="EMPOWERCHARTSPROPERTIES_B_LENGTH" val="24576"/>
  <p:tag name="DOWN_MIGRATION_INITIAL_LAYOUT_REQUIRED" val="9.2.99"/>
  <p:tag name="RUNTIME_ID" val="30f61732-216b-4b0e-a4ee-685dfe43b808"/>
</p:tagLst>
</file>

<file path=ppt/theme/theme1.xml><?xml version="1.0" encoding="utf-8"?>
<a:theme xmlns:a="http://schemas.openxmlformats.org/drawingml/2006/main" name="Curacon Master A4">
  <a:themeElements>
    <a:clrScheme name="Curacon_Theme Colors">
      <a:dk1>
        <a:srgbClr val="404040"/>
      </a:dk1>
      <a:lt1>
        <a:sysClr val="window" lastClr="FFFFFF"/>
      </a:lt1>
      <a:dk2>
        <a:srgbClr val="C9CACC"/>
      </a:dk2>
      <a:lt2>
        <a:srgbClr val="FFFFFF"/>
      </a:lt2>
      <a:accent1>
        <a:srgbClr val="C72A34"/>
      </a:accent1>
      <a:accent2>
        <a:srgbClr val="F77878"/>
      </a:accent2>
      <a:accent3>
        <a:srgbClr val="FBBAB9"/>
      </a:accent3>
      <a:accent4>
        <a:srgbClr val="FFDFDE"/>
      </a:accent4>
      <a:accent5>
        <a:srgbClr val="C5C5C5"/>
      </a:accent5>
      <a:accent6>
        <a:srgbClr val="929292"/>
      </a:accent6>
      <a:hlink>
        <a:srgbClr val="C72D34"/>
      </a:hlink>
      <a:folHlink>
        <a:srgbClr val="6D6F71"/>
      </a:folHlink>
    </a:clrScheme>
    <a:fontScheme name="Curacon_Theme Fonts">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lt1"/>
        </a:solidFill>
        <a:ln w="12700" cap="flat" cmpd="sng" algn="ctr">
          <a:solidFill>
            <a:schemeClr val="accent5"/>
          </a:solidFill>
          <a:prstDash val="solid"/>
          <a:miter lim="800000"/>
          <a:headEnd type="none" w="med" len="med"/>
          <a:tailEnd type="none" w="med" len="med"/>
        </a:ln>
      </a:spPr>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defPPr>
          <a:spcAft>
            <a:spcPts val="300"/>
          </a:spcAft>
          <a:defRPr sz="1400" dirty="0">
            <a:solidFill>
              <a:schemeClr val="dk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400" dirty="0"/>
        </a:defPPr>
      </a:lstStyle>
    </a:txDef>
  </a:objectDefaults>
  <a:extraClrSchemeLst/>
  <a:extLst>
    <a:ext uri="{05A4C25C-085E-4340-85A3-A5531E510DB2}">
      <thm15:themeFamily xmlns:thm15="http://schemas.microsoft.com/office/thememl/2012/main" name="blank.potx" id="{19636B38-9D9A-4B9D-B724-4CE0D06E4B78}" vid="{184F4D7F-F7E4-4C10-87F3-3B4EE47D37F9}"/>
    </a:ext>
  </a:extLst>
</a:theme>
</file>

<file path=ppt/theme/theme2.xml><?xml version="1.0" encoding="utf-8"?>
<a:theme xmlns:a="http://schemas.openxmlformats.org/drawingml/2006/main" name="1_Curacon Master A4">
  <a:themeElements>
    <a:clrScheme name="Curacon_Theme Colors">
      <a:dk1>
        <a:srgbClr val="404040"/>
      </a:dk1>
      <a:lt1>
        <a:sysClr val="window" lastClr="FFFFFF"/>
      </a:lt1>
      <a:dk2>
        <a:srgbClr val="C9CACC"/>
      </a:dk2>
      <a:lt2>
        <a:srgbClr val="FFFFFF"/>
      </a:lt2>
      <a:accent1>
        <a:srgbClr val="C72A34"/>
      </a:accent1>
      <a:accent2>
        <a:srgbClr val="F77878"/>
      </a:accent2>
      <a:accent3>
        <a:srgbClr val="FBBAB9"/>
      </a:accent3>
      <a:accent4>
        <a:srgbClr val="FFDFDE"/>
      </a:accent4>
      <a:accent5>
        <a:srgbClr val="C5C5C5"/>
      </a:accent5>
      <a:accent6>
        <a:srgbClr val="929292"/>
      </a:accent6>
      <a:hlink>
        <a:srgbClr val="C72D34"/>
      </a:hlink>
      <a:folHlink>
        <a:srgbClr val="6D6F71"/>
      </a:folHlink>
    </a:clrScheme>
    <a:fontScheme name="Curacon_Theme Fonts">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lt1"/>
        </a:solidFill>
        <a:ln w="12700" cap="flat" cmpd="sng" algn="ctr">
          <a:solidFill>
            <a:schemeClr val="accent5"/>
          </a:solidFill>
          <a:prstDash val="solid"/>
          <a:miter lim="800000"/>
          <a:headEnd type="none" w="med" len="med"/>
          <a:tailEnd type="none" w="med" len="med"/>
        </a:ln>
      </a:spPr>
      <a:bodyPr rot="0" spcFirstLastPara="0" vertOverflow="overflow" horzOverflow="overflow" vert="horz" wrap="square" lIns="91440" tIns="45720" rIns="46800" bIns="45720" numCol="1" spcCol="0" rtlCol="0" fromWordArt="0" anchor="ctr" anchorCtr="0" forceAA="0" compatLnSpc="1">
        <a:prstTxWarp prst="textNoShape">
          <a:avLst/>
        </a:prstTxWarp>
        <a:noAutofit/>
      </a:bodyPr>
      <a:lstStyle>
        <a:defPPr>
          <a:spcAft>
            <a:spcPts val="300"/>
          </a:spcAft>
          <a:defRPr sz="1400" dirty="0">
            <a:solidFill>
              <a:schemeClr val="dk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400" dirty="0"/>
        </a:defPPr>
      </a:lstStyle>
    </a:txDef>
  </a:objectDefaults>
  <a:extraClrSchemeLst/>
  <a:extLst>
    <a:ext uri="{05A4C25C-085E-4340-85A3-A5531E510DB2}">
      <thm15:themeFamily xmlns:thm15="http://schemas.microsoft.com/office/thememl/2012/main" name="blank.potx" id="{19636B38-9D9A-4B9D-B724-4CE0D06E4B78}" vid="{184F4D7F-F7E4-4C10-87F3-3B4EE47D37F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BA6F0D4109DAC4DA4AECB3C66375471" ma:contentTypeVersion="3" ma:contentTypeDescription="Create a new document." ma:contentTypeScope="" ma:versionID="17b7a81757723d5f4883fce0fd4dd37c">
  <xsd:schema xmlns:xsd="http://www.w3.org/2001/XMLSchema" xmlns:xs="http://www.w3.org/2001/XMLSchema" xmlns:p="http://schemas.microsoft.com/office/2006/metadata/properties" xmlns:ns2="6126edab-dbf6-4d09-86c1-f69cd126a835" targetNamespace="http://schemas.microsoft.com/office/2006/metadata/properties" ma:root="true" ma:fieldsID="c8e448b87fae6bd1039fd6e99cbdfa06" ns2:_="">
    <xsd:import namespace="6126edab-dbf6-4d09-86c1-f69cd126a835"/>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edab-dbf6-4d09-86c1-f69cd126a83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4CC088E-DFF8-4F17-8A78-9D4409D46F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edab-dbf6-4d09-86c1-f69cd126a8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B7CF52E-4692-4106-8311-88D864FCB256}">
  <ds:schemaRefs>
    <ds:schemaRef ds:uri="http://schemas.microsoft.com/sharepoint/v3/contenttype/forms"/>
  </ds:schemaRefs>
</ds:datastoreItem>
</file>

<file path=customXml/itemProps3.xml><?xml version="1.0" encoding="utf-8"?>
<ds:datastoreItem xmlns:ds="http://schemas.openxmlformats.org/officeDocument/2006/customXml" ds:itemID="{64E16271-24EB-4F62-BC98-E51E3941853B}">
  <ds:schemaRefs>
    <ds:schemaRef ds:uri="30005f32-946b-4ee1-b185-132bdaaf92a7"/>
    <ds:schemaRef ds:uri="9d611535-dd52-4b90-9c2a-24506c9a6dc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910</Words>
  <Application>Microsoft Office PowerPoint</Application>
  <PresentationFormat>A4-Papier (210 x 297 mm)</PresentationFormat>
  <Paragraphs>438</Paragraphs>
  <Slides>26</Slides>
  <Notes>15</Notes>
  <HiddenSlides>0</HiddenSlides>
  <MMClips>0</MMClips>
  <ScaleCrop>false</ScaleCrop>
  <HeadingPairs>
    <vt:vector size="8" baseType="variant">
      <vt:variant>
        <vt:lpstr>Verwendete Schriftarten</vt:lpstr>
      </vt:variant>
      <vt:variant>
        <vt:i4>9</vt:i4>
      </vt:variant>
      <vt:variant>
        <vt:lpstr>Design</vt:lpstr>
      </vt:variant>
      <vt:variant>
        <vt:i4>2</vt:i4>
      </vt:variant>
      <vt:variant>
        <vt:lpstr>Eingebettete OLE-Server</vt:lpstr>
      </vt:variant>
      <vt:variant>
        <vt:i4>1</vt:i4>
      </vt:variant>
      <vt:variant>
        <vt:lpstr>Folientitel</vt:lpstr>
      </vt:variant>
      <vt:variant>
        <vt:i4>26</vt:i4>
      </vt:variant>
    </vt:vector>
  </HeadingPairs>
  <TitlesOfParts>
    <vt:vector size="38" baseType="lpstr">
      <vt:lpstr>Aptos</vt:lpstr>
      <vt:lpstr>Arial</vt:lpstr>
      <vt:lpstr>Arial Black</vt:lpstr>
      <vt:lpstr>Calibri</vt:lpstr>
      <vt:lpstr>Segoe UI Light</vt:lpstr>
      <vt:lpstr>Symbol</vt:lpstr>
      <vt:lpstr>Wingdings</vt:lpstr>
      <vt:lpstr>Wingdings 2</vt:lpstr>
      <vt:lpstr>Wingdings 3</vt:lpstr>
      <vt:lpstr>Curacon Master A4</vt:lpstr>
      <vt:lpstr>1_Curacon Master A4</vt:lpstr>
      <vt:lpstr>think-cell Folie</vt:lpstr>
      <vt:lpstr>Was wäre wenn… Betreiber:innen klare Kante bei Pflegesatzverhandlungen zeigen und bekommen, was ihnen zusteht?</vt:lpstr>
      <vt:lpstr>Die Stichprobe hat eine starke Akzentuierung im frei-gemeinnützigen Bereich.</vt:lpstr>
      <vt:lpstr>Das Altenhilfebarometer erhebt die Stimmung der ganzen Branche: Klart der Himmel auf?</vt:lpstr>
      <vt:lpstr>Für viele der teilnehmenden Einrichtungen ist die wirtschaftliche Situation nach wie vor angespannt.</vt:lpstr>
      <vt:lpstr>Der Fachkräftemangel ist für die Unternehmen die mit Abstand größte Herausforderung.</vt:lpstr>
      <vt:lpstr>Ist das neue Personalbemessungsverfahren doch besser als ursprünglich erwartet?</vt:lpstr>
      <vt:lpstr>Bestehende Kosten- und Wettbewerbsdruck: Stabilisierungs- und Wachstumsstrukturen im Fokus.</vt:lpstr>
      <vt:lpstr>Warum Pflegesatzverhandlungen entscheidend sind</vt:lpstr>
      <vt:lpstr>Gesetzliche Vorgaben für Pflegesatzverhandlungen</vt:lpstr>
      <vt:lpstr>Analyse, Benchmarking und Strategieentwicklung</vt:lpstr>
      <vt:lpstr>Gesprächstechniken, Einwände und Psychologie</vt:lpstr>
      <vt:lpstr>Zusammenfassung und nächste Schritte</vt:lpstr>
      <vt:lpstr>Relevante sozialrechtliche Rechtsgrundlagen</vt:lpstr>
      <vt:lpstr>Gesetz zur Befugniserweiterung und Entbürokratisierung (im Vermittlungsauschuss)</vt:lpstr>
      <vt:lpstr>Regelungen zur Vergütungsfindung</vt:lpstr>
      <vt:lpstr>Neue Verfahrensregelungen</vt:lpstr>
      <vt:lpstr>Auf Bundesebene sollen Empfehlungen abgegeben werden für…</vt:lpstr>
      <vt:lpstr>Weitere Regelungsinhalte</vt:lpstr>
      <vt:lpstr>Warum sind Pflegesatzverhandlung gerade in heutiger Zeit so wichtig? </vt:lpstr>
      <vt:lpstr>Wie wird eine Pflegesatzverhandlung vorbereitet? Welche Unterlagen sind notwendig? </vt:lpstr>
      <vt:lpstr>Wie sollte eine Pflegesatzverhandlung zeitlich und inhaltlich geplant werden? </vt:lpstr>
      <vt:lpstr>Abgrenzung von Kosten des Eigenpersonals, zentraler Dienstleistung und Fremddienstleistungen</vt:lpstr>
      <vt:lpstr>Renaissance des Risiko-/Wagniszuschlags ?</vt:lpstr>
      <vt:lpstr>BSG Urt. v. 19.04.2023 – B 3 P 6/22 R - Kernaussagen des Urteils </vt:lpstr>
      <vt:lpstr>Kritische Betrachtung des Risiko-/ Wagniszuschlag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cheer, Sibylle</dc:creator>
  <cp:lastModifiedBy>Tybussek, Kai</cp:lastModifiedBy>
  <cp:revision>14</cp:revision>
  <dcterms:created xsi:type="dcterms:W3CDTF">2025-04-29T10:14:05Z</dcterms:created>
  <dcterms:modified xsi:type="dcterms:W3CDTF">2025-12-02T13:0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A6F0D4109DAC4DA4AECB3C66375471</vt:lpwstr>
  </property>
</Properties>
</file>